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sldIdLst>
    <p:sldId id="256" r:id="rId2"/>
    <p:sldId id="1304" r:id="rId3"/>
    <p:sldId id="1308" r:id="rId4"/>
    <p:sldId id="1309" r:id="rId5"/>
    <p:sldId id="1193" r:id="rId6"/>
    <p:sldId id="1302" r:id="rId7"/>
    <p:sldId id="1188" r:id="rId8"/>
    <p:sldId id="1303" r:id="rId9"/>
    <p:sldId id="1305" r:id="rId10"/>
    <p:sldId id="1306" r:id="rId11"/>
    <p:sldId id="944" r:id="rId12"/>
    <p:sldId id="260" r:id="rId1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538D"/>
    <a:srgbClr val="00796B"/>
    <a:srgbClr val="015DA1"/>
    <a:srgbClr val="004D40"/>
    <a:srgbClr val="ECF5F4"/>
    <a:srgbClr val="003A30"/>
    <a:srgbClr val="FFFFFF"/>
    <a:srgbClr val="007662"/>
    <a:srgbClr val="75C35D"/>
    <a:srgbClr val="002A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192" y="1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6A10B2-0E1B-4C33-BA27-E00352D498C5}" type="datetimeFigureOut">
              <a:rPr lang="ru-RU" smtClean="0"/>
              <a:pPr/>
              <a:t>25.03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74C4CB-A466-4B61-9C26-748D087A6E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71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rgbClr val="0079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86D93C-1111-4C37-B7DA-4D5278845921}"/>
              </a:ext>
            </a:extLst>
          </p:cNvPr>
          <p:cNvSpPr/>
          <p:nvPr userDrawn="1"/>
        </p:nvSpPr>
        <p:spPr>
          <a:xfrm>
            <a:off x="0" y="0"/>
            <a:ext cx="515938" cy="6858000"/>
          </a:xfrm>
          <a:prstGeom prst="rect">
            <a:avLst/>
          </a:prstGeom>
          <a:solidFill>
            <a:srgbClr val="007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874A5EA8-A98D-480F-82A9-8E5A9DB209D9}"/>
              </a:ext>
            </a:extLst>
          </p:cNvPr>
          <p:cNvSpPr/>
          <p:nvPr userDrawn="1"/>
        </p:nvSpPr>
        <p:spPr>
          <a:xfrm>
            <a:off x="0" y="385"/>
            <a:ext cx="529336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blipFill dpi="0" rotWithShape="1">
            <a:blip r:embed="rId2" cstate="print">
              <a:alphaModFix amt="75000"/>
            </a:blip>
            <a:srcRect/>
            <a:tile tx="0" ty="0" sx="100000" sy="100000" flip="none" algn="tl"/>
          </a:blipFill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4A19605F-D3ED-490E-A149-77A08803A915}"/>
              </a:ext>
            </a:extLst>
          </p:cNvPr>
          <p:cNvSpPr/>
          <p:nvPr userDrawn="1"/>
        </p:nvSpPr>
        <p:spPr>
          <a:xfrm>
            <a:off x="1066800" y="1562985"/>
            <a:ext cx="5293360" cy="4426331"/>
          </a:xfrm>
          <a:prstGeom prst="rect">
            <a:avLst/>
          </a:prstGeom>
          <a:solidFill>
            <a:srgbClr val="004D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0161A90-81B7-4167-A181-0324DDA912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4460" y="1602259"/>
            <a:ext cx="4701540" cy="264589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rgbClr val="ECF5F4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B786549-2DE9-43F8-B96B-5EEDF98964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94460" y="4476750"/>
            <a:ext cx="4701540" cy="151256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ECF5F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705EA2B-607C-4229-B177-C6EC74B578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D597054-BD4A-421D-8B95-D8AF718C14A3}" type="datetime1">
              <a:rPr lang="ru-RU" smtClean="0"/>
              <a:pPr/>
              <a:t>25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62F8955-93B1-4B1F-92A1-78C0D2545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grpSp>
        <p:nvGrpSpPr>
          <p:cNvPr id="11" name="Карта Коми">
            <a:extLst>
              <a:ext uri="{FF2B5EF4-FFF2-40B4-BE49-F238E27FC236}">
                <a16:creationId xmlns:a16="http://schemas.microsoft.com/office/drawing/2014/main" id="{E4154558-CAA9-470E-BE09-5406070400E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762467" y="873125"/>
            <a:ext cx="5202521" cy="5271964"/>
            <a:chOff x="1794" y="1674"/>
            <a:chExt cx="4570" cy="4631"/>
          </a:xfrm>
        </p:grpSpPr>
        <p:sp>
          <p:nvSpPr>
            <p:cNvPr id="12" name="подложка карты">
              <a:extLst>
                <a:ext uri="{FF2B5EF4-FFF2-40B4-BE49-F238E27FC236}">
                  <a16:creationId xmlns:a16="http://schemas.microsoft.com/office/drawing/2014/main" id="{B88F505A-3DAB-4F2B-83C4-BC1522EE2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6" y="1684"/>
              <a:ext cx="4548" cy="4609"/>
            </a:xfrm>
            <a:custGeom>
              <a:avLst/>
              <a:gdLst>
                <a:gd name="T0" fmla="*/ 4060 w 4126"/>
                <a:gd name="T1" fmla="*/ 255 h 4181"/>
                <a:gd name="T2" fmla="*/ 4122 w 4126"/>
                <a:gd name="T3" fmla="*/ 381 h 4181"/>
                <a:gd name="T4" fmla="*/ 4040 w 4126"/>
                <a:gd name="T5" fmla="*/ 437 h 4181"/>
                <a:gd name="T6" fmla="*/ 4076 w 4126"/>
                <a:gd name="T7" fmla="*/ 545 h 4181"/>
                <a:gd name="T8" fmla="*/ 3993 w 4126"/>
                <a:gd name="T9" fmla="*/ 610 h 4181"/>
                <a:gd name="T10" fmla="*/ 3907 w 4126"/>
                <a:gd name="T11" fmla="*/ 726 h 4181"/>
                <a:gd name="T12" fmla="*/ 3802 w 4126"/>
                <a:gd name="T13" fmla="*/ 859 h 4181"/>
                <a:gd name="T14" fmla="*/ 3702 w 4126"/>
                <a:gd name="T15" fmla="*/ 937 h 4181"/>
                <a:gd name="T16" fmla="*/ 3547 w 4126"/>
                <a:gd name="T17" fmla="*/ 1053 h 4181"/>
                <a:gd name="T18" fmla="*/ 3482 w 4126"/>
                <a:gd name="T19" fmla="*/ 1170 h 4181"/>
                <a:gd name="T20" fmla="*/ 3417 w 4126"/>
                <a:gd name="T21" fmla="*/ 1327 h 4181"/>
                <a:gd name="T22" fmla="*/ 3276 w 4126"/>
                <a:gd name="T23" fmla="*/ 1397 h 4181"/>
                <a:gd name="T24" fmla="*/ 3164 w 4126"/>
                <a:gd name="T25" fmla="*/ 1553 h 4181"/>
                <a:gd name="T26" fmla="*/ 3080 w 4126"/>
                <a:gd name="T27" fmla="*/ 1715 h 4181"/>
                <a:gd name="T28" fmla="*/ 2941 w 4126"/>
                <a:gd name="T29" fmla="*/ 1695 h 4181"/>
                <a:gd name="T30" fmla="*/ 2827 w 4126"/>
                <a:gd name="T31" fmla="*/ 1817 h 4181"/>
                <a:gd name="T32" fmla="*/ 2809 w 4126"/>
                <a:gd name="T33" fmla="*/ 1949 h 4181"/>
                <a:gd name="T34" fmla="*/ 2838 w 4126"/>
                <a:gd name="T35" fmla="*/ 2110 h 4181"/>
                <a:gd name="T36" fmla="*/ 2804 w 4126"/>
                <a:gd name="T37" fmla="*/ 2258 h 4181"/>
                <a:gd name="T38" fmla="*/ 2765 w 4126"/>
                <a:gd name="T39" fmla="*/ 2502 h 4181"/>
                <a:gd name="T40" fmla="*/ 2761 w 4126"/>
                <a:gd name="T41" fmla="*/ 2642 h 4181"/>
                <a:gd name="T42" fmla="*/ 2797 w 4126"/>
                <a:gd name="T43" fmla="*/ 2808 h 4181"/>
                <a:gd name="T44" fmla="*/ 2776 w 4126"/>
                <a:gd name="T45" fmla="*/ 2982 h 4181"/>
                <a:gd name="T46" fmla="*/ 2776 w 4126"/>
                <a:gd name="T47" fmla="*/ 3156 h 4181"/>
                <a:gd name="T48" fmla="*/ 2612 w 4126"/>
                <a:gd name="T49" fmla="*/ 3264 h 4181"/>
                <a:gd name="T50" fmla="*/ 2217 w 4126"/>
                <a:gd name="T51" fmla="*/ 3281 h 4181"/>
                <a:gd name="T52" fmla="*/ 2036 w 4126"/>
                <a:gd name="T53" fmla="*/ 3428 h 4181"/>
                <a:gd name="T54" fmla="*/ 1682 w 4126"/>
                <a:gd name="T55" fmla="*/ 3483 h 4181"/>
                <a:gd name="T56" fmla="*/ 1464 w 4126"/>
                <a:gd name="T57" fmla="*/ 3492 h 4181"/>
                <a:gd name="T58" fmla="*/ 1345 w 4126"/>
                <a:gd name="T59" fmla="*/ 3649 h 4181"/>
                <a:gd name="T60" fmla="*/ 1327 w 4126"/>
                <a:gd name="T61" fmla="*/ 3751 h 4181"/>
                <a:gd name="T62" fmla="*/ 1136 w 4126"/>
                <a:gd name="T63" fmla="*/ 3854 h 4181"/>
                <a:gd name="T64" fmla="*/ 918 w 4126"/>
                <a:gd name="T65" fmla="*/ 3960 h 4181"/>
                <a:gd name="T66" fmla="*/ 892 w 4126"/>
                <a:gd name="T67" fmla="*/ 4091 h 4181"/>
                <a:gd name="T68" fmla="*/ 821 w 4126"/>
                <a:gd name="T69" fmla="*/ 4112 h 4181"/>
                <a:gd name="T70" fmla="*/ 723 w 4126"/>
                <a:gd name="T71" fmla="*/ 3999 h 4181"/>
                <a:gd name="T72" fmla="*/ 619 w 4126"/>
                <a:gd name="T73" fmla="*/ 3774 h 4181"/>
                <a:gd name="T74" fmla="*/ 600 w 4126"/>
                <a:gd name="T75" fmla="*/ 3546 h 4181"/>
                <a:gd name="T76" fmla="*/ 784 w 4126"/>
                <a:gd name="T77" fmla="*/ 3343 h 4181"/>
                <a:gd name="T78" fmla="*/ 778 w 4126"/>
                <a:gd name="T79" fmla="*/ 2983 h 4181"/>
                <a:gd name="T80" fmla="*/ 661 w 4126"/>
                <a:gd name="T81" fmla="*/ 2751 h 4181"/>
                <a:gd name="T82" fmla="*/ 473 w 4126"/>
                <a:gd name="T83" fmla="*/ 2918 h 4181"/>
                <a:gd name="T84" fmla="*/ 382 w 4126"/>
                <a:gd name="T85" fmla="*/ 2914 h 4181"/>
                <a:gd name="T86" fmla="*/ 416 w 4126"/>
                <a:gd name="T87" fmla="*/ 2608 h 4181"/>
                <a:gd name="T88" fmla="*/ 312 w 4126"/>
                <a:gd name="T89" fmla="*/ 2409 h 4181"/>
                <a:gd name="T90" fmla="*/ 4 w 4126"/>
                <a:gd name="T91" fmla="*/ 2109 h 4181"/>
                <a:gd name="T92" fmla="*/ 302 w 4126"/>
                <a:gd name="T93" fmla="*/ 2024 h 4181"/>
                <a:gd name="T94" fmla="*/ 682 w 4126"/>
                <a:gd name="T95" fmla="*/ 2023 h 4181"/>
                <a:gd name="T96" fmla="*/ 997 w 4126"/>
                <a:gd name="T97" fmla="*/ 1859 h 4181"/>
                <a:gd name="T98" fmla="*/ 720 w 4126"/>
                <a:gd name="T99" fmla="*/ 1579 h 4181"/>
                <a:gd name="T100" fmla="*/ 1203 w 4126"/>
                <a:gd name="T101" fmla="*/ 828 h 4181"/>
                <a:gd name="T102" fmla="*/ 1290 w 4126"/>
                <a:gd name="T103" fmla="*/ 741 h 4181"/>
                <a:gd name="T104" fmla="*/ 1686 w 4126"/>
                <a:gd name="T105" fmla="*/ 744 h 4181"/>
                <a:gd name="T106" fmla="*/ 3160 w 4126"/>
                <a:gd name="T107" fmla="*/ 753 h 4181"/>
                <a:gd name="T108" fmla="*/ 3439 w 4126"/>
                <a:gd name="T109" fmla="*/ 561 h 4181"/>
                <a:gd name="T110" fmla="*/ 3511 w 4126"/>
                <a:gd name="T111" fmla="*/ 391 h 4181"/>
                <a:gd name="T112" fmla="*/ 3647 w 4126"/>
                <a:gd name="T113" fmla="*/ 314 h 4181"/>
                <a:gd name="T114" fmla="*/ 3700 w 4126"/>
                <a:gd name="T115" fmla="*/ 178 h 4181"/>
                <a:gd name="T116" fmla="*/ 3794 w 4126"/>
                <a:gd name="T117" fmla="*/ 35 h 4181"/>
                <a:gd name="T118" fmla="*/ 3969 w 4126"/>
                <a:gd name="T119" fmla="*/ 7 h 4181"/>
                <a:gd name="T120" fmla="*/ 3946 w 4126"/>
                <a:gd name="T121" fmla="*/ 173 h 4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26" h="4181">
                  <a:moveTo>
                    <a:pt x="3946" y="173"/>
                  </a:moveTo>
                  <a:cubicBezTo>
                    <a:pt x="3948" y="175"/>
                    <a:pt x="3947" y="181"/>
                    <a:pt x="3947" y="184"/>
                  </a:cubicBezTo>
                  <a:cubicBezTo>
                    <a:pt x="3947" y="186"/>
                    <a:pt x="3946" y="188"/>
                    <a:pt x="3946" y="189"/>
                  </a:cubicBezTo>
                  <a:cubicBezTo>
                    <a:pt x="3947" y="201"/>
                    <a:pt x="3942" y="213"/>
                    <a:pt x="3942" y="224"/>
                  </a:cubicBezTo>
                  <a:cubicBezTo>
                    <a:pt x="3942" y="236"/>
                    <a:pt x="3944" y="248"/>
                    <a:pt x="3949" y="259"/>
                  </a:cubicBezTo>
                  <a:cubicBezTo>
                    <a:pt x="3950" y="263"/>
                    <a:pt x="3951" y="267"/>
                    <a:pt x="3953" y="270"/>
                  </a:cubicBezTo>
                  <a:cubicBezTo>
                    <a:pt x="3955" y="276"/>
                    <a:pt x="3958" y="277"/>
                    <a:pt x="3964" y="275"/>
                  </a:cubicBezTo>
                  <a:cubicBezTo>
                    <a:pt x="3964" y="274"/>
                    <a:pt x="3965" y="274"/>
                    <a:pt x="3966" y="274"/>
                  </a:cubicBezTo>
                  <a:cubicBezTo>
                    <a:pt x="3978" y="267"/>
                    <a:pt x="3991" y="267"/>
                    <a:pt x="4004" y="272"/>
                  </a:cubicBezTo>
                  <a:cubicBezTo>
                    <a:pt x="4013" y="275"/>
                    <a:pt x="4019" y="274"/>
                    <a:pt x="4025" y="267"/>
                  </a:cubicBezTo>
                  <a:cubicBezTo>
                    <a:pt x="4029" y="262"/>
                    <a:pt x="4033" y="259"/>
                    <a:pt x="4038" y="255"/>
                  </a:cubicBezTo>
                  <a:cubicBezTo>
                    <a:pt x="4045" y="250"/>
                    <a:pt x="4054" y="248"/>
                    <a:pt x="4060" y="255"/>
                  </a:cubicBezTo>
                  <a:cubicBezTo>
                    <a:pt x="4064" y="259"/>
                    <a:pt x="4069" y="261"/>
                    <a:pt x="4073" y="264"/>
                  </a:cubicBezTo>
                  <a:cubicBezTo>
                    <a:pt x="4074" y="265"/>
                    <a:pt x="4075" y="265"/>
                    <a:pt x="4076" y="265"/>
                  </a:cubicBezTo>
                  <a:cubicBezTo>
                    <a:pt x="4086" y="261"/>
                    <a:pt x="4091" y="267"/>
                    <a:pt x="4097" y="273"/>
                  </a:cubicBezTo>
                  <a:cubicBezTo>
                    <a:pt x="4103" y="280"/>
                    <a:pt x="4100" y="289"/>
                    <a:pt x="4098" y="297"/>
                  </a:cubicBezTo>
                  <a:cubicBezTo>
                    <a:pt x="4098" y="301"/>
                    <a:pt x="4093" y="304"/>
                    <a:pt x="4089" y="304"/>
                  </a:cubicBezTo>
                  <a:cubicBezTo>
                    <a:pt x="4085" y="304"/>
                    <a:pt x="4083" y="306"/>
                    <a:pt x="4085" y="309"/>
                  </a:cubicBezTo>
                  <a:cubicBezTo>
                    <a:pt x="4089" y="317"/>
                    <a:pt x="4088" y="324"/>
                    <a:pt x="4084" y="332"/>
                  </a:cubicBezTo>
                  <a:cubicBezTo>
                    <a:pt x="4083" y="334"/>
                    <a:pt x="4084" y="339"/>
                    <a:pt x="4085" y="342"/>
                  </a:cubicBezTo>
                  <a:cubicBezTo>
                    <a:pt x="4086" y="343"/>
                    <a:pt x="4089" y="345"/>
                    <a:pt x="4091" y="345"/>
                  </a:cubicBezTo>
                  <a:cubicBezTo>
                    <a:pt x="4098" y="345"/>
                    <a:pt x="4104" y="348"/>
                    <a:pt x="4107" y="355"/>
                  </a:cubicBezTo>
                  <a:cubicBezTo>
                    <a:pt x="4108" y="357"/>
                    <a:pt x="4111" y="357"/>
                    <a:pt x="4114" y="359"/>
                  </a:cubicBezTo>
                  <a:cubicBezTo>
                    <a:pt x="4122" y="364"/>
                    <a:pt x="4126" y="373"/>
                    <a:pt x="4122" y="381"/>
                  </a:cubicBezTo>
                  <a:cubicBezTo>
                    <a:pt x="4119" y="386"/>
                    <a:pt x="4119" y="390"/>
                    <a:pt x="4119" y="395"/>
                  </a:cubicBezTo>
                  <a:cubicBezTo>
                    <a:pt x="4119" y="401"/>
                    <a:pt x="4117" y="406"/>
                    <a:pt x="4113" y="411"/>
                  </a:cubicBezTo>
                  <a:cubicBezTo>
                    <a:pt x="4111" y="413"/>
                    <a:pt x="4109" y="416"/>
                    <a:pt x="4107" y="419"/>
                  </a:cubicBezTo>
                  <a:cubicBezTo>
                    <a:pt x="4101" y="428"/>
                    <a:pt x="4094" y="430"/>
                    <a:pt x="4085" y="424"/>
                  </a:cubicBezTo>
                  <a:cubicBezTo>
                    <a:pt x="4084" y="423"/>
                    <a:pt x="4082" y="422"/>
                    <a:pt x="4081" y="421"/>
                  </a:cubicBezTo>
                  <a:cubicBezTo>
                    <a:pt x="4078" y="418"/>
                    <a:pt x="4076" y="416"/>
                    <a:pt x="4073" y="413"/>
                  </a:cubicBezTo>
                  <a:cubicBezTo>
                    <a:pt x="4071" y="416"/>
                    <a:pt x="4069" y="419"/>
                    <a:pt x="4067" y="421"/>
                  </a:cubicBezTo>
                  <a:cubicBezTo>
                    <a:pt x="4064" y="424"/>
                    <a:pt x="4061" y="425"/>
                    <a:pt x="4058" y="423"/>
                  </a:cubicBezTo>
                  <a:cubicBezTo>
                    <a:pt x="4056" y="422"/>
                    <a:pt x="4053" y="422"/>
                    <a:pt x="4051" y="420"/>
                  </a:cubicBezTo>
                  <a:cubicBezTo>
                    <a:pt x="4048" y="418"/>
                    <a:pt x="4045" y="415"/>
                    <a:pt x="4041" y="419"/>
                  </a:cubicBezTo>
                  <a:cubicBezTo>
                    <a:pt x="4036" y="424"/>
                    <a:pt x="4035" y="426"/>
                    <a:pt x="4038" y="433"/>
                  </a:cubicBezTo>
                  <a:cubicBezTo>
                    <a:pt x="4038" y="434"/>
                    <a:pt x="4039" y="436"/>
                    <a:pt x="4040" y="437"/>
                  </a:cubicBezTo>
                  <a:cubicBezTo>
                    <a:pt x="4043" y="443"/>
                    <a:pt x="4042" y="448"/>
                    <a:pt x="4038" y="453"/>
                  </a:cubicBezTo>
                  <a:cubicBezTo>
                    <a:pt x="4036" y="456"/>
                    <a:pt x="4034" y="460"/>
                    <a:pt x="4034" y="463"/>
                  </a:cubicBezTo>
                  <a:cubicBezTo>
                    <a:pt x="4034" y="468"/>
                    <a:pt x="4037" y="469"/>
                    <a:pt x="4042" y="466"/>
                  </a:cubicBezTo>
                  <a:cubicBezTo>
                    <a:pt x="4045" y="464"/>
                    <a:pt x="4047" y="463"/>
                    <a:pt x="4050" y="463"/>
                  </a:cubicBezTo>
                  <a:cubicBezTo>
                    <a:pt x="4056" y="461"/>
                    <a:pt x="4062" y="459"/>
                    <a:pt x="4066" y="454"/>
                  </a:cubicBezTo>
                  <a:cubicBezTo>
                    <a:pt x="4067" y="453"/>
                    <a:pt x="4067" y="453"/>
                    <a:pt x="4067" y="453"/>
                  </a:cubicBezTo>
                  <a:cubicBezTo>
                    <a:pt x="4071" y="450"/>
                    <a:pt x="4076" y="448"/>
                    <a:pt x="4081" y="450"/>
                  </a:cubicBezTo>
                  <a:cubicBezTo>
                    <a:pt x="4086" y="453"/>
                    <a:pt x="4086" y="458"/>
                    <a:pt x="4086" y="462"/>
                  </a:cubicBezTo>
                  <a:cubicBezTo>
                    <a:pt x="4087" y="469"/>
                    <a:pt x="4086" y="475"/>
                    <a:pt x="4089" y="480"/>
                  </a:cubicBezTo>
                  <a:cubicBezTo>
                    <a:pt x="4092" y="487"/>
                    <a:pt x="4093" y="493"/>
                    <a:pt x="4093" y="500"/>
                  </a:cubicBezTo>
                  <a:cubicBezTo>
                    <a:pt x="4092" y="504"/>
                    <a:pt x="4092" y="509"/>
                    <a:pt x="4090" y="513"/>
                  </a:cubicBezTo>
                  <a:cubicBezTo>
                    <a:pt x="4086" y="524"/>
                    <a:pt x="4081" y="534"/>
                    <a:pt x="4076" y="545"/>
                  </a:cubicBezTo>
                  <a:cubicBezTo>
                    <a:pt x="4074" y="551"/>
                    <a:pt x="4069" y="554"/>
                    <a:pt x="4063" y="553"/>
                  </a:cubicBezTo>
                  <a:cubicBezTo>
                    <a:pt x="4054" y="553"/>
                    <a:pt x="4046" y="553"/>
                    <a:pt x="4039" y="560"/>
                  </a:cubicBezTo>
                  <a:cubicBezTo>
                    <a:pt x="4038" y="561"/>
                    <a:pt x="4035" y="561"/>
                    <a:pt x="4032" y="561"/>
                  </a:cubicBezTo>
                  <a:cubicBezTo>
                    <a:pt x="4031" y="561"/>
                    <a:pt x="4030" y="561"/>
                    <a:pt x="4030" y="561"/>
                  </a:cubicBezTo>
                  <a:cubicBezTo>
                    <a:pt x="4029" y="561"/>
                    <a:pt x="4028" y="561"/>
                    <a:pt x="4026" y="561"/>
                  </a:cubicBezTo>
                  <a:cubicBezTo>
                    <a:pt x="4025" y="561"/>
                    <a:pt x="4023" y="561"/>
                    <a:pt x="4021" y="562"/>
                  </a:cubicBezTo>
                  <a:cubicBezTo>
                    <a:pt x="4015" y="563"/>
                    <a:pt x="4015" y="564"/>
                    <a:pt x="4019" y="569"/>
                  </a:cubicBezTo>
                  <a:cubicBezTo>
                    <a:pt x="4021" y="572"/>
                    <a:pt x="4023" y="575"/>
                    <a:pt x="4024" y="578"/>
                  </a:cubicBezTo>
                  <a:cubicBezTo>
                    <a:pt x="4026" y="583"/>
                    <a:pt x="4023" y="588"/>
                    <a:pt x="4018" y="590"/>
                  </a:cubicBezTo>
                  <a:cubicBezTo>
                    <a:pt x="4012" y="591"/>
                    <a:pt x="4011" y="595"/>
                    <a:pt x="4009" y="600"/>
                  </a:cubicBezTo>
                  <a:cubicBezTo>
                    <a:pt x="4007" y="608"/>
                    <a:pt x="4006" y="608"/>
                    <a:pt x="3997" y="608"/>
                  </a:cubicBezTo>
                  <a:cubicBezTo>
                    <a:pt x="3996" y="608"/>
                    <a:pt x="3994" y="609"/>
                    <a:pt x="3993" y="610"/>
                  </a:cubicBezTo>
                  <a:cubicBezTo>
                    <a:pt x="3991" y="613"/>
                    <a:pt x="3990" y="617"/>
                    <a:pt x="3989" y="620"/>
                  </a:cubicBezTo>
                  <a:cubicBezTo>
                    <a:pt x="3987" y="624"/>
                    <a:pt x="3985" y="627"/>
                    <a:pt x="3980" y="629"/>
                  </a:cubicBezTo>
                  <a:cubicBezTo>
                    <a:pt x="3975" y="631"/>
                    <a:pt x="3972" y="637"/>
                    <a:pt x="3969" y="641"/>
                  </a:cubicBezTo>
                  <a:cubicBezTo>
                    <a:pt x="3966" y="643"/>
                    <a:pt x="3964" y="647"/>
                    <a:pt x="3961" y="649"/>
                  </a:cubicBezTo>
                  <a:cubicBezTo>
                    <a:pt x="3958" y="652"/>
                    <a:pt x="3955" y="654"/>
                    <a:pt x="3951" y="651"/>
                  </a:cubicBezTo>
                  <a:cubicBezTo>
                    <a:pt x="3948" y="647"/>
                    <a:pt x="3946" y="649"/>
                    <a:pt x="3943" y="652"/>
                  </a:cubicBezTo>
                  <a:cubicBezTo>
                    <a:pt x="3939" y="657"/>
                    <a:pt x="3934" y="663"/>
                    <a:pt x="3930" y="669"/>
                  </a:cubicBezTo>
                  <a:cubicBezTo>
                    <a:pt x="3928" y="672"/>
                    <a:pt x="3927" y="677"/>
                    <a:pt x="3921" y="677"/>
                  </a:cubicBezTo>
                  <a:cubicBezTo>
                    <a:pt x="3921" y="677"/>
                    <a:pt x="3919" y="678"/>
                    <a:pt x="3919" y="679"/>
                  </a:cubicBezTo>
                  <a:cubicBezTo>
                    <a:pt x="3920" y="685"/>
                    <a:pt x="3919" y="692"/>
                    <a:pt x="3922" y="697"/>
                  </a:cubicBezTo>
                  <a:cubicBezTo>
                    <a:pt x="3925" y="702"/>
                    <a:pt x="3927" y="706"/>
                    <a:pt x="3923" y="712"/>
                  </a:cubicBezTo>
                  <a:cubicBezTo>
                    <a:pt x="3919" y="719"/>
                    <a:pt x="3916" y="726"/>
                    <a:pt x="3907" y="726"/>
                  </a:cubicBezTo>
                  <a:cubicBezTo>
                    <a:pt x="3906" y="727"/>
                    <a:pt x="3905" y="726"/>
                    <a:pt x="3904" y="727"/>
                  </a:cubicBezTo>
                  <a:cubicBezTo>
                    <a:pt x="3897" y="728"/>
                    <a:pt x="3895" y="732"/>
                    <a:pt x="3896" y="739"/>
                  </a:cubicBezTo>
                  <a:cubicBezTo>
                    <a:pt x="3899" y="754"/>
                    <a:pt x="3903" y="769"/>
                    <a:pt x="3906" y="784"/>
                  </a:cubicBezTo>
                  <a:cubicBezTo>
                    <a:pt x="3907" y="789"/>
                    <a:pt x="3906" y="794"/>
                    <a:pt x="3905" y="799"/>
                  </a:cubicBezTo>
                  <a:cubicBezTo>
                    <a:pt x="3905" y="805"/>
                    <a:pt x="3900" y="807"/>
                    <a:pt x="3895" y="809"/>
                  </a:cubicBezTo>
                  <a:cubicBezTo>
                    <a:pt x="3894" y="810"/>
                    <a:pt x="3892" y="811"/>
                    <a:pt x="3891" y="812"/>
                  </a:cubicBezTo>
                  <a:cubicBezTo>
                    <a:pt x="3885" y="821"/>
                    <a:pt x="3875" y="824"/>
                    <a:pt x="3866" y="828"/>
                  </a:cubicBezTo>
                  <a:cubicBezTo>
                    <a:pt x="3864" y="830"/>
                    <a:pt x="3861" y="831"/>
                    <a:pt x="3860" y="833"/>
                  </a:cubicBezTo>
                  <a:cubicBezTo>
                    <a:pt x="3855" y="839"/>
                    <a:pt x="3848" y="841"/>
                    <a:pt x="3842" y="844"/>
                  </a:cubicBezTo>
                  <a:cubicBezTo>
                    <a:pt x="3840" y="845"/>
                    <a:pt x="3838" y="845"/>
                    <a:pt x="3837" y="845"/>
                  </a:cubicBezTo>
                  <a:cubicBezTo>
                    <a:pt x="3830" y="841"/>
                    <a:pt x="3826" y="845"/>
                    <a:pt x="3821" y="850"/>
                  </a:cubicBezTo>
                  <a:cubicBezTo>
                    <a:pt x="3816" y="855"/>
                    <a:pt x="3810" y="859"/>
                    <a:pt x="3802" y="859"/>
                  </a:cubicBezTo>
                  <a:cubicBezTo>
                    <a:pt x="3799" y="859"/>
                    <a:pt x="3796" y="860"/>
                    <a:pt x="3793" y="861"/>
                  </a:cubicBezTo>
                  <a:cubicBezTo>
                    <a:pt x="3792" y="861"/>
                    <a:pt x="3791" y="863"/>
                    <a:pt x="3790" y="864"/>
                  </a:cubicBezTo>
                  <a:cubicBezTo>
                    <a:pt x="3790" y="865"/>
                    <a:pt x="3790" y="867"/>
                    <a:pt x="3790" y="868"/>
                  </a:cubicBezTo>
                  <a:cubicBezTo>
                    <a:pt x="3790" y="874"/>
                    <a:pt x="3784" y="876"/>
                    <a:pt x="3782" y="879"/>
                  </a:cubicBezTo>
                  <a:cubicBezTo>
                    <a:pt x="3781" y="882"/>
                    <a:pt x="3787" y="886"/>
                    <a:pt x="3787" y="890"/>
                  </a:cubicBezTo>
                  <a:cubicBezTo>
                    <a:pt x="3788" y="896"/>
                    <a:pt x="3783" y="902"/>
                    <a:pt x="3777" y="902"/>
                  </a:cubicBezTo>
                  <a:cubicBezTo>
                    <a:pt x="3771" y="902"/>
                    <a:pt x="3765" y="901"/>
                    <a:pt x="3760" y="900"/>
                  </a:cubicBezTo>
                  <a:cubicBezTo>
                    <a:pt x="3754" y="899"/>
                    <a:pt x="3749" y="902"/>
                    <a:pt x="3747" y="908"/>
                  </a:cubicBezTo>
                  <a:cubicBezTo>
                    <a:pt x="3747" y="909"/>
                    <a:pt x="3747" y="910"/>
                    <a:pt x="3747" y="911"/>
                  </a:cubicBezTo>
                  <a:cubicBezTo>
                    <a:pt x="3746" y="923"/>
                    <a:pt x="3736" y="928"/>
                    <a:pt x="3729" y="935"/>
                  </a:cubicBezTo>
                  <a:cubicBezTo>
                    <a:pt x="3728" y="936"/>
                    <a:pt x="3727" y="936"/>
                    <a:pt x="3727" y="936"/>
                  </a:cubicBezTo>
                  <a:cubicBezTo>
                    <a:pt x="3718" y="935"/>
                    <a:pt x="3710" y="937"/>
                    <a:pt x="3702" y="937"/>
                  </a:cubicBezTo>
                  <a:cubicBezTo>
                    <a:pt x="3698" y="937"/>
                    <a:pt x="3694" y="937"/>
                    <a:pt x="3690" y="939"/>
                  </a:cubicBezTo>
                  <a:cubicBezTo>
                    <a:pt x="3688" y="940"/>
                    <a:pt x="3687" y="941"/>
                    <a:pt x="3686" y="941"/>
                  </a:cubicBezTo>
                  <a:cubicBezTo>
                    <a:pt x="3676" y="940"/>
                    <a:pt x="3673" y="946"/>
                    <a:pt x="3669" y="954"/>
                  </a:cubicBezTo>
                  <a:cubicBezTo>
                    <a:pt x="3666" y="959"/>
                    <a:pt x="3660" y="964"/>
                    <a:pt x="3655" y="968"/>
                  </a:cubicBezTo>
                  <a:cubicBezTo>
                    <a:pt x="3653" y="970"/>
                    <a:pt x="3651" y="971"/>
                    <a:pt x="3651" y="974"/>
                  </a:cubicBezTo>
                  <a:cubicBezTo>
                    <a:pt x="3648" y="984"/>
                    <a:pt x="3642" y="990"/>
                    <a:pt x="3632" y="993"/>
                  </a:cubicBezTo>
                  <a:cubicBezTo>
                    <a:pt x="3624" y="996"/>
                    <a:pt x="3615" y="999"/>
                    <a:pt x="3607" y="1002"/>
                  </a:cubicBezTo>
                  <a:cubicBezTo>
                    <a:pt x="3602" y="1004"/>
                    <a:pt x="3598" y="1009"/>
                    <a:pt x="3594" y="1014"/>
                  </a:cubicBezTo>
                  <a:cubicBezTo>
                    <a:pt x="3589" y="1018"/>
                    <a:pt x="3586" y="1023"/>
                    <a:pt x="3581" y="1028"/>
                  </a:cubicBezTo>
                  <a:cubicBezTo>
                    <a:pt x="3580" y="1029"/>
                    <a:pt x="3576" y="1030"/>
                    <a:pt x="3574" y="1029"/>
                  </a:cubicBezTo>
                  <a:cubicBezTo>
                    <a:pt x="3568" y="1026"/>
                    <a:pt x="3565" y="1029"/>
                    <a:pt x="3561" y="1033"/>
                  </a:cubicBezTo>
                  <a:cubicBezTo>
                    <a:pt x="3556" y="1039"/>
                    <a:pt x="3551" y="1045"/>
                    <a:pt x="3547" y="1053"/>
                  </a:cubicBezTo>
                  <a:cubicBezTo>
                    <a:pt x="3542" y="1060"/>
                    <a:pt x="3543" y="1069"/>
                    <a:pt x="3541" y="1076"/>
                  </a:cubicBezTo>
                  <a:cubicBezTo>
                    <a:pt x="3540" y="1082"/>
                    <a:pt x="3538" y="1087"/>
                    <a:pt x="3534" y="1091"/>
                  </a:cubicBezTo>
                  <a:cubicBezTo>
                    <a:pt x="3531" y="1095"/>
                    <a:pt x="3530" y="1098"/>
                    <a:pt x="3533" y="1102"/>
                  </a:cubicBezTo>
                  <a:cubicBezTo>
                    <a:pt x="3536" y="1109"/>
                    <a:pt x="3538" y="1116"/>
                    <a:pt x="3543" y="1122"/>
                  </a:cubicBezTo>
                  <a:cubicBezTo>
                    <a:pt x="3545" y="1124"/>
                    <a:pt x="3545" y="1127"/>
                    <a:pt x="3544" y="1129"/>
                  </a:cubicBezTo>
                  <a:cubicBezTo>
                    <a:pt x="3540" y="1146"/>
                    <a:pt x="3532" y="1149"/>
                    <a:pt x="3518" y="1140"/>
                  </a:cubicBezTo>
                  <a:cubicBezTo>
                    <a:pt x="3514" y="1138"/>
                    <a:pt x="3512" y="1135"/>
                    <a:pt x="3509" y="1132"/>
                  </a:cubicBezTo>
                  <a:cubicBezTo>
                    <a:pt x="3508" y="1132"/>
                    <a:pt x="3507" y="1131"/>
                    <a:pt x="3506" y="1130"/>
                  </a:cubicBezTo>
                  <a:cubicBezTo>
                    <a:pt x="3505" y="1131"/>
                    <a:pt x="3504" y="1132"/>
                    <a:pt x="3504" y="1133"/>
                  </a:cubicBezTo>
                  <a:cubicBezTo>
                    <a:pt x="3503" y="1134"/>
                    <a:pt x="3503" y="1135"/>
                    <a:pt x="3503" y="1136"/>
                  </a:cubicBezTo>
                  <a:cubicBezTo>
                    <a:pt x="3503" y="1148"/>
                    <a:pt x="3499" y="1156"/>
                    <a:pt x="3487" y="1161"/>
                  </a:cubicBezTo>
                  <a:cubicBezTo>
                    <a:pt x="3483" y="1163"/>
                    <a:pt x="3483" y="1166"/>
                    <a:pt x="3482" y="1170"/>
                  </a:cubicBezTo>
                  <a:cubicBezTo>
                    <a:pt x="3478" y="1183"/>
                    <a:pt x="3479" y="1197"/>
                    <a:pt x="3468" y="1208"/>
                  </a:cubicBezTo>
                  <a:cubicBezTo>
                    <a:pt x="3467" y="1210"/>
                    <a:pt x="3465" y="1211"/>
                    <a:pt x="3463" y="1213"/>
                  </a:cubicBezTo>
                  <a:cubicBezTo>
                    <a:pt x="3461" y="1216"/>
                    <a:pt x="3457" y="1219"/>
                    <a:pt x="3457" y="1222"/>
                  </a:cubicBezTo>
                  <a:cubicBezTo>
                    <a:pt x="3457" y="1229"/>
                    <a:pt x="3455" y="1236"/>
                    <a:pt x="3451" y="1242"/>
                  </a:cubicBezTo>
                  <a:cubicBezTo>
                    <a:pt x="3450" y="1243"/>
                    <a:pt x="3452" y="1246"/>
                    <a:pt x="3453" y="1247"/>
                  </a:cubicBezTo>
                  <a:cubicBezTo>
                    <a:pt x="3455" y="1251"/>
                    <a:pt x="3459" y="1253"/>
                    <a:pt x="3462" y="1257"/>
                  </a:cubicBezTo>
                  <a:cubicBezTo>
                    <a:pt x="3466" y="1263"/>
                    <a:pt x="3465" y="1267"/>
                    <a:pt x="3459" y="1271"/>
                  </a:cubicBezTo>
                  <a:cubicBezTo>
                    <a:pt x="3452" y="1274"/>
                    <a:pt x="3447" y="1279"/>
                    <a:pt x="3444" y="1286"/>
                  </a:cubicBezTo>
                  <a:cubicBezTo>
                    <a:pt x="3443" y="1288"/>
                    <a:pt x="3441" y="1291"/>
                    <a:pt x="3445" y="1293"/>
                  </a:cubicBezTo>
                  <a:cubicBezTo>
                    <a:pt x="3450" y="1296"/>
                    <a:pt x="3453" y="1301"/>
                    <a:pt x="3451" y="1308"/>
                  </a:cubicBezTo>
                  <a:cubicBezTo>
                    <a:pt x="3449" y="1315"/>
                    <a:pt x="3442" y="1321"/>
                    <a:pt x="3434" y="1322"/>
                  </a:cubicBezTo>
                  <a:cubicBezTo>
                    <a:pt x="3428" y="1323"/>
                    <a:pt x="3422" y="1321"/>
                    <a:pt x="3417" y="1327"/>
                  </a:cubicBezTo>
                  <a:cubicBezTo>
                    <a:pt x="3416" y="1328"/>
                    <a:pt x="3413" y="1328"/>
                    <a:pt x="3412" y="1328"/>
                  </a:cubicBezTo>
                  <a:cubicBezTo>
                    <a:pt x="3405" y="1324"/>
                    <a:pt x="3399" y="1325"/>
                    <a:pt x="3393" y="1330"/>
                  </a:cubicBezTo>
                  <a:cubicBezTo>
                    <a:pt x="3393" y="1330"/>
                    <a:pt x="3392" y="1331"/>
                    <a:pt x="3391" y="1330"/>
                  </a:cubicBezTo>
                  <a:cubicBezTo>
                    <a:pt x="3382" y="1328"/>
                    <a:pt x="3377" y="1335"/>
                    <a:pt x="3372" y="1340"/>
                  </a:cubicBezTo>
                  <a:cubicBezTo>
                    <a:pt x="3370" y="1342"/>
                    <a:pt x="3367" y="1343"/>
                    <a:pt x="3365" y="1343"/>
                  </a:cubicBezTo>
                  <a:cubicBezTo>
                    <a:pt x="3357" y="1346"/>
                    <a:pt x="3349" y="1347"/>
                    <a:pt x="3345" y="1356"/>
                  </a:cubicBezTo>
                  <a:cubicBezTo>
                    <a:pt x="3336" y="1356"/>
                    <a:pt x="3334" y="1364"/>
                    <a:pt x="3328" y="1368"/>
                  </a:cubicBezTo>
                  <a:cubicBezTo>
                    <a:pt x="3324" y="1371"/>
                    <a:pt x="3317" y="1372"/>
                    <a:pt x="3312" y="1374"/>
                  </a:cubicBezTo>
                  <a:cubicBezTo>
                    <a:pt x="3310" y="1374"/>
                    <a:pt x="3306" y="1374"/>
                    <a:pt x="3305" y="1375"/>
                  </a:cubicBezTo>
                  <a:cubicBezTo>
                    <a:pt x="3299" y="1382"/>
                    <a:pt x="3291" y="1385"/>
                    <a:pt x="3283" y="1388"/>
                  </a:cubicBezTo>
                  <a:cubicBezTo>
                    <a:pt x="3281" y="1389"/>
                    <a:pt x="3280" y="1392"/>
                    <a:pt x="3278" y="1393"/>
                  </a:cubicBezTo>
                  <a:cubicBezTo>
                    <a:pt x="3277" y="1395"/>
                    <a:pt x="3277" y="1396"/>
                    <a:pt x="3276" y="1397"/>
                  </a:cubicBezTo>
                  <a:cubicBezTo>
                    <a:pt x="3272" y="1399"/>
                    <a:pt x="3265" y="1400"/>
                    <a:pt x="3263" y="1404"/>
                  </a:cubicBezTo>
                  <a:cubicBezTo>
                    <a:pt x="3261" y="1408"/>
                    <a:pt x="3260" y="1412"/>
                    <a:pt x="3256" y="1415"/>
                  </a:cubicBezTo>
                  <a:cubicBezTo>
                    <a:pt x="3254" y="1416"/>
                    <a:pt x="3251" y="1418"/>
                    <a:pt x="3251" y="1420"/>
                  </a:cubicBezTo>
                  <a:cubicBezTo>
                    <a:pt x="3249" y="1427"/>
                    <a:pt x="3245" y="1431"/>
                    <a:pt x="3238" y="1434"/>
                  </a:cubicBezTo>
                  <a:cubicBezTo>
                    <a:pt x="3234" y="1435"/>
                    <a:pt x="3232" y="1436"/>
                    <a:pt x="3235" y="1441"/>
                  </a:cubicBezTo>
                  <a:cubicBezTo>
                    <a:pt x="3236" y="1443"/>
                    <a:pt x="3236" y="1446"/>
                    <a:pt x="3235" y="1447"/>
                  </a:cubicBezTo>
                  <a:cubicBezTo>
                    <a:pt x="3228" y="1454"/>
                    <a:pt x="3223" y="1462"/>
                    <a:pt x="3213" y="1465"/>
                  </a:cubicBezTo>
                  <a:cubicBezTo>
                    <a:pt x="3210" y="1466"/>
                    <a:pt x="3209" y="1466"/>
                    <a:pt x="3207" y="1469"/>
                  </a:cubicBezTo>
                  <a:cubicBezTo>
                    <a:pt x="3200" y="1481"/>
                    <a:pt x="3191" y="1492"/>
                    <a:pt x="3188" y="1506"/>
                  </a:cubicBezTo>
                  <a:cubicBezTo>
                    <a:pt x="3187" y="1507"/>
                    <a:pt x="3187" y="1510"/>
                    <a:pt x="3186" y="1511"/>
                  </a:cubicBezTo>
                  <a:cubicBezTo>
                    <a:pt x="3178" y="1517"/>
                    <a:pt x="3178" y="1527"/>
                    <a:pt x="3174" y="1535"/>
                  </a:cubicBezTo>
                  <a:cubicBezTo>
                    <a:pt x="3171" y="1541"/>
                    <a:pt x="3168" y="1547"/>
                    <a:pt x="3164" y="1553"/>
                  </a:cubicBezTo>
                  <a:cubicBezTo>
                    <a:pt x="3159" y="1558"/>
                    <a:pt x="3154" y="1563"/>
                    <a:pt x="3150" y="1569"/>
                  </a:cubicBezTo>
                  <a:cubicBezTo>
                    <a:pt x="3148" y="1571"/>
                    <a:pt x="3147" y="1573"/>
                    <a:pt x="3147" y="1576"/>
                  </a:cubicBezTo>
                  <a:cubicBezTo>
                    <a:pt x="3146" y="1580"/>
                    <a:pt x="3145" y="1584"/>
                    <a:pt x="3152" y="1583"/>
                  </a:cubicBezTo>
                  <a:cubicBezTo>
                    <a:pt x="3157" y="1583"/>
                    <a:pt x="3159" y="1587"/>
                    <a:pt x="3160" y="1592"/>
                  </a:cubicBezTo>
                  <a:cubicBezTo>
                    <a:pt x="3161" y="1605"/>
                    <a:pt x="3158" y="1615"/>
                    <a:pt x="3151" y="1624"/>
                  </a:cubicBezTo>
                  <a:cubicBezTo>
                    <a:pt x="3148" y="1627"/>
                    <a:pt x="3147" y="1630"/>
                    <a:pt x="3147" y="1635"/>
                  </a:cubicBezTo>
                  <a:cubicBezTo>
                    <a:pt x="3146" y="1647"/>
                    <a:pt x="3141" y="1650"/>
                    <a:pt x="3131" y="1649"/>
                  </a:cubicBezTo>
                  <a:cubicBezTo>
                    <a:pt x="3127" y="1649"/>
                    <a:pt x="3123" y="1647"/>
                    <a:pt x="3118" y="1649"/>
                  </a:cubicBezTo>
                  <a:cubicBezTo>
                    <a:pt x="3108" y="1653"/>
                    <a:pt x="3106" y="1654"/>
                    <a:pt x="3107" y="1665"/>
                  </a:cubicBezTo>
                  <a:cubicBezTo>
                    <a:pt x="3107" y="1668"/>
                    <a:pt x="3108" y="1670"/>
                    <a:pt x="3107" y="1673"/>
                  </a:cubicBezTo>
                  <a:cubicBezTo>
                    <a:pt x="3106" y="1681"/>
                    <a:pt x="3104" y="1690"/>
                    <a:pt x="3095" y="1693"/>
                  </a:cubicBezTo>
                  <a:cubicBezTo>
                    <a:pt x="3085" y="1697"/>
                    <a:pt x="3084" y="1708"/>
                    <a:pt x="3080" y="1715"/>
                  </a:cubicBezTo>
                  <a:cubicBezTo>
                    <a:pt x="3075" y="1722"/>
                    <a:pt x="3075" y="1723"/>
                    <a:pt x="3067" y="1720"/>
                  </a:cubicBezTo>
                  <a:cubicBezTo>
                    <a:pt x="3051" y="1716"/>
                    <a:pt x="3046" y="1719"/>
                    <a:pt x="3043" y="1735"/>
                  </a:cubicBezTo>
                  <a:cubicBezTo>
                    <a:pt x="3042" y="1741"/>
                    <a:pt x="3041" y="1746"/>
                    <a:pt x="3040" y="1751"/>
                  </a:cubicBezTo>
                  <a:cubicBezTo>
                    <a:pt x="3038" y="1760"/>
                    <a:pt x="3032" y="1764"/>
                    <a:pt x="3023" y="1764"/>
                  </a:cubicBezTo>
                  <a:cubicBezTo>
                    <a:pt x="3020" y="1764"/>
                    <a:pt x="3017" y="1764"/>
                    <a:pt x="3014" y="1765"/>
                  </a:cubicBezTo>
                  <a:cubicBezTo>
                    <a:pt x="3004" y="1767"/>
                    <a:pt x="3000" y="1766"/>
                    <a:pt x="2996" y="1756"/>
                  </a:cubicBezTo>
                  <a:cubicBezTo>
                    <a:pt x="2995" y="1755"/>
                    <a:pt x="2995" y="1752"/>
                    <a:pt x="2994" y="1751"/>
                  </a:cubicBezTo>
                  <a:cubicBezTo>
                    <a:pt x="2981" y="1747"/>
                    <a:pt x="2979" y="1733"/>
                    <a:pt x="2969" y="1726"/>
                  </a:cubicBezTo>
                  <a:cubicBezTo>
                    <a:pt x="2964" y="1723"/>
                    <a:pt x="2963" y="1716"/>
                    <a:pt x="2964" y="1710"/>
                  </a:cubicBezTo>
                  <a:cubicBezTo>
                    <a:pt x="2964" y="1708"/>
                    <a:pt x="2965" y="1706"/>
                    <a:pt x="2965" y="1704"/>
                  </a:cubicBezTo>
                  <a:cubicBezTo>
                    <a:pt x="2965" y="1701"/>
                    <a:pt x="2964" y="1698"/>
                    <a:pt x="2960" y="1699"/>
                  </a:cubicBezTo>
                  <a:cubicBezTo>
                    <a:pt x="2953" y="1701"/>
                    <a:pt x="2947" y="1698"/>
                    <a:pt x="2941" y="1695"/>
                  </a:cubicBezTo>
                  <a:cubicBezTo>
                    <a:pt x="2935" y="1691"/>
                    <a:pt x="2933" y="1691"/>
                    <a:pt x="2929" y="1697"/>
                  </a:cubicBezTo>
                  <a:cubicBezTo>
                    <a:pt x="2926" y="1702"/>
                    <a:pt x="2922" y="1705"/>
                    <a:pt x="2916" y="1704"/>
                  </a:cubicBezTo>
                  <a:cubicBezTo>
                    <a:pt x="2915" y="1703"/>
                    <a:pt x="2914" y="1705"/>
                    <a:pt x="2912" y="1706"/>
                  </a:cubicBezTo>
                  <a:cubicBezTo>
                    <a:pt x="2911" y="1707"/>
                    <a:pt x="2911" y="1708"/>
                    <a:pt x="2909" y="1709"/>
                  </a:cubicBezTo>
                  <a:cubicBezTo>
                    <a:pt x="2901" y="1712"/>
                    <a:pt x="2901" y="1716"/>
                    <a:pt x="2902" y="1725"/>
                  </a:cubicBezTo>
                  <a:cubicBezTo>
                    <a:pt x="2904" y="1736"/>
                    <a:pt x="2898" y="1747"/>
                    <a:pt x="2889" y="1755"/>
                  </a:cubicBezTo>
                  <a:cubicBezTo>
                    <a:pt x="2887" y="1757"/>
                    <a:pt x="2883" y="1757"/>
                    <a:pt x="2879" y="1757"/>
                  </a:cubicBezTo>
                  <a:cubicBezTo>
                    <a:pt x="2871" y="1758"/>
                    <a:pt x="2870" y="1759"/>
                    <a:pt x="2869" y="1767"/>
                  </a:cubicBezTo>
                  <a:cubicBezTo>
                    <a:pt x="2868" y="1776"/>
                    <a:pt x="2862" y="1779"/>
                    <a:pt x="2854" y="1775"/>
                  </a:cubicBezTo>
                  <a:cubicBezTo>
                    <a:pt x="2851" y="1774"/>
                    <a:pt x="2850" y="1773"/>
                    <a:pt x="2849" y="1776"/>
                  </a:cubicBezTo>
                  <a:cubicBezTo>
                    <a:pt x="2845" y="1782"/>
                    <a:pt x="2839" y="1787"/>
                    <a:pt x="2839" y="1795"/>
                  </a:cubicBezTo>
                  <a:cubicBezTo>
                    <a:pt x="2839" y="1804"/>
                    <a:pt x="2833" y="1811"/>
                    <a:pt x="2827" y="1817"/>
                  </a:cubicBezTo>
                  <a:cubicBezTo>
                    <a:pt x="2825" y="1821"/>
                    <a:pt x="2823" y="1823"/>
                    <a:pt x="2823" y="1828"/>
                  </a:cubicBezTo>
                  <a:cubicBezTo>
                    <a:pt x="2824" y="1833"/>
                    <a:pt x="2819" y="1837"/>
                    <a:pt x="2820" y="1843"/>
                  </a:cubicBezTo>
                  <a:cubicBezTo>
                    <a:pt x="2821" y="1847"/>
                    <a:pt x="2821" y="1850"/>
                    <a:pt x="2824" y="1853"/>
                  </a:cubicBezTo>
                  <a:cubicBezTo>
                    <a:pt x="2827" y="1855"/>
                    <a:pt x="2831" y="1858"/>
                    <a:pt x="2834" y="1859"/>
                  </a:cubicBezTo>
                  <a:cubicBezTo>
                    <a:pt x="2839" y="1862"/>
                    <a:pt x="2842" y="1867"/>
                    <a:pt x="2843" y="1872"/>
                  </a:cubicBezTo>
                  <a:cubicBezTo>
                    <a:pt x="2845" y="1880"/>
                    <a:pt x="2840" y="1891"/>
                    <a:pt x="2829" y="1890"/>
                  </a:cubicBezTo>
                  <a:cubicBezTo>
                    <a:pt x="2822" y="1889"/>
                    <a:pt x="2819" y="1892"/>
                    <a:pt x="2817" y="1898"/>
                  </a:cubicBezTo>
                  <a:cubicBezTo>
                    <a:pt x="2817" y="1901"/>
                    <a:pt x="2816" y="1903"/>
                    <a:pt x="2815" y="1904"/>
                  </a:cubicBezTo>
                  <a:cubicBezTo>
                    <a:pt x="2808" y="1913"/>
                    <a:pt x="2806" y="1923"/>
                    <a:pt x="2804" y="1933"/>
                  </a:cubicBezTo>
                  <a:cubicBezTo>
                    <a:pt x="2804" y="1934"/>
                    <a:pt x="2804" y="1934"/>
                    <a:pt x="2804" y="1935"/>
                  </a:cubicBezTo>
                  <a:cubicBezTo>
                    <a:pt x="2803" y="1938"/>
                    <a:pt x="2801" y="1941"/>
                    <a:pt x="2799" y="1945"/>
                  </a:cubicBezTo>
                  <a:cubicBezTo>
                    <a:pt x="2803" y="1946"/>
                    <a:pt x="2806" y="1947"/>
                    <a:pt x="2809" y="1949"/>
                  </a:cubicBezTo>
                  <a:cubicBezTo>
                    <a:pt x="2811" y="1950"/>
                    <a:pt x="2813" y="1954"/>
                    <a:pt x="2813" y="1956"/>
                  </a:cubicBezTo>
                  <a:cubicBezTo>
                    <a:pt x="2812" y="1961"/>
                    <a:pt x="2815" y="1965"/>
                    <a:pt x="2818" y="1969"/>
                  </a:cubicBezTo>
                  <a:cubicBezTo>
                    <a:pt x="2823" y="1975"/>
                    <a:pt x="2826" y="1983"/>
                    <a:pt x="2821" y="1990"/>
                  </a:cubicBezTo>
                  <a:cubicBezTo>
                    <a:pt x="2817" y="1996"/>
                    <a:pt x="2819" y="2001"/>
                    <a:pt x="2821" y="2005"/>
                  </a:cubicBezTo>
                  <a:cubicBezTo>
                    <a:pt x="2824" y="2008"/>
                    <a:pt x="2824" y="2011"/>
                    <a:pt x="2822" y="2015"/>
                  </a:cubicBezTo>
                  <a:cubicBezTo>
                    <a:pt x="2819" y="2024"/>
                    <a:pt x="2815" y="2034"/>
                    <a:pt x="2812" y="2043"/>
                  </a:cubicBezTo>
                  <a:cubicBezTo>
                    <a:pt x="2810" y="2049"/>
                    <a:pt x="2810" y="2055"/>
                    <a:pt x="2809" y="2061"/>
                  </a:cubicBezTo>
                  <a:cubicBezTo>
                    <a:pt x="2808" y="2068"/>
                    <a:pt x="2809" y="2074"/>
                    <a:pt x="2816" y="2077"/>
                  </a:cubicBezTo>
                  <a:cubicBezTo>
                    <a:pt x="2818" y="2078"/>
                    <a:pt x="2819" y="2081"/>
                    <a:pt x="2819" y="2083"/>
                  </a:cubicBezTo>
                  <a:cubicBezTo>
                    <a:pt x="2819" y="2089"/>
                    <a:pt x="2821" y="2093"/>
                    <a:pt x="2824" y="2097"/>
                  </a:cubicBezTo>
                  <a:cubicBezTo>
                    <a:pt x="2826" y="2099"/>
                    <a:pt x="2827" y="2101"/>
                    <a:pt x="2828" y="2104"/>
                  </a:cubicBezTo>
                  <a:cubicBezTo>
                    <a:pt x="2829" y="2109"/>
                    <a:pt x="2832" y="2111"/>
                    <a:pt x="2838" y="2110"/>
                  </a:cubicBezTo>
                  <a:cubicBezTo>
                    <a:pt x="2845" y="2108"/>
                    <a:pt x="2850" y="2112"/>
                    <a:pt x="2856" y="2115"/>
                  </a:cubicBezTo>
                  <a:cubicBezTo>
                    <a:pt x="2857" y="2117"/>
                    <a:pt x="2858" y="2121"/>
                    <a:pt x="2858" y="2123"/>
                  </a:cubicBezTo>
                  <a:cubicBezTo>
                    <a:pt x="2856" y="2128"/>
                    <a:pt x="2856" y="2132"/>
                    <a:pt x="2858" y="2136"/>
                  </a:cubicBezTo>
                  <a:cubicBezTo>
                    <a:pt x="2860" y="2140"/>
                    <a:pt x="2859" y="2143"/>
                    <a:pt x="2857" y="2146"/>
                  </a:cubicBezTo>
                  <a:cubicBezTo>
                    <a:pt x="2854" y="2152"/>
                    <a:pt x="2850" y="2158"/>
                    <a:pt x="2847" y="2165"/>
                  </a:cubicBezTo>
                  <a:cubicBezTo>
                    <a:pt x="2845" y="2168"/>
                    <a:pt x="2845" y="2172"/>
                    <a:pt x="2845" y="2175"/>
                  </a:cubicBezTo>
                  <a:cubicBezTo>
                    <a:pt x="2847" y="2182"/>
                    <a:pt x="2845" y="2188"/>
                    <a:pt x="2840" y="2193"/>
                  </a:cubicBezTo>
                  <a:cubicBezTo>
                    <a:pt x="2838" y="2195"/>
                    <a:pt x="2838" y="2198"/>
                    <a:pt x="2837" y="2199"/>
                  </a:cubicBezTo>
                  <a:cubicBezTo>
                    <a:pt x="2831" y="2206"/>
                    <a:pt x="2826" y="2212"/>
                    <a:pt x="2820" y="2217"/>
                  </a:cubicBezTo>
                  <a:cubicBezTo>
                    <a:pt x="2819" y="2218"/>
                    <a:pt x="2817" y="2218"/>
                    <a:pt x="2815" y="2218"/>
                  </a:cubicBezTo>
                  <a:cubicBezTo>
                    <a:pt x="2808" y="2220"/>
                    <a:pt x="2805" y="2224"/>
                    <a:pt x="2807" y="2230"/>
                  </a:cubicBezTo>
                  <a:cubicBezTo>
                    <a:pt x="2811" y="2241"/>
                    <a:pt x="2808" y="2249"/>
                    <a:pt x="2804" y="2258"/>
                  </a:cubicBezTo>
                  <a:cubicBezTo>
                    <a:pt x="2801" y="2265"/>
                    <a:pt x="2799" y="2271"/>
                    <a:pt x="2801" y="2278"/>
                  </a:cubicBezTo>
                  <a:cubicBezTo>
                    <a:pt x="2803" y="2282"/>
                    <a:pt x="2800" y="2287"/>
                    <a:pt x="2800" y="2292"/>
                  </a:cubicBezTo>
                  <a:cubicBezTo>
                    <a:pt x="2799" y="2302"/>
                    <a:pt x="2799" y="2312"/>
                    <a:pt x="2795" y="2322"/>
                  </a:cubicBezTo>
                  <a:cubicBezTo>
                    <a:pt x="2792" y="2329"/>
                    <a:pt x="2792" y="2338"/>
                    <a:pt x="2791" y="2346"/>
                  </a:cubicBezTo>
                  <a:cubicBezTo>
                    <a:pt x="2790" y="2356"/>
                    <a:pt x="2790" y="2367"/>
                    <a:pt x="2789" y="2377"/>
                  </a:cubicBezTo>
                  <a:cubicBezTo>
                    <a:pt x="2788" y="2382"/>
                    <a:pt x="2784" y="2387"/>
                    <a:pt x="2783" y="2393"/>
                  </a:cubicBezTo>
                  <a:cubicBezTo>
                    <a:pt x="2782" y="2398"/>
                    <a:pt x="2783" y="2404"/>
                    <a:pt x="2781" y="2408"/>
                  </a:cubicBezTo>
                  <a:cubicBezTo>
                    <a:pt x="2776" y="2417"/>
                    <a:pt x="2773" y="2426"/>
                    <a:pt x="2771" y="2436"/>
                  </a:cubicBezTo>
                  <a:cubicBezTo>
                    <a:pt x="2769" y="2441"/>
                    <a:pt x="2768" y="2444"/>
                    <a:pt x="2763" y="2447"/>
                  </a:cubicBezTo>
                  <a:cubicBezTo>
                    <a:pt x="2760" y="2449"/>
                    <a:pt x="2759" y="2452"/>
                    <a:pt x="2764" y="2455"/>
                  </a:cubicBezTo>
                  <a:cubicBezTo>
                    <a:pt x="2770" y="2460"/>
                    <a:pt x="2771" y="2465"/>
                    <a:pt x="2766" y="2470"/>
                  </a:cubicBezTo>
                  <a:cubicBezTo>
                    <a:pt x="2755" y="2481"/>
                    <a:pt x="2760" y="2492"/>
                    <a:pt x="2765" y="2502"/>
                  </a:cubicBezTo>
                  <a:cubicBezTo>
                    <a:pt x="2767" y="2509"/>
                    <a:pt x="2767" y="2513"/>
                    <a:pt x="2764" y="2518"/>
                  </a:cubicBezTo>
                  <a:cubicBezTo>
                    <a:pt x="2761" y="2523"/>
                    <a:pt x="2759" y="2529"/>
                    <a:pt x="2757" y="2535"/>
                  </a:cubicBezTo>
                  <a:cubicBezTo>
                    <a:pt x="2756" y="2538"/>
                    <a:pt x="2754" y="2542"/>
                    <a:pt x="2754" y="2546"/>
                  </a:cubicBezTo>
                  <a:cubicBezTo>
                    <a:pt x="2753" y="2549"/>
                    <a:pt x="2753" y="2552"/>
                    <a:pt x="2753" y="2555"/>
                  </a:cubicBezTo>
                  <a:cubicBezTo>
                    <a:pt x="2754" y="2558"/>
                    <a:pt x="2755" y="2560"/>
                    <a:pt x="2756" y="2563"/>
                  </a:cubicBezTo>
                  <a:cubicBezTo>
                    <a:pt x="2759" y="2573"/>
                    <a:pt x="2756" y="2580"/>
                    <a:pt x="2745" y="2584"/>
                  </a:cubicBezTo>
                  <a:cubicBezTo>
                    <a:pt x="2743" y="2585"/>
                    <a:pt x="2743" y="2586"/>
                    <a:pt x="2742" y="2589"/>
                  </a:cubicBezTo>
                  <a:cubicBezTo>
                    <a:pt x="2741" y="2595"/>
                    <a:pt x="2739" y="2602"/>
                    <a:pt x="2738" y="2608"/>
                  </a:cubicBezTo>
                  <a:cubicBezTo>
                    <a:pt x="2737" y="2612"/>
                    <a:pt x="2737" y="2616"/>
                    <a:pt x="2737" y="2620"/>
                  </a:cubicBezTo>
                  <a:cubicBezTo>
                    <a:pt x="2737" y="2625"/>
                    <a:pt x="2742" y="2624"/>
                    <a:pt x="2745" y="2626"/>
                  </a:cubicBezTo>
                  <a:cubicBezTo>
                    <a:pt x="2747" y="2629"/>
                    <a:pt x="2751" y="2631"/>
                    <a:pt x="2752" y="2635"/>
                  </a:cubicBezTo>
                  <a:cubicBezTo>
                    <a:pt x="2754" y="2639"/>
                    <a:pt x="2756" y="2641"/>
                    <a:pt x="2761" y="2642"/>
                  </a:cubicBezTo>
                  <a:cubicBezTo>
                    <a:pt x="2774" y="2644"/>
                    <a:pt x="2781" y="2653"/>
                    <a:pt x="2786" y="2665"/>
                  </a:cubicBezTo>
                  <a:cubicBezTo>
                    <a:pt x="2787" y="2669"/>
                    <a:pt x="2787" y="2673"/>
                    <a:pt x="2785" y="2677"/>
                  </a:cubicBezTo>
                  <a:cubicBezTo>
                    <a:pt x="2784" y="2680"/>
                    <a:pt x="2783" y="2684"/>
                    <a:pt x="2783" y="2688"/>
                  </a:cubicBezTo>
                  <a:cubicBezTo>
                    <a:pt x="2782" y="2698"/>
                    <a:pt x="2782" y="2708"/>
                    <a:pt x="2780" y="2718"/>
                  </a:cubicBezTo>
                  <a:cubicBezTo>
                    <a:pt x="2779" y="2723"/>
                    <a:pt x="2776" y="2728"/>
                    <a:pt x="2774" y="2733"/>
                  </a:cubicBezTo>
                  <a:cubicBezTo>
                    <a:pt x="2773" y="2735"/>
                    <a:pt x="2771" y="2738"/>
                    <a:pt x="2772" y="2740"/>
                  </a:cubicBezTo>
                  <a:cubicBezTo>
                    <a:pt x="2775" y="2748"/>
                    <a:pt x="2774" y="2757"/>
                    <a:pt x="2780" y="2764"/>
                  </a:cubicBezTo>
                  <a:cubicBezTo>
                    <a:pt x="2781" y="2766"/>
                    <a:pt x="2780" y="2770"/>
                    <a:pt x="2781" y="2772"/>
                  </a:cubicBezTo>
                  <a:cubicBezTo>
                    <a:pt x="2781" y="2776"/>
                    <a:pt x="2781" y="2780"/>
                    <a:pt x="2783" y="2782"/>
                  </a:cubicBezTo>
                  <a:cubicBezTo>
                    <a:pt x="2787" y="2787"/>
                    <a:pt x="2788" y="2793"/>
                    <a:pt x="2787" y="2798"/>
                  </a:cubicBezTo>
                  <a:cubicBezTo>
                    <a:pt x="2785" y="2803"/>
                    <a:pt x="2787" y="2803"/>
                    <a:pt x="2790" y="2804"/>
                  </a:cubicBezTo>
                  <a:cubicBezTo>
                    <a:pt x="2793" y="2805"/>
                    <a:pt x="2795" y="2807"/>
                    <a:pt x="2797" y="2808"/>
                  </a:cubicBezTo>
                  <a:cubicBezTo>
                    <a:pt x="2801" y="2812"/>
                    <a:pt x="2804" y="2813"/>
                    <a:pt x="2810" y="2811"/>
                  </a:cubicBezTo>
                  <a:cubicBezTo>
                    <a:pt x="2817" y="2809"/>
                    <a:pt x="2820" y="2811"/>
                    <a:pt x="2819" y="2819"/>
                  </a:cubicBezTo>
                  <a:cubicBezTo>
                    <a:pt x="2819" y="2827"/>
                    <a:pt x="2818" y="2835"/>
                    <a:pt x="2817" y="2843"/>
                  </a:cubicBezTo>
                  <a:cubicBezTo>
                    <a:pt x="2816" y="2851"/>
                    <a:pt x="2814" y="2859"/>
                    <a:pt x="2812" y="2868"/>
                  </a:cubicBezTo>
                  <a:cubicBezTo>
                    <a:pt x="2812" y="2869"/>
                    <a:pt x="2813" y="2870"/>
                    <a:pt x="2814" y="2871"/>
                  </a:cubicBezTo>
                  <a:cubicBezTo>
                    <a:pt x="2820" y="2880"/>
                    <a:pt x="2819" y="2892"/>
                    <a:pt x="2812" y="2900"/>
                  </a:cubicBezTo>
                  <a:cubicBezTo>
                    <a:pt x="2810" y="2902"/>
                    <a:pt x="2809" y="2904"/>
                    <a:pt x="2809" y="2906"/>
                  </a:cubicBezTo>
                  <a:cubicBezTo>
                    <a:pt x="2807" y="2911"/>
                    <a:pt x="2805" y="2915"/>
                    <a:pt x="2800" y="2917"/>
                  </a:cubicBezTo>
                  <a:cubicBezTo>
                    <a:pt x="2795" y="2919"/>
                    <a:pt x="2793" y="2922"/>
                    <a:pt x="2795" y="2928"/>
                  </a:cubicBezTo>
                  <a:cubicBezTo>
                    <a:pt x="2797" y="2936"/>
                    <a:pt x="2794" y="2944"/>
                    <a:pt x="2788" y="2950"/>
                  </a:cubicBezTo>
                  <a:cubicBezTo>
                    <a:pt x="2786" y="2953"/>
                    <a:pt x="2785" y="2956"/>
                    <a:pt x="2785" y="2959"/>
                  </a:cubicBezTo>
                  <a:cubicBezTo>
                    <a:pt x="2783" y="2967"/>
                    <a:pt x="2782" y="2975"/>
                    <a:pt x="2776" y="2982"/>
                  </a:cubicBezTo>
                  <a:cubicBezTo>
                    <a:pt x="2773" y="2986"/>
                    <a:pt x="2773" y="2999"/>
                    <a:pt x="2776" y="3003"/>
                  </a:cubicBezTo>
                  <a:cubicBezTo>
                    <a:pt x="2780" y="3007"/>
                    <a:pt x="2781" y="3011"/>
                    <a:pt x="2781" y="3016"/>
                  </a:cubicBezTo>
                  <a:cubicBezTo>
                    <a:pt x="2780" y="3021"/>
                    <a:pt x="2780" y="3026"/>
                    <a:pt x="2781" y="3031"/>
                  </a:cubicBezTo>
                  <a:cubicBezTo>
                    <a:pt x="2781" y="3035"/>
                    <a:pt x="2781" y="3039"/>
                    <a:pt x="2783" y="3042"/>
                  </a:cubicBezTo>
                  <a:cubicBezTo>
                    <a:pt x="2787" y="3049"/>
                    <a:pt x="2788" y="3056"/>
                    <a:pt x="2790" y="3064"/>
                  </a:cubicBezTo>
                  <a:cubicBezTo>
                    <a:pt x="2792" y="3070"/>
                    <a:pt x="2790" y="3074"/>
                    <a:pt x="2786" y="3078"/>
                  </a:cubicBezTo>
                  <a:cubicBezTo>
                    <a:pt x="2783" y="3081"/>
                    <a:pt x="2781" y="3084"/>
                    <a:pt x="2778" y="3087"/>
                  </a:cubicBezTo>
                  <a:cubicBezTo>
                    <a:pt x="2777" y="3088"/>
                    <a:pt x="2774" y="3089"/>
                    <a:pt x="2775" y="3091"/>
                  </a:cubicBezTo>
                  <a:cubicBezTo>
                    <a:pt x="2776" y="3100"/>
                    <a:pt x="2769" y="3104"/>
                    <a:pt x="2764" y="3110"/>
                  </a:cubicBezTo>
                  <a:cubicBezTo>
                    <a:pt x="2755" y="3119"/>
                    <a:pt x="2758" y="3132"/>
                    <a:pt x="2767" y="3140"/>
                  </a:cubicBezTo>
                  <a:cubicBezTo>
                    <a:pt x="2769" y="3142"/>
                    <a:pt x="2772" y="3143"/>
                    <a:pt x="2773" y="3145"/>
                  </a:cubicBezTo>
                  <a:cubicBezTo>
                    <a:pt x="2777" y="3148"/>
                    <a:pt x="2778" y="3152"/>
                    <a:pt x="2776" y="3156"/>
                  </a:cubicBezTo>
                  <a:cubicBezTo>
                    <a:pt x="2774" y="3161"/>
                    <a:pt x="2771" y="3166"/>
                    <a:pt x="2769" y="3171"/>
                  </a:cubicBezTo>
                  <a:cubicBezTo>
                    <a:pt x="2768" y="3175"/>
                    <a:pt x="2766" y="3180"/>
                    <a:pt x="2766" y="3185"/>
                  </a:cubicBezTo>
                  <a:cubicBezTo>
                    <a:pt x="2765" y="3189"/>
                    <a:pt x="2764" y="3193"/>
                    <a:pt x="2760" y="3195"/>
                  </a:cubicBezTo>
                  <a:cubicBezTo>
                    <a:pt x="2753" y="3197"/>
                    <a:pt x="2749" y="3202"/>
                    <a:pt x="2744" y="3207"/>
                  </a:cubicBezTo>
                  <a:cubicBezTo>
                    <a:pt x="2741" y="3210"/>
                    <a:pt x="2738" y="3211"/>
                    <a:pt x="2733" y="3211"/>
                  </a:cubicBezTo>
                  <a:cubicBezTo>
                    <a:pt x="2722" y="3210"/>
                    <a:pt x="2723" y="3210"/>
                    <a:pt x="2718" y="3220"/>
                  </a:cubicBezTo>
                  <a:cubicBezTo>
                    <a:pt x="2713" y="3229"/>
                    <a:pt x="2708" y="3238"/>
                    <a:pt x="2701" y="3244"/>
                  </a:cubicBezTo>
                  <a:cubicBezTo>
                    <a:pt x="2695" y="3249"/>
                    <a:pt x="2687" y="3256"/>
                    <a:pt x="2676" y="3252"/>
                  </a:cubicBezTo>
                  <a:cubicBezTo>
                    <a:pt x="2671" y="3250"/>
                    <a:pt x="2667" y="3252"/>
                    <a:pt x="2664" y="3258"/>
                  </a:cubicBezTo>
                  <a:cubicBezTo>
                    <a:pt x="2663" y="3263"/>
                    <a:pt x="2660" y="3265"/>
                    <a:pt x="2655" y="3264"/>
                  </a:cubicBezTo>
                  <a:cubicBezTo>
                    <a:pt x="2646" y="3264"/>
                    <a:pt x="2637" y="3264"/>
                    <a:pt x="2629" y="3264"/>
                  </a:cubicBezTo>
                  <a:cubicBezTo>
                    <a:pt x="2623" y="3264"/>
                    <a:pt x="2617" y="3264"/>
                    <a:pt x="2612" y="3264"/>
                  </a:cubicBezTo>
                  <a:cubicBezTo>
                    <a:pt x="2559" y="3264"/>
                    <a:pt x="2506" y="3264"/>
                    <a:pt x="2454" y="3264"/>
                  </a:cubicBezTo>
                  <a:cubicBezTo>
                    <a:pt x="2423" y="3264"/>
                    <a:pt x="2392" y="3263"/>
                    <a:pt x="2362" y="3262"/>
                  </a:cubicBezTo>
                  <a:cubicBezTo>
                    <a:pt x="2355" y="3262"/>
                    <a:pt x="2349" y="3262"/>
                    <a:pt x="2343" y="3262"/>
                  </a:cubicBezTo>
                  <a:cubicBezTo>
                    <a:pt x="2337" y="3262"/>
                    <a:pt x="2330" y="3262"/>
                    <a:pt x="2324" y="3262"/>
                  </a:cubicBezTo>
                  <a:cubicBezTo>
                    <a:pt x="2320" y="3262"/>
                    <a:pt x="2318" y="3263"/>
                    <a:pt x="2317" y="3268"/>
                  </a:cubicBezTo>
                  <a:cubicBezTo>
                    <a:pt x="2314" y="3276"/>
                    <a:pt x="2312" y="3276"/>
                    <a:pt x="2304" y="3273"/>
                  </a:cubicBezTo>
                  <a:cubicBezTo>
                    <a:pt x="2294" y="3270"/>
                    <a:pt x="2283" y="3267"/>
                    <a:pt x="2273" y="3265"/>
                  </a:cubicBezTo>
                  <a:cubicBezTo>
                    <a:pt x="2261" y="3262"/>
                    <a:pt x="2250" y="3260"/>
                    <a:pt x="2239" y="3257"/>
                  </a:cubicBezTo>
                  <a:cubicBezTo>
                    <a:pt x="2233" y="3255"/>
                    <a:pt x="2230" y="3255"/>
                    <a:pt x="2229" y="3261"/>
                  </a:cubicBezTo>
                  <a:cubicBezTo>
                    <a:pt x="2228" y="3263"/>
                    <a:pt x="2227" y="3266"/>
                    <a:pt x="2226" y="3266"/>
                  </a:cubicBezTo>
                  <a:cubicBezTo>
                    <a:pt x="2219" y="3269"/>
                    <a:pt x="2218" y="3273"/>
                    <a:pt x="2217" y="3279"/>
                  </a:cubicBezTo>
                  <a:cubicBezTo>
                    <a:pt x="2217" y="3280"/>
                    <a:pt x="2217" y="3280"/>
                    <a:pt x="2217" y="3281"/>
                  </a:cubicBezTo>
                  <a:cubicBezTo>
                    <a:pt x="2214" y="3297"/>
                    <a:pt x="2213" y="3298"/>
                    <a:pt x="2197" y="3293"/>
                  </a:cubicBezTo>
                  <a:cubicBezTo>
                    <a:pt x="2190" y="3292"/>
                    <a:pt x="2184" y="3291"/>
                    <a:pt x="2177" y="3290"/>
                  </a:cubicBezTo>
                  <a:cubicBezTo>
                    <a:pt x="2175" y="3296"/>
                    <a:pt x="2174" y="3302"/>
                    <a:pt x="2172" y="3308"/>
                  </a:cubicBezTo>
                  <a:cubicBezTo>
                    <a:pt x="2171" y="3312"/>
                    <a:pt x="2170" y="3317"/>
                    <a:pt x="2169" y="3321"/>
                  </a:cubicBezTo>
                  <a:cubicBezTo>
                    <a:pt x="2167" y="3328"/>
                    <a:pt x="2166" y="3334"/>
                    <a:pt x="2167" y="3342"/>
                  </a:cubicBezTo>
                  <a:cubicBezTo>
                    <a:pt x="2168" y="3345"/>
                    <a:pt x="2168" y="3348"/>
                    <a:pt x="2167" y="3351"/>
                  </a:cubicBezTo>
                  <a:cubicBezTo>
                    <a:pt x="2165" y="3361"/>
                    <a:pt x="2162" y="3371"/>
                    <a:pt x="2159" y="3380"/>
                  </a:cubicBezTo>
                  <a:cubicBezTo>
                    <a:pt x="2157" y="3390"/>
                    <a:pt x="2155" y="3390"/>
                    <a:pt x="2146" y="3388"/>
                  </a:cubicBezTo>
                  <a:cubicBezTo>
                    <a:pt x="2122" y="3382"/>
                    <a:pt x="2097" y="3377"/>
                    <a:pt x="2073" y="3370"/>
                  </a:cubicBezTo>
                  <a:cubicBezTo>
                    <a:pt x="2067" y="3369"/>
                    <a:pt x="2065" y="3370"/>
                    <a:pt x="2064" y="3375"/>
                  </a:cubicBezTo>
                  <a:cubicBezTo>
                    <a:pt x="2060" y="3389"/>
                    <a:pt x="2057" y="3403"/>
                    <a:pt x="2053" y="3418"/>
                  </a:cubicBezTo>
                  <a:cubicBezTo>
                    <a:pt x="2050" y="3429"/>
                    <a:pt x="2048" y="3430"/>
                    <a:pt x="2036" y="3428"/>
                  </a:cubicBezTo>
                  <a:cubicBezTo>
                    <a:pt x="2012" y="3422"/>
                    <a:pt x="1988" y="3417"/>
                    <a:pt x="1964" y="3411"/>
                  </a:cubicBezTo>
                  <a:cubicBezTo>
                    <a:pt x="1959" y="3410"/>
                    <a:pt x="1958" y="3411"/>
                    <a:pt x="1957" y="3416"/>
                  </a:cubicBezTo>
                  <a:cubicBezTo>
                    <a:pt x="1954" y="3431"/>
                    <a:pt x="1951" y="3445"/>
                    <a:pt x="1947" y="3460"/>
                  </a:cubicBezTo>
                  <a:cubicBezTo>
                    <a:pt x="1945" y="3469"/>
                    <a:pt x="1941" y="3472"/>
                    <a:pt x="1932" y="3470"/>
                  </a:cubicBezTo>
                  <a:cubicBezTo>
                    <a:pt x="1929" y="3469"/>
                    <a:pt x="1925" y="3468"/>
                    <a:pt x="1921" y="3467"/>
                  </a:cubicBezTo>
                  <a:cubicBezTo>
                    <a:pt x="1916" y="3465"/>
                    <a:pt x="1914" y="3467"/>
                    <a:pt x="1914" y="3471"/>
                  </a:cubicBezTo>
                  <a:cubicBezTo>
                    <a:pt x="1911" y="3482"/>
                    <a:pt x="1908" y="3493"/>
                    <a:pt x="1906" y="3504"/>
                  </a:cubicBezTo>
                  <a:cubicBezTo>
                    <a:pt x="1901" y="3527"/>
                    <a:pt x="1901" y="3527"/>
                    <a:pt x="1880" y="3522"/>
                  </a:cubicBezTo>
                  <a:cubicBezTo>
                    <a:pt x="1838" y="3512"/>
                    <a:pt x="1796" y="3502"/>
                    <a:pt x="1754" y="3492"/>
                  </a:cubicBezTo>
                  <a:cubicBezTo>
                    <a:pt x="1734" y="3488"/>
                    <a:pt x="1714" y="3483"/>
                    <a:pt x="1694" y="3479"/>
                  </a:cubicBezTo>
                  <a:cubicBezTo>
                    <a:pt x="1692" y="3479"/>
                    <a:pt x="1690" y="3479"/>
                    <a:pt x="1689" y="3479"/>
                  </a:cubicBezTo>
                  <a:cubicBezTo>
                    <a:pt x="1685" y="3478"/>
                    <a:pt x="1683" y="3479"/>
                    <a:pt x="1682" y="3483"/>
                  </a:cubicBezTo>
                  <a:cubicBezTo>
                    <a:pt x="1680" y="3498"/>
                    <a:pt x="1677" y="3512"/>
                    <a:pt x="1674" y="3526"/>
                  </a:cubicBezTo>
                  <a:cubicBezTo>
                    <a:pt x="1672" y="3536"/>
                    <a:pt x="1670" y="3538"/>
                    <a:pt x="1660" y="3535"/>
                  </a:cubicBezTo>
                  <a:cubicBezTo>
                    <a:pt x="1633" y="3529"/>
                    <a:pt x="1606" y="3524"/>
                    <a:pt x="1580" y="3517"/>
                  </a:cubicBezTo>
                  <a:cubicBezTo>
                    <a:pt x="1571" y="3515"/>
                    <a:pt x="1569" y="3513"/>
                    <a:pt x="1570" y="3503"/>
                  </a:cubicBezTo>
                  <a:cubicBezTo>
                    <a:pt x="1573" y="3488"/>
                    <a:pt x="1575" y="3474"/>
                    <a:pt x="1578" y="3459"/>
                  </a:cubicBezTo>
                  <a:cubicBezTo>
                    <a:pt x="1579" y="3455"/>
                    <a:pt x="1578" y="3453"/>
                    <a:pt x="1574" y="3452"/>
                  </a:cubicBezTo>
                  <a:cubicBezTo>
                    <a:pt x="1563" y="3450"/>
                    <a:pt x="1552" y="3447"/>
                    <a:pt x="1541" y="3444"/>
                  </a:cubicBezTo>
                  <a:cubicBezTo>
                    <a:pt x="1525" y="3441"/>
                    <a:pt x="1508" y="3438"/>
                    <a:pt x="1492" y="3434"/>
                  </a:cubicBezTo>
                  <a:cubicBezTo>
                    <a:pt x="1486" y="3433"/>
                    <a:pt x="1485" y="3436"/>
                    <a:pt x="1484" y="3439"/>
                  </a:cubicBezTo>
                  <a:cubicBezTo>
                    <a:pt x="1482" y="3448"/>
                    <a:pt x="1481" y="3457"/>
                    <a:pt x="1479" y="3466"/>
                  </a:cubicBezTo>
                  <a:cubicBezTo>
                    <a:pt x="1478" y="3473"/>
                    <a:pt x="1476" y="3480"/>
                    <a:pt x="1475" y="3486"/>
                  </a:cubicBezTo>
                  <a:cubicBezTo>
                    <a:pt x="1473" y="3492"/>
                    <a:pt x="1470" y="3494"/>
                    <a:pt x="1464" y="3492"/>
                  </a:cubicBezTo>
                  <a:cubicBezTo>
                    <a:pt x="1444" y="3488"/>
                    <a:pt x="1424" y="3485"/>
                    <a:pt x="1405" y="3480"/>
                  </a:cubicBezTo>
                  <a:cubicBezTo>
                    <a:pt x="1400" y="3479"/>
                    <a:pt x="1398" y="3481"/>
                    <a:pt x="1397" y="3484"/>
                  </a:cubicBezTo>
                  <a:cubicBezTo>
                    <a:pt x="1394" y="3498"/>
                    <a:pt x="1391" y="3511"/>
                    <a:pt x="1388" y="3524"/>
                  </a:cubicBezTo>
                  <a:cubicBezTo>
                    <a:pt x="1388" y="3526"/>
                    <a:pt x="1387" y="3528"/>
                    <a:pt x="1387" y="3530"/>
                  </a:cubicBezTo>
                  <a:cubicBezTo>
                    <a:pt x="1384" y="3537"/>
                    <a:pt x="1382" y="3538"/>
                    <a:pt x="1375" y="3537"/>
                  </a:cubicBezTo>
                  <a:cubicBezTo>
                    <a:pt x="1353" y="3532"/>
                    <a:pt x="1330" y="3527"/>
                    <a:pt x="1307" y="3521"/>
                  </a:cubicBezTo>
                  <a:cubicBezTo>
                    <a:pt x="1293" y="3518"/>
                    <a:pt x="1293" y="3518"/>
                    <a:pt x="1290" y="3532"/>
                  </a:cubicBezTo>
                  <a:cubicBezTo>
                    <a:pt x="1284" y="3561"/>
                    <a:pt x="1279" y="3590"/>
                    <a:pt x="1273" y="3619"/>
                  </a:cubicBezTo>
                  <a:cubicBezTo>
                    <a:pt x="1272" y="3626"/>
                    <a:pt x="1273" y="3627"/>
                    <a:pt x="1279" y="3628"/>
                  </a:cubicBezTo>
                  <a:cubicBezTo>
                    <a:pt x="1291" y="3631"/>
                    <a:pt x="1303" y="3633"/>
                    <a:pt x="1315" y="3635"/>
                  </a:cubicBezTo>
                  <a:cubicBezTo>
                    <a:pt x="1323" y="3637"/>
                    <a:pt x="1330" y="3638"/>
                    <a:pt x="1338" y="3640"/>
                  </a:cubicBezTo>
                  <a:cubicBezTo>
                    <a:pt x="1343" y="3641"/>
                    <a:pt x="1345" y="3644"/>
                    <a:pt x="1345" y="3649"/>
                  </a:cubicBezTo>
                  <a:cubicBezTo>
                    <a:pt x="1344" y="3655"/>
                    <a:pt x="1343" y="3662"/>
                    <a:pt x="1342" y="3667"/>
                  </a:cubicBezTo>
                  <a:cubicBezTo>
                    <a:pt x="1341" y="3672"/>
                    <a:pt x="1343" y="3674"/>
                    <a:pt x="1347" y="3674"/>
                  </a:cubicBezTo>
                  <a:cubicBezTo>
                    <a:pt x="1356" y="3676"/>
                    <a:pt x="1365" y="3679"/>
                    <a:pt x="1374" y="3681"/>
                  </a:cubicBezTo>
                  <a:cubicBezTo>
                    <a:pt x="1383" y="3683"/>
                    <a:pt x="1384" y="3685"/>
                    <a:pt x="1384" y="3694"/>
                  </a:cubicBezTo>
                  <a:cubicBezTo>
                    <a:pt x="1384" y="3696"/>
                    <a:pt x="1383" y="3699"/>
                    <a:pt x="1382" y="3702"/>
                  </a:cubicBezTo>
                  <a:cubicBezTo>
                    <a:pt x="1381" y="3707"/>
                    <a:pt x="1380" y="3712"/>
                    <a:pt x="1385" y="3716"/>
                  </a:cubicBezTo>
                  <a:cubicBezTo>
                    <a:pt x="1388" y="3718"/>
                    <a:pt x="1388" y="3721"/>
                    <a:pt x="1388" y="3725"/>
                  </a:cubicBezTo>
                  <a:cubicBezTo>
                    <a:pt x="1385" y="3738"/>
                    <a:pt x="1382" y="3752"/>
                    <a:pt x="1379" y="3766"/>
                  </a:cubicBezTo>
                  <a:cubicBezTo>
                    <a:pt x="1379" y="3768"/>
                    <a:pt x="1378" y="3770"/>
                    <a:pt x="1377" y="3772"/>
                  </a:cubicBezTo>
                  <a:cubicBezTo>
                    <a:pt x="1374" y="3778"/>
                    <a:pt x="1372" y="3779"/>
                    <a:pt x="1366" y="3776"/>
                  </a:cubicBezTo>
                  <a:cubicBezTo>
                    <a:pt x="1358" y="3772"/>
                    <a:pt x="1352" y="3767"/>
                    <a:pt x="1345" y="3763"/>
                  </a:cubicBezTo>
                  <a:cubicBezTo>
                    <a:pt x="1339" y="3759"/>
                    <a:pt x="1332" y="3755"/>
                    <a:pt x="1327" y="3751"/>
                  </a:cubicBezTo>
                  <a:cubicBezTo>
                    <a:pt x="1323" y="3749"/>
                    <a:pt x="1320" y="3749"/>
                    <a:pt x="1316" y="3751"/>
                  </a:cubicBezTo>
                  <a:cubicBezTo>
                    <a:pt x="1307" y="3756"/>
                    <a:pt x="1304" y="3765"/>
                    <a:pt x="1299" y="3772"/>
                  </a:cubicBezTo>
                  <a:cubicBezTo>
                    <a:pt x="1289" y="3785"/>
                    <a:pt x="1282" y="3800"/>
                    <a:pt x="1276" y="3815"/>
                  </a:cubicBezTo>
                  <a:cubicBezTo>
                    <a:pt x="1271" y="3828"/>
                    <a:pt x="1262" y="3838"/>
                    <a:pt x="1253" y="3849"/>
                  </a:cubicBezTo>
                  <a:cubicBezTo>
                    <a:pt x="1246" y="3858"/>
                    <a:pt x="1239" y="3866"/>
                    <a:pt x="1234" y="3876"/>
                  </a:cubicBezTo>
                  <a:cubicBezTo>
                    <a:pt x="1228" y="3888"/>
                    <a:pt x="1218" y="3894"/>
                    <a:pt x="1208" y="3900"/>
                  </a:cubicBezTo>
                  <a:cubicBezTo>
                    <a:pt x="1205" y="3901"/>
                    <a:pt x="1201" y="3901"/>
                    <a:pt x="1199" y="3899"/>
                  </a:cubicBezTo>
                  <a:cubicBezTo>
                    <a:pt x="1191" y="3895"/>
                    <a:pt x="1186" y="3888"/>
                    <a:pt x="1185" y="3879"/>
                  </a:cubicBezTo>
                  <a:cubicBezTo>
                    <a:pt x="1184" y="3872"/>
                    <a:pt x="1181" y="3868"/>
                    <a:pt x="1175" y="3865"/>
                  </a:cubicBezTo>
                  <a:cubicBezTo>
                    <a:pt x="1168" y="3862"/>
                    <a:pt x="1161" y="3858"/>
                    <a:pt x="1154" y="3854"/>
                  </a:cubicBezTo>
                  <a:cubicBezTo>
                    <a:pt x="1150" y="3852"/>
                    <a:pt x="1146" y="3850"/>
                    <a:pt x="1142" y="3853"/>
                  </a:cubicBezTo>
                  <a:cubicBezTo>
                    <a:pt x="1140" y="3854"/>
                    <a:pt x="1138" y="3854"/>
                    <a:pt x="1136" y="3854"/>
                  </a:cubicBezTo>
                  <a:cubicBezTo>
                    <a:pt x="1129" y="3855"/>
                    <a:pt x="1124" y="3858"/>
                    <a:pt x="1121" y="3863"/>
                  </a:cubicBezTo>
                  <a:cubicBezTo>
                    <a:pt x="1115" y="3873"/>
                    <a:pt x="1108" y="3882"/>
                    <a:pt x="1102" y="3892"/>
                  </a:cubicBezTo>
                  <a:cubicBezTo>
                    <a:pt x="1101" y="3894"/>
                    <a:pt x="1098" y="3896"/>
                    <a:pt x="1097" y="3899"/>
                  </a:cubicBezTo>
                  <a:cubicBezTo>
                    <a:pt x="1095" y="3900"/>
                    <a:pt x="1094" y="3902"/>
                    <a:pt x="1093" y="3904"/>
                  </a:cubicBezTo>
                  <a:cubicBezTo>
                    <a:pt x="1090" y="3918"/>
                    <a:pt x="1082" y="3926"/>
                    <a:pt x="1068" y="3922"/>
                  </a:cubicBezTo>
                  <a:cubicBezTo>
                    <a:pt x="1057" y="3920"/>
                    <a:pt x="1047" y="3923"/>
                    <a:pt x="1037" y="3926"/>
                  </a:cubicBezTo>
                  <a:cubicBezTo>
                    <a:pt x="1024" y="3929"/>
                    <a:pt x="1011" y="3934"/>
                    <a:pt x="997" y="3934"/>
                  </a:cubicBezTo>
                  <a:cubicBezTo>
                    <a:pt x="992" y="3933"/>
                    <a:pt x="988" y="3938"/>
                    <a:pt x="983" y="3940"/>
                  </a:cubicBezTo>
                  <a:cubicBezTo>
                    <a:pt x="978" y="3942"/>
                    <a:pt x="977" y="3947"/>
                    <a:pt x="976" y="3952"/>
                  </a:cubicBezTo>
                  <a:cubicBezTo>
                    <a:pt x="973" y="3968"/>
                    <a:pt x="973" y="3968"/>
                    <a:pt x="955" y="3965"/>
                  </a:cubicBezTo>
                  <a:cubicBezTo>
                    <a:pt x="945" y="3963"/>
                    <a:pt x="936" y="3961"/>
                    <a:pt x="926" y="3959"/>
                  </a:cubicBezTo>
                  <a:cubicBezTo>
                    <a:pt x="923" y="3958"/>
                    <a:pt x="920" y="3956"/>
                    <a:pt x="918" y="3960"/>
                  </a:cubicBezTo>
                  <a:cubicBezTo>
                    <a:pt x="917" y="3963"/>
                    <a:pt x="917" y="3968"/>
                    <a:pt x="921" y="3970"/>
                  </a:cubicBezTo>
                  <a:cubicBezTo>
                    <a:pt x="922" y="3971"/>
                    <a:pt x="923" y="3971"/>
                    <a:pt x="924" y="3972"/>
                  </a:cubicBezTo>
                  <a:cubicBezTo>
                    <a:pt x="927" y="3975"/>
                    <a:pt x="931" y="3978"/>
                    <a:pt x="934" y="3981"/>
                  </a:cubicBezTo>
                  <a:cubicBezTo>
                    <a:pt x="937" y="3984"/>
                    <a:pt x="939" y="3988"/>
                    <a:pt x="937" y="3991"/>
                  </a:cubicBezTo>
                  <a:cubicBezTo>
                    <a:pt x="934" y="3994"/>
                    <a:pt x="930" y="3998"/>
                    <a:pt x="927" y="3998"/>
                  </a:cubicBezTo>
                  <a:cubicBezTo>
                    <a:pt x="921" y="3997"/>
                    <a:pt x="917" y="3999"/>
                    <a:pt x="912" y="4002"/>
                  </a:cubicBezTo>
                  <a:cubicBezTo>
                    <a:pt x="909" y="4004"/>
                    <a:pt x="903" y="4003"/>
                    <a:pt x="899" y="4003"/>
                  </a:cubicBezTo>
                  <a:cubicBezTo>
                    <a:pt x="894" y="4003"/>
                    <a:pt x="893" y="4004"/>
                    <a:pt x="892" y="4009"/>
                  </a:cubicBezTo>
                  <a:cubicBezTo>
                    <a:pt x="890" y="4023"/>
                    <a:pt x="886" y="4036"/>
                    <a:pt x="884" y="4050"/>
                  </a:cubicBezTo>
                  <a:cubicBezTo>
                    <a:pt x="883" y="4055"/>
                    <a:pt x="882" y="4060"/>
                    <a:pt x="890" y="4060"/>
                  </a:cubicBezTo>
                  <a:cubicBezTo>
                    <a:pt x="894" y="4061"/>
                    <a:pt x="897" y="4064"/>
                    <a:pt x="895" y="4069"/>
                  </a:cubicBezTo>
                  <a:cubicBezTo>
                    <a:pt x="894" y="4076"/>
                    <a:pt x="893" y="4084"/>
                    <a:pt x="892" y="4091"/>
                  </a:cubicBezTo>
                  <a:cubicBezTo>
                    <a:pt x="890" y="4097"/>
                    <a:pt x="888" y="4103"/>
                    <a:pt x="893" y="4109"/>
                  </a:cubicBezTo>
                  <a:cubicBezTo>
                    <a:pt x="895" y="4111"/>
                    <a:pt x="895" y="4116"/>
                    <a:pt x="894" y="4119"/>
                  </a:cubicBezTo>
                  <a:cubicBezTo>
                    <a:pt x="891" y="4136"/>
                    <a:pt x="889" y="4152"/>
                    <a:pt x="886" y="4169"/>
                  </a:cubicBezTo>
                  <a:cubicBezTo>
                    <a:pt x="885" y="4174"/>
                    <a:pt x="881" y="4177"/>
                    <a:pt x="875" y="4176"/>
                  </a:cubicBezTo>
                  <a:cubicBezTo>
                    <a:pt x="872" y="4175"/>
                    <a:pt x="870" y="4176"/>
                    <a:pt x="868" y="4177"/>
                  </a:cubicBezTo>
                  <a:cubicBezTo>
                    <a:pt x="865" y="4179"/>
                    <a:pt x="861" y="4181"/>
                    <a:pt x="858" y="4180"/>
                  </a:cubicBezTo>
                  <a:cubicBezTo>
                    <a:pt x="846" y="4179"/>
                    <a:pt x="833" y="4176"/>
                    <a:pt x="821" y="4174"/>
                  </a:cubicBezTo>
                  <a:cubicBezTo>
                    <a:pt x="817" y="4173"/>
                    <a:pt x="815" y="4171"/>
                    <a:pt x="814" y="4167"/>
                  </a:cubicBezTo>
                  <a:cubicBezTo>
                    <a:pt x="814" y="4166"/>
                    <a:pt x="814" y="4166"/>
                    <a:pt x="814" y="4166"/>
                  </a:cubicBezTo>
                  <a:cubicBezTo>
                    <a:pt x="812" y="4153"/>
                    <a:pt x="812" y="4153"/>
                    <a:pt x="814" y="4149"/>
                  </a:cubicBezTo>
                  <a:cubicBezTo>
                    <a:pt x="815" y="4144"/>
                    <a:pt x="817" y="4138"/>
                    <a:pt x="818" y="4133"/>
                  </a:cubicBezTo>
                  <a:cubicBezTo>
                    <a:pt x="819" y="4126"/>
                    <a:pt x="820" y="4119"/>
                    <a:pt x="821" y="4112"/>
                  </a:cubicBezTo>
                  <a:cubicBezTo>
                    <a:pt x="822" y="4108"/>
                    <a:pt x="821" y="4105"/>
                    <a:pt x="815" y="4105"/>
                  </a:cubicBezTo>
                  <a:cubicBezTo>
                    <a:pt x="807" y="4104"/>
                    <a:pt x="798" y="4102"/>
                    <a:pt x="790" y="4100"/>
                  </a:cubicBezTo>
                  <a:cubicBezTo>
                    <a:pt x="781" y="4099"/>
                    <a:pt x="780" y="4097"/>
                    <a:pt x="780" y="4088"/>
                  </a:cubicBezTo>
                  <a:cubicBezTo>
                    <a:pt x="780" y="4084"/>
                    <a:pt x="782" y="4080"/>
                    <a:pt x="781" y="4078"/>
                  </a:cubicBezTo>
                  <a:cubicBezTo>
                    <a:pt x="779" y="4076"/>
                    <a:pt x="774" y="4077"/>
                    <a:pt x="770" y="4076"/>
                  </a:cubicBezTo>
                  <a:cubicBezTo>
                    <a:pt x="763" y="4075"/>
                    <a:pt x="756" y="4074"/>
                    <a:pt x="751" y="4066"/>
                  </a:cubicBezTo>
                  <a:cubicBezTo>
                    <a:pt x="749" y="4063"/>
                    <a:pt x="746" y="4063"/>
                    <a:pt x="743" y="4066"/>
                  </a:cubicBezTo>
                  <a:cubicBezTo>
                    <a:pt x="742" y="4068"/>
                    <a:pt x="739" y="4071"/>
                    <a:pt x="737" y="4071"/>
                  </a:cubicBezTo>
                  <a:cubicBezTo>
                    <a:pt x="725" y="4075"/>
                    <a:pt x="718" y="4069"/>
                    <a:pt x="720" y="4057"/>
                  </a:cubicBezTo>
                  <a:cubicBezTo>
                    <a:pt x="722" y="4043"/>
                    <a:pt x="725" y="4028"/>
                    <a:pt x="727" y="4014"/>
                  </a:cubicBezTo>
                  <a:cubicBezTo>
                    <a:pt x="728" y="4011"/>
                    <a:pt x="728" y="4009"/>
                    <a:pt x="728" y="4006"/>
                  </a:cubicBezTo>
                  <a:cubicBezTo>
                    <a:pt x="729" y="4002"/>
                    <a:pt x="727" y="3999"/>
                    <a:pt x="723" y="3999"/>
                  </a:cubicBezTo>
                  <a:cubicBezTo>
                    <a:pt x="713" y="3999"/>
                    <a:pt x="703" y="3994"/>
                    <a:pt x="692" y="3996"/>
                  </a:cubicBezTo>
                  <a:cubicBezTo>
                    <a:pt x="689" y="3997"/>
                    <a:pt x="686" y="3997"/>
                    <a:pt x="683" y="3995"/>
                  </a:cubicBezTo>
                  <a:cubicBezTo>
                    <a:pt x="672" y="3989"/>
                    <a:pt x="659" y="3990"/>
                    <a:pt x="647" y="3988"/>
                  </a:cubicBezTo>
                  <a:cubicBezTo>
                    <a:pt x="639" y="3986"/>
                    <a:pt x="631" y="3985"/>
                    <a:pt x="623" y="3984"/>
                  </a:cubicBezTo>
                  <a:cubicBezTo>
                    <a:pt x="617" y="3983"/>
                    <a:pt x="616" y="3980"/>
                    <a:pt x="615" y="3975"/>
                  </a:cubicBezTo>
                  <a:cubicBezTo>
                    <a:pt x="615" y="3962"/>
                    <a:pt x="614" y="3950"/>
                    <a:pt x="613" y="3937"/>
                  </a:cubicBezTo>
                  <a:cubicBezTo>
                    <a:pt x="613" y="3931"/>
                    <a:pt x="613" y="3925"/>
                    <a:pt x="613" y="3919"/>
                  </a:cubicBezTo>
                  <a:cubicBezTo>
                    <a:pt x="613" y="3919"/>
                    <a:pt x="613" y="3919"/>
                    <a:pt x="613" y="3919"/>
                  </a:cubicBezTo>
                  <a:cubicBezTo>
                    <a:pt x="613" y="3902"/>
                    <a:pt x="613" y="3885"/>
                    <a:pt x="612" y="3869"/>
                  </a:cubicBezTo>
                  <a:cubicBezTo>
                    <a:pt x="611" y="3852"/>
                    <a:pt x="609" y="3836"/>
                    <a:pt x="607" y="3820"/>
                  </a:cubicBezTo>
                  <a:cubicBezTo>
                    <a:pt x="605" y="3806"/>
                    <a:pt x="611" y="3793"/>
                    <a:pt x="614" y="3780"/>
                  </a:cubicBezTo>
                  <a:cubicBezTo>
                    <a:pt x="615" y="3778"/>
                    <a:pt x="617" y="3776"/>
                    <a:pt x="619" y="3774"/>
                  </a:cubicBezTo>
                  <a:cubicBezTo>
                    <a:pt x="633" y="3761"/>
                    <a:pt x="648" y="3748"/>
                    <a:pt x="663" y="3735"/>
                  </a:cubicBezTo>
                  <a:cubicBezTo>
                    <a:pt x="668" y="3730"/>
                    <a:pt x="668" y="3726"/>
                    <a:pt x="663" y="3720"/>
                  </a:cubicBezTo>
                  <a:cubicBezTo>
                    <a:pt x="657" y="3712"/>
                    <a:pt x="649" y="3712"/>
                    <a:pt x="641" y="3711"/>
                  </a:cubicBezTo>
                  <a:cubicBezTo>
                    <a:pt x="636" y="3710"/>
                    <a:pt x="631" y="3709"/>
                    <a:pt x="626" y="3708"/>
                  </a:cubicBezTo>
                  <a:cubicBezTo>
                    <a:pt x="619" y="3707"/>
                    <a:pt x="617" y="3703"/>
                    <a:pt x="621" y="3697"/>
                  </a:cubicBezTo>
                  <a:cubicBezTo>
                    <a:pt x="621" y="3696"/>
                    <a:pt x="622" y="3695"/>
                    <a:pt x="623" y="3694"/>
                  </a:cubicBezTo>
                  <a:cubicBezTo>
                    <a:pt x="627" y="3687"/>
                    <a:pt x="627" y="3686"/>
                    <a:pt x="620" y="3682"/>
                  </a:cubicBezTo>
                  <a:cubicBezTo>
                    <a:pt x="614" y="3679"/>
                    <a:pt x="612" y="3674"/>
                    <a:pt x="613" y="3668"/>
                  </a:cubicBezTo>
                  <a:cubicBezTo>
                    <a:pt x="614" y="3666"/>
                    <a:pt x="615" y="3663"/>
                    <a:pt x="614" y="3662"/>
                  </a:cubicBezTo>
                  <a:cubicBezTo>
                    <a:pt x="610" y="3655"/>
                    <a:pt x="613" y="3651"/>
                    <a:pt x="618" y="3647"/>
                  </a:cubicBezTo>
                  <a:cubicBezTo>
                    <a:pt x="623" y="3643"/>
                    <a:pt x="623" y="3639"/>
                    <a:pt x="622" y="3634"/>
                  </a:cubicBezTo>
                  <a:cubicBezTo>
                    <a:pt x="615" y="3604"/>
                    <a:pt x="608" y="3575"/>
                    <a:pt x="600" y="3546"/>
                  </a:cubicBezTo>
                  <a:cubicBezTo>
                    <a:pt x="596" y="3532"/>
                    <a:pt x="599" y="3518"/>
                    <a:pt x="601" y="3504"/>
                  </a:cubicBezTo>
                  <a:cubicBezTo>
                    <a:pt x="603" y="3488"/>
                    <a:pt x="607" y="3472"/>
                    <a:pt x="609" y="3456"/>
                  </a:cubicBezTo>
                  <a:cubicBezTo>
                    <a:pt x="610" y="3449"/>
                    <a:pt x="613" y="3445"/>
                    <a:pt x="619" y="3442"/>
                  </a:cubicBezTo>
                  <a:cubicBezTo>
                    <a:pt x="637" y="3433"/>
                    <a:pt x="654" y="3424"/>
                    <a:pt x="672" y="3414"/>
                  </a:cubicBezTo>
                  <a:cubicBezTo>
                    <a:pt x="679" y="3411"/>
                    <a:pt x="686" y="3407"/>
                    <a:pt x="693" y="3403"/>
                  </a:cubicBezTo>
                  <a:cubicBezTo>
                    <a:pt x="698" y="3400"/>
                    <a:pt x="704" y="3399"/>
                    <a:pt x="708" y="3405"/>
                  </a:cubicBezTo>
                  <a:cubicBezTo>
                    <a:pt x="711" y="3409"/>
                    <a:pt x="713" y="3407"/>
                    <a:pt x="716" y="3405"/>
                  </a:cubicBezTo>
                  <a:cubicBezTo>
                    <a:pt x="720" y="3401"/>
                    <a:pt x="724" y="3398"/>
                    <a:pt x="728" y="3394"/>
                  </a:cubicBezTo>
                  <a:cubicBezTo>
                    <a:pt x="735" y="3386"/>
                    <a:pt x="744" y="3384"/>
                    <a:pt x="754" y="3387"/>
                  </a:cubicBezTo>
                  <a:cubicBezTo>
                    <a:pt x="759" y="3388"/>
                    <a:pt x="764" y="3390"/>
                    <a:pt x="770" y="3391"/>
                  </a:cubicBezTo>
                  <a:cubicBezTo>
                    <a:pt x="773" y="3391"/>
                    <a:pt x="775" y="3390"/>
                    <a:pt x="776" y="3386"/>
                  </a:cubicBezTo>
                  <a:cubicBezTo>
                    <a:pt x="779" y="3371"/>
                    <a:pt x="781" y="3357"/>
                    <a:pt x="784" y="3343"/>
                  </a:cubicBezTo>
                  <a:cubicBezTo>
                    <a:pt x="791" y="3309"/>
                    <a:pt x="798" y="3275"/>
                    <a:pt x="805" y="3242"/>
                  </a:cubicBezTo>
                  <a:cubicBezTo>
                    <a:pt x="806" y="3235"/>
                    <a:pt x="807" y="3229"/>
                    <a:pt x="808" y="3223"/>
                  </a:cubicBezTo>
                  <a:cubicBezTo>
                    <a:pt x="808" y="3219"/>
                    <a:pt x="807" y="3217"/>
                    <a:pt x="803" y="3216"/>
                  </a:cubicBezTo>
                  <a:cubicBezTo>
                    <a:pt x="788" y="3214"/>
                    <a:pt x="772" y="3211"/>
                    <a:pt x="756" y="3208"/>
                  </a:cubicBezTo>
                  <a:cubicBezTo>
                    <a:pt x="746" y="3206"/>
                    <a:pt x="737" y="3204"/>
                    <a:pt x="727" y="3202"/>
                  </a:cubicBezTo>
                  <a:cubicBezTo>
                    <a:pt x="720" y="3200"/>
                    <a:pt x="719" y="3199"/>
                    <a:pt x="720" y="3191"/>
                  </a:cubicBezTo>
                  <a:cubicBezTo>
                    <a:pt x="721" y="3181"/>
                    <a:pt x="723" y="3171"/>
                    <a:pt x="725" y="3161"/>
                  </a:cubicBezTo>
                  <a:cubicBezTo>
                    <a:pt x="734" y="3115"/>
                    <a:pt x="743" y="3070"/>
                    <a:pt x="752" y="3025"/>
                  </a:cubicBezTo>
                  <a:cubicBezTo>
                    <a:pt x="753" y="3018"/>
                    <a:pt x="755" y="3012"/>
                    <a:pt x="756" y="3006"/>
                  </a:cubicBezTo>
                  <a:cubicBezTo>
                    <a:pt x="757" y="3000"/>
                    <a:pt x="763" y="3000"/>
                    <a:pt x="766" y="2997"/>
                  </a:cubicBezTo>
                  <a:cubicBezTo>
                    <a:pt x="768" y="2993"/>
                    <a:pt x="769" y="2989"/>
                    <a:pt x="771" y="2985"/>
                  </a:cubicBezTo>
                  <a:cubicBezTo>
                    <a:pt x="772" y="2984"/>
                    <a:pt x="775" y="2983"/>
                    <a:pt x="778" y="2983"/>
                  </a:cubicBezTo>
                  <a:cubicBezTo>
                    <a:pt x="783" y="2984"/>
                    <a:pt x="785" y="2981"/>
                    <a:pt x="786" y="2976"/>
                  </a:cubicBezTo>
                  <a:cubicBezTo>
                    <a:pt x="790" y="2958"/>
                    <a:pt x="794" y="2940"/>
                    <a:pt x="797" y="2922"/>
                  </a:cubicBezTo>
                  <a:cubicBezTo>
                    <a:pt x="804" y="2889"/>
                    <a:pt x="810" y="2856"/>
                    <a:pt x="816" y="2822"/>
                  </a:cubicBezTo>
                  <a:cubicBezTo>
                    <a:pt x="818" y="2814"/>
                    <a:pt x="819" y="2807"/>
                    <a:pt x="820" y="2799"/>
                  </a:cubicBezTo>
                  <a:cubicBezTo>
                    <a:pt x="824" y="2779"/>
                    <a:pt x="829" y="2760"/>
                    <a:pt x="833" y="2740"/>
                  </a:cubicBezTo>
                  <a:cubicBezTo>
                    <a:pt x="833" y="2738"/>
                    <a:pt x="834" y="2736"/>
                    <a:pt x="834" y="2734"/>
                  </a:cubicBezTo>
                  <a:cubicBezTo>
                    <a:pt x="835" y="2730"/>
                    <a:pt x="834" y="2728"/>
                    <a:pt x="829" y="2727"/>
                  </a:cubicBezTo>
                  <a:cubicBezTo>
                    <a:pt x="813" y="2724"/>
                    <a:pt x="796" y="2720"/>
                    <a:pt x="779" y="2717"/>
                  </a:cubicBezTo>
                  <a:cubicBezTo>
                    <a:pt x="747" y="2710"/>
                    <a:pt x="714" y="2704"/>
                    <a:pt x="682" y="2697"/>
                  </a:cubicBezTo>
                  <a:cubicBezTo>
                    <a:pt x="672" y="2696"/>
                    <a:pt x="672" y="2695"/>
                    <a:pt x="670" y="2705"/>
                  </a:cubicBezTo>
                  <a:cubicBezTo>
                    <a:pt x="667" y="2718"/>
                    <a:pt x="665" y="2731"/>
                    <a:pt x="663" y="2745"/>
                  </a:cubicBezTo>
                  <a:cubicBezTo>
                    <a:pt x="662" y="2747"/>
                    <a:pt x="662" y="2749"/>
                    <a:pt x="661" y="2751"/>
                  </a:cubicBezTo>
                  <a:cubicBezTo>
                    <a:pt x="659" y="2758"/>
                    <a:pt x="658" y="2759"/>
                    <a:pt x="649" y="2758"/>
                  </a:cubicBezTo>
                  <a:cubicBezTo>
                    <a:pt x="634" y="2755"/>
                    <a:pt x="619" y="2752"/>
                    <a:pt x="603" y="2748"/>
                  </a:cubicBezTo>
                  <a:cubicBezTo>
                    <a:pt x="595" y="2747"/>
                    <a:pt x="595" y="2747"/>
                    <a:pt x="593" y="2755"/>
                  </a:cubicBezTo>
                  <a:cubicBezTo>
                    <a:pt x="588" y="2780"/>
                    <a:pt x="583" y="2804"/>
                    <a:pt x="579" y="2829"/>
                  </a:cubicBezTo>
                  <a:cubicBezTo>
                    <a:pt x="578" y="2832"/>
                    <a:pt x="580" y="2836"/>
                    <a:pt x="581" y="2838"/>
                  </a:cubicBezTo>
                  <a:cubicBezTo>
                    <a:pt x="583" y="2844"/>
                    <a:pt x="586" y="2849"/>
                    <a:pt x="586" y="2855"/>
                  </a:cubicBezTo>
                  <a:cubicBezTo>
                    <a:pt x="588" y="2868"/>
                    <a:pt x="588" y="2881"/>
                    <a:pt x="589" y="2894"/>
                  </a:cubicBezTo>
                  <a:cubicBezTo>
                    <a:pt x="589" y="2901"/>
                    <a:pt x="590" y="2907"/>
                    <a:pt x="591" y="2913"/>
                  </a:cubicBezTo>
                  <a:cubicBezTo>
                    <a:pt x="592" y="2923"/>
                    <a:pt x="589" y="2925"/>
                    <a:pt x="579" y="2925"/>
                  </a:cubicBezTo>
                  <a:cubicBezTo>
                    <a:pt x="565" y="2924"/>
                    <a:pt x="551" y="2923"/>
                    <a:pt x="537" y="2922"/>
                  </a:cubicBezTo>
                  <a:cubicBezTo>
                    <a:pt x="519" y="2921"/>
                    <a:pt x="502" y="2919"/>
                    <a:pt x="484" y="2918"/>
                  </a:cubicBezTo>
                  <a:cubicBezTo>
                    <a:pt x="480" y="2918"/>
                    <a:pt x="477" y="2918"/>
                    <a:pt x="473" y="2918"/>
                  </a:cubicBezTo>
                  <a:cubicBezTo>
                    <a:pt x="470" y="2918"/>
                    <a:pt x="467" y="2918"/>
                    <a:pt x="465" y="2918"/>
                  </a:cubicBezTo>
                  <a:cubicBezTo>
                    <a:pt x="460" y="2918"/>
                    <a:pt x="459" y="2920"/>
                    <a:pt x="459" y="2924"/>
                  </a:cubicBezTo>
                  <a:cubicBezTo>
                    <a:pt x="458" y="2938"/>
                    <a:pt x="458" y="2953"/>
                    <a:pt x="457" y="2968"/>
                  </a:cubicBezTo>
                  <a:cubicBezTo>
                    <a:pt x="457" y="2970"/>
                    <a:pt x="457" y="2972"/>
                    <a:pt x="457" y="2973"/>
                  </a:cubicBezTo>
                  <a:cubicBezTo>
                    <a:pt x="456" y="2978"/>
                    <a:pt x="453" y="2981"/>
                    <a:pt x="448" y="2981"/>
                  </a:cubicBezTo>
                  <a:cubicBezTo>
                    <a:pt x="439" y="2980"/>
                    <a:pt x="429" y="2980"/>
                    <a:pt x="420" y="2979"/>
                  </a:cubicBezTo>
                  <a:cubicBezTo>
                    <a:pt x="414" y="2979"/>
                    <a:pt x="409" y="2979"/>
                    <a:pt x="404" y="2979"/>
                  </a:cubicBezTo>
                  <a:cubicBezTo>
                    <a:pt x="396" y="2978"/>
                    <a:pt x="393" y="2975"/>
                    <a:pt x="393" y="2967"/>
                  </a:cubicBezTo>
                  <a:cubicBezTo>
                    <a:pt x="393" y="2954"/>
                    <a:pt x="394" y="2940"/>
                    <a:pt x="395" y="2926"/>
                  </a:cubicBezTo>
                  <a:cubicBezTo>
                    <a:pt x="395" y="2924"/>
                    <a:pt x="395" y="2923"/>
                    <a:pt x="395" y="2921"/>
                  </a:cubicBezTo>
                  <a:cubicBezTo>
                    <a:pt x="395" y="2914"/>
                    <a:pt x="395" y="2914"/>
                    <a:pt x="387" y="2914"/>
                  </a:cubicBezTo>
                  <a:cubicBezTo>
                    <a:pt x="386" y="2914"/>
                    <a:pt x="384" y="2914"/>
                    <a:pt x="382" y="2914"/>
                  </a:cubicBezTo>
                  <a:cubicBezTo>
                    <a:pt x="379" y="2914"/>
                    <a:pt x="376" y="2914"/>
                    <a:pt x="373" y="2913"/>
                  </a:cubicBezTo>
                  <a:cubicBezTo>
                    <a:pt x="365" y="2913"/>
                    <a:pt x="362" y="2910"/>
                    <a:pt x="362" y="2902"/>
                  </a:cubicBezTo>
                  <a:cubicBezTo>
                    <a:pt x="363" y="2888"/>
                    <a:pt x="364" y="2875"/>
                    <a:pt x="364" y="2861"/>
                  </a:cubicBezTo>
                  <a:cubicBezTo>
                    <a:pt x="364" y="2858"/>
                    <a:pt x="364" y="2855"/>
                    <a:pt x="364" y="2852"/>
                  </a:cubicBezTo>
                  <a:cubicBezTo>
                    <a:pt x="364" y="2838"/>
                    <a:pt x="364" y="2825"/>
                    <a:pt x="364" y="2811"/>
                  </a:cubicBezTo>
                  <a:cubicBezTo>
                    <a:pt x="364" y="2781"/>
                    <a:pt x="364" y="2781"/>
                    <a:pt x="353" y="2754"/>
                  </a:cubicBezTo>
                  <a:cubicBezTo>
                    <a:pt x="346" y="2739"/>
                    <a:pt x="339" y="2723"/>
                    <a:pt x="332" y="2707"/>
                  </a:cubicBezTo>
                  <a:cubicBezTo>
                    <a:pt x="328" y="2698"/>
                    <a:pt x="329" y="2696"/>
                    <a:pt x="337" y="2690"/>
                  </a:cubicBezTo>
                  <a:cubicBezTo>
                    <a:pt x="348" y="2680"/>
                    <a:pt x="360" y="2670"/>
                    <a:pt x="372" y="2660"/>
                  </a:cubicBezTo>
                  <a:cubicBezTo>
                    <a:pt x="378" y="2655"/>
                    <a:pt x="384" y="2650"/>
                    <a:pt x="389" y="2645"/>
                  </a:cubicBezTo>
                  <a:cubicBezTo>
                    <a:pt x="393" y="2642"/>
                    <a:pt x="396" y="2639"/>
                    <a:pt x="399" y="2634"/>
                  </a:cubicBezTo>
                  <a:cubicBezTo>
                    <a:pt x="404" y="2625"/>
                    <a:pt x="410" y="2617"/>
                    <a:pt x="416" y="2608"/>
                  </a:cubicBezTo>
                  <a:cubicBezTo>
                    <a:pt x="420" y="2603"/>
                    <a:pt x="422" y="2598"/>
                    <a:pt x="422" y="2591"/>
                  </a:cubicBezTo>
                  <a:cubicBezTo>
                    <a:pt x="422" y="2584"/>
                    <a:pt x="423" y="2577"/>
                    <a:pt x="424" y="2570"/>
                  </a:cubicBezTo>
                  <a:cubicBezTo>
                    <a:pt x="425" y="2566"/>
                    <a:pt x="423" y="2565"/>
                    <a:pt x="420" y="2565"/>
                  </a:cubicBezTo>
                  <a:cubicBezTo>
                    <a:pt x="417" y="2565"/>
                    <a:pt x="414" y="2564"/>
                    <a:pt x="412" y="2564"/>
                  </a:cubicBezTo>
                  <a:cubicBezTo>
                    <a:pt x="396" y="2564"/>
                    <a:pt x="388" y="2552"/>
                    <a:pt x="378" y="2544"/>
                  </a:cubicBezTo>
                  <a:cubicBezTo>
                    <a:pt x="373" y="2541"/>
                    <a:pt x="370" y="2537"/>
                    <a:pt x="366" y="2533"/>
                  </a:cubicBezTo>
                  <a:cubicBezTo>
                    <a:pt x="359" y="2527"/>
                    <a:pt x="352" y="2521"/>
                    <a:pt x="341" y="2521"/>
                  </a:cubicBezTo>
                  <a:cubicBezTo>
                    <a:pt x="330" y="2521"/>
                    <a:pt x="327" y="2519"/>
                    <a:pt x="324" y="2507"/>
                  </a:cubicBezTo>
                  <a:cubicBezTo>
                    <a:pt x="323" y="2501"/>
                    <a:pt x="320" y="2495"/>
                    <a:pt x="316" y="2490"/>
                  </a:cubicBezTo>
                  <a:cubicBezTo>
                    <a:pt x="304" y="2479"/>
                    <a:pt x="304" y="2464"/>
                    <a:pt x="305" y="2449"/>
                  </a:cubicBezTo>
                  <a:cubicBezTo>
                    <a:pt x="305" y="2447"/>
                    <a:pt x="306" y="2445"/>
                    <a:pt x="306" y="2443"/>
                  </a:cubicBezTo>
                  <a:cubicBezTo>
                    <a:pt x="301" y="2430"/>
                    <a:pt x="305" y="2420"/>
                    <a:pt x="312" y="2409"/>
                  </a:cubicBezTo>
                  <a:cubicBezTo>
                    <a:pt x="318" y="2400"/>
                    <a:pt x="320" y="2389"/>
                    <a:pt x="319" y="2378"/>
                  </a:cubicBezTo>
                  <a:cubicBezTo>
                    <a:pt x="317" y="2370"/>
                    <a:pt x="316" y="2362"/>
                    <a:pt x="312" y="2355"/>
                  </a:cubicBezTo>
                  <a:cubicBezTo>
                    <a:pt x="303" y="2336"/>
                    <a:pt x="293" y="2317"/>
                    <a:pt x="283" y="2299"/>
                  </a:cubicBezTo>
                  <a:cubicBezTo>
                    <a:pt x="280" y="2293"/>
                    <a:pt x="274" y="2289"/>
                    <a:pt x="270" y="2285"/>
                  </a:cubicBezTo>
                  <a:cubicBezTo>
                    <a:pt x="254" y="2273"/>
                    <a:pt x="239" y="2261"/>
                    <a:pt x="223" y="2250"/>
                  </a:cubicBezTo>
                  <a:cubicBezTo>
                    <a:pt x="210" y="2241"/>
                    <a:pt x="196" y="2233"/>
                    <a:pt x="181" y="2227"/>
                  </a:cubicBezTo>
                  <a:cubicBezTo>
                    <a:pt x="173" y="2225"/>
                    <a:pt x="165" y="2221"/>
                    <a:pt x="158" y="2218"/>
                  </a:cubicBezTo>
                  <a:cubicBezTo>
                    <a:pt x="147" y="2213"/>
                    <a:pt x="135" y="2212"/>
                    <a:pt x="123" y="2210"/>
                  </a:cubicBezTo>
                  <a:cubicBezTo>
                    <a:pt x="116" y="2209"/>
                    <a:pt x="111" y="2207"/>
                    <a:pt x="105" y="2203"/>
                  </a:cubicBezTo>
                  <a:cubicBezTo>
                    <a:pt x="86" y="2190"/>
                    <a:pt x="67" y="2178"/>
                    <a:pt x="48" y="2165"/>
                  </a:cubicBezTo>
                  <a:cubicBezTo>
                    <a:pt x="43" y="2162"/>
                    <a:pt x="39" y="2157"/>
                    <a:pt x="35" y="2152"/>
                  </a:cubicBezTo>
                  <a:cubicBezTo>
                    <a:pt x="25" y="2138"/>
                    <a:pt x="14" y="2123"/>
                    <a:pt x="4" y="2109"/>
                  </a:cubicBezTo>
                  <a:cubicBezTo>
                    <a:pt x="0" y="2102"/>
                    <a:pt x="0" y="2100"/>
                    <a:pt x="6" y="2096"/>
                  </a:cubicBezTo>
                  <a:cubicBezTo>
                    <a:pt x="17" y="2088"/>
                    <a:pt x="28" y="2082"/>
                    <a:pt x="40" y="2076"/>
                  </a:cubicBezTo>
                  <a:cubicBezTo>
                    <a:pt x="55" y="2067"/>
                    <a:pt x="72" y="2060"/>
                    <a:pt x="88" y="2052"/>
                  </a:cubicBezTo>
                  <a:cubicBezTo>
                    <a:pt x="92" y="2051"/>
                    <a:pt x="96" y="2050"/>
                    <a:pt x="100" y="2050"/>
                  </a:cubicBezTo>
                  <a:cubicBezTo>
                    <a:pt x="116" y="2052"/>
                    <a:pt x="131" y="2054"/>
                    <a:pt x="146" y="2056"/>
                  </a:cubicBezTo>
                  <a:cubicBezTo>
                    <a:pt x="157" y="2057"/>
                    <a:pt x="168" y="2059"/>
                    <a:pt x="179" y="2061"/>
                  </a:cubicBezTo>
                  <a:cubicBezTo>
                    <a:pt x="181" y="2061"/>
                    <a:pt x="184" y="2060"/>
                    <a:pt x="185" y="2058"/>
                  </a:cubicBezTo>
                  <a:cubicBezTo>
                    <a:pt x="189" y="2050"/>
                    <a:pt x="196" y="2051"/>
                    <a:pt x="202" y="2053"/>
                  </a:cubicBezTo>
                  <a:cubicBezTo>
                    <a:pt x="208" y="2055"/>
                    <a:pt x="212" y="2054"/>
                    <a:pt x="217" y="2051"/>
                  </a:cubicBezTo>
                  <a:cubicBezTo>
                    <a:pt x="221" y="2049"/>
                    <a:pt x="226" y="2047"/>
                    <a:pt x="230" y="2044"/>
                  </a:cubicBezTo>
                  <a:cubicBezTo>
                    <a:pt x="242" y="2034"/>
                    <a:pt x="256" y="2030"/>
                    <a:pt x="270" y="2029"/>
                  </a:cubicBezTo>
                  <a:cubicBezTo>
                    <a:pt x="281" y="2027"/>
                    <a:pt x="291" y="2026"/>
                    <a:pt x="302" y="2024"/>
                  </a:cubicBezTo>
                  <a:cubicBezTo>
                    <a:pt x="314" y="2023"/>
                    <a:pt x="326" y="2021"/>
                    <a:pt x="337" y="2020"/>
                  </a:cubicBezTo>
                  <a:cubicBezTo>
                    <a:pt x="362" y="2019"/>
                    <a:pt x="387" y="2014"/>
                    <a:pt x="412" y="2015"/>
                  </a:cubicBezTo>
                  <a:cubicBezTo>
                    <a:pt x="428" y="2016"/>
                    <a:pt x="445" y="2017"/>
                    <a:pt x="461" y="2018"/>
                  </a:cubicBezTo>
                  <a:cubicBezTo>
                    <a:pt x="491" y="2018"/>
                    <a:pt x="520" y="2019"/>
                    <a:pt x="550" y="2020"/>
                  </a:cubicBezTo>
                  <a:cubicBezTo>
                    <a:pt x="557" y="2020"/>
                    <a:pt x="560" y="2023"/>
                    <a:pt x="558" y="2030"/>
                  </a:cubicBezTo>
                  <a:cubicBezTo>
                    <a:pt x="555" y="2041"/>
                    <a:pt x="558" y="2051"/>
                    <a:pt x="559" y="2062"/>
                  </a:cubicBezTo>
                  <a:cubicBezTo>
                    <a:pt x="560" y="2069"/>
                    <a:pt x="564" y="2073"/>
                    <a:pt x="571" y="2074"/>
                  </a:cubicBezTo>
                  <a:cubicBezTo>
                    <a:pt x="581" y="2075"/>
                    <a:pt x="590" y="2077"/>
                    <a:pt x="600" y="2078"/>
                  </a:cubicBezTo>
                  <a:cubicBezTo>
                    <a:pt x="605" y="2079"/>
                    <a:pt x="606" y="2077"/>
                    <a:pt x="607" y="2073"/>
                  </a:cubicBezTo>
                  <a:cubicBezTo>
                    <a:pt x="610" y="2055"/>
                    <a:pt x="614" y="2037"/>
                    <a:pt x="619" y="2020"/>
                  </a:cubicBezTo>
                  <a:cubicBezTo>
                    <a:pt x="620" y="2013"/>
                    <a:pt x="626" y="2010"/>
                    <a:pt x="633" y="2012"/>
                  </a:cubicBezTo>
                  <a:cubicBezTo>
                    <a:pt x="649" y="2015"/>
                    <a:pt x="666" y="2019"/>
                    <a:pt x="682" y="2023"/>
                  </a:cubicBezTo>
                  <a:cubicBezTo>
                    <a:pt x="690" y="2025"/>
                    <a:pt x="690" y="2025"/>
                    <a:pt x="691" y="2017"/>
                  </a:cubicBezTo>
                  <a:cubicBezTo>
                    <a:pt x="695" y="1999"/>
                    <a:pt x="698" y="1982"/>
                    <a:pt x="702" y="1965"/>
                  </a:cubicBezTo>
                  <a:cubicBezTo>
                    <a:pt x="704" y="1958"/>
                    <a:pt x="707" y="1957"/>
                    <a:pt x="715" y="1959"/>
                  </a:cubicBezTo>
                  <a:cubicBezTo>
                    <a:pt x="743" y="1965"/>
                    <a:pt x="772" y="1971"/>
                    <a:pt x="800" y="1977"/>
                  </a:cubicBezTo>
                  <a:cubicBezTo>
                    <a:pt x="807" y="1979"/>
                    <a:pt x="807" y="1979"/>
                    <a:pt x="808" y="1972"/>
                  </a:cubicBezTo>
                  <a:cubicBezTo>
                    <a:pt x="812" y="1955"/>
                    <a:pt x="815" y="1937"/>
                    <a:pt x="819" y="1920"/>
                  </a:cubicBezTo>
                  <a:cubicBezTo>
                    <a:pt x="821" y="1910"/>
                    <a:pt x="823" y="1909"/>
                    <a:pt x="832" y="1911"/>
                  </a:cubicBezTo>
                  <a:cubicBezTo>
                    <a:pt x="851" y="1915"/>
                    <a:pt x="870" y="1920"/>
                    <a:pt x="890" y="1922"/>
                  </a:cubicBezTo>
                  <a:cubicBezTo>
                    <a:pt x="912" y="1925"/>
                    <a:pt x="933" y="1930"/>
                    <a:pt x="955" y="1934"/>
                  </a:cubicBezTo>
                  <a:cubicBezTo>
                    <a:pt x="961" y="1936"/>
                    <a:pt x="967" y="1937"/>
                    <a:pt x="973" y="1938"/>
                  </a:cubicBezTo>
                  <a:cubicBezTo>
                    <a:pt x="980" y="1939"/>
                    <a:pt x="980" y="1939"/>
                    <a:pt x="981" y="1932"/>
                  </a:cubicBezTo>
                  <a:cubicBezTo>
                    <a:pt x="987" y="1908"/>
                    <a:pt x="992" y="1883"/>
                    <a:pt x="997" y="1859"/>
                  </a:cubicBezTo>
                  <a:cubicBezTo>
                    <a:pt x="999" y="1848"/>
                    <a:pt x="1001" y="1838"/>
                    <a:pt x="1004" y="1827"/>
                  </a:cubicBezTo>
                  <a:cubicBezTo>
                    <a:pt x="1005" y="1824"/>
                    <a:pt x="1004" y="1822"/>
                    <a:pt x="1001" y="1821"/>
                  </a:cubicBezTo>
                  <a:cubicBezTo>
                    <a:pt x="990" y="1815"/>
                    <a:pt x="979" y="1811"/>
                    <a:pt x="968" y="1809"/>
                  </a:cubicBezTo>
                  <a:cubicBezTo>
                    <a:pt x="959" y="1808"/>
                    <a:pt x="954" y="1804"/>
                    <a:pt x="950" y="1797"/>
                  </a:cubicBezTo>
                  <a:cubicBezTo>
                    <a:pt x="931" y="1761"/>
                    <a:pt x="912" y="1725"/>
                    <a:pt x="892" y="1689"/>
                  </a:cubicBezTo>
                  <a:cubicBezTo>
                    <a:pt x="882" y="1671"/>
                    <a:pt x="872" y="1654"/>
                    <a:pt x="862" y="1636"/>
                  </a:cubicBezTo>
                  <a:cubicBezTo>
                    <a:pt x="855" y="1625"/>
                    <a:pt x="849" y="1614"/>
                    <a:pt x="843" y="1602"/>
                  </a:cubicBezTo>
                  <a:cubicBezTo>
                    <a:pt x="841" y="1597"/>
                    <a:pt x="839" y="1595"/>
                    <a:pt x="832" y="1597"/>
                  </a:cubicBezTo>
                  <a:cubicBezTo>
                    <a:pt x="813" y="1602"/>
                    <a:pt x="794" y="1606"/>
                    <a:pt x="774" y="1611"/>
                  </a:cubicBezTo>
                  <a:cubicBezTo>
                    <a:pt x="761" y="1615"/>
                    <a:pt x="747" y="1619"/>
                    <a:pt x="733" y="1622"/>
                  </a:cubicBezTo>
                  <a:cubicBezTo>
                    <a:pt x="725" y="1624"/>
                    <a:pt x="721" y="1622"/>
                    <a:pt x="721" y="1613"/>
                  </a:cubicBezTo>
                  <a:cubicBezTo>
                    <a:pt x="720" y="1602"/>
                    <a:pt x="720" y="1590"/>
                    <a:pt x="720" y="1579"/>
                  </a:cubicBezTo>
                  <a:cubicBezTo>
                    <a:pt x="719" y="1530"/>
                    <a:pt x="718" y="1482"/>
                    <a:pt x="717" y="1434"/>
                  </a:cubicBezTo>
                  <a:cubicBezTo>
                    <a:pt x="716" y="1385"/>
                    <a:pt x="714" y="1337"/>
                    <a:pt x="713" y="1288"/>
                  </a:cubicBezTo>
                  <a:cubicBezTo>
                    <a:pt x="712" y="1258"/>
                    <a:pt x="712" y="1228"/>
                    <a:pt x="711" y="1198"/>
                  </a:cubicBezTo>
                  <a:cubicBezTo>
                    <a:pt x="710" y="1191"/>
                    <a:pt x="713" y="1186"/>
                    <a:pt x="719" y="1182"/>
                  </a:cubicBezTo>
                  <a:cubicBezTo>
                    <a:pt x="774" y="1146"/>
                    <a:pt x="829" y="1110"/>
                    <a:pt x="884" y="1074"/>
                  </a:cubicBezTo>
                  <a:cubicBezTo>
                    <a:pt x="918" y="1051"/>
                    <a:pt x="951" y="1028"/>
                    <a:pt x="986" y="1005"/>
                  </a:cubicBezTo>
                  <a:cubicBezTo>
                    <a:pt x="1014" y="987"/>
                    <a:pt x="1042" y="970"/>
                    <a:pt x="1070" y="952"/>
                  </a:cubicBezTo>
                  <a:cubicBezTo>
                    <a:pt x="1107" y="928"/>
                    <a:pt x="1144" y="905"/>
                    <a:pt x="1181" y="881"/>
                  </a:cubicBezTo>
                  <a:cubicBezTo>
                    <a:pt x="1190" y="875"/>
                    <a:pt x="1200" y="869"/>
                    <a:pt x="1209" y="863"/>
                  </a:cubicBezTo>
                  <a:cubicBezTo>
                    <a:pt x="1213" y="861"/>
                    <a:pt x="1213" y="859"/>
                    <a:pt x="1211" y="855"/>
                  </a:cubicBezTo>
                  <a:cubicBezTo>
                    <a:pt x="1208" y="851"/>
                    <a:pt x="1205" y="847"/>
                    <a:pt x="1202" y="842"/>
                  </a:cubicBezTo>
                  <a:cubicBezTo>
                    <a:pt x="1200" y="837"/>
                    <a:pt x="1199" y="832"/>
                    <a:pt x="1203" y="828"/>
                  </a:cubicBezTo>
                  <a:cubicBezTo>
                    <a:pt x="1211" y="818"/>
                    <a:pt x="1211" y="808"/>
                    <a:pt x="1206" y="797"/>
                  </a:cubicBezTo>
                  <a:cubicBezTo>
                    <a:pt x="1203" y="790"/>
                    <a:pt x="1205" y="784"/>
                    <a:pt x="1209" y="779"/>
                  </a:cubicBezTo>
                  <a:cubicBezTo>
                    <a:pt x="1211" y="775"/>
                    <a:pt x="1214" y="772"/>
                    <a:pt x="1219" y="772"/>
                  </a:cubicBezTo>
                  <a:cubicBezTo>
                    <a:pt x="1220" y="773"/>
                    <a:pt x="1221" y="773"/>
                    <a:pt x="1221" y="772"/>
                  </a:cubicBezTo>
                  <a:cubicBezTo>
                    <a:pt x="1233" y="767"/>
                    <a:pt x="1241" y="774"/>
                    <a:pt x="1249" y="780"/>
                  </a:cubicBezTo>
                  <a:cubicBezTo>
                    <a:pt x="1250" y="781"/>
                    <a:pt x="1252" y="782"/>
                    <a:pt x="1253" y="782"/>
                  </a:cubicBezTo>
                  <a:cubicBezTo>
                    <a:pt x="1253" y="781"/>
                    <a:pt x="1254" y="779"/>
                    <a:pt x="1254" y="778"/>
                  </a:cubicBezTo>
                  <a:cubicBezTo>
                    <a:pt x="1255" y="770"/>
                    <a:pt x="1256" y="767"/>
                    <a:pt x="1264" y="766"/>
                  </a:cubicBezTo>
                  <a:cubicBezTo>
                    <a:pt x="1271" y="765"/>
                    <a:pt x="1271" y="762"/>
                    <a:pt x="1270" y="757"/>
                  </a:cubicBezTo>
                  <a:cubicBezTo>
                    <a:pt x="1269" y="753"/>
                    <a:pt x="1266" y="750"/>
                    <a:pt x="1271" y="746"/>
                  </a:cubicBezTo>
                  <a:cubicBezTo>
                    <a:pt x="1274" y="744"/>
                    <a:pt x="1279" y="741"/>
                    <a:pt x="1283" y="743"/>
                  </a:cubicBezTo>
                  <a:cubicBezTo>
                    <a:pt x="1287" y="745"/>
                    <a:pt x="1288" y="744"/>
                    <a:pt x="1290" y="741"/>
                  </a:cubicBezTo>
                  <a:cubicBezTo>
                    <a:pt x="1292" y="738"/>
                    <a:pt x="1295" y="735"/>
                    <a:pt x="1297" y="733"/>
                  </a:cubicBezTo>
                  <a:cubicBezTo>
                    <a:pt x="1302" y="729"/>
                    <a:pt x="1306" y="726"/>
                    <a:pt x="1310" y="721"/>
                  </a:cubicBezTo>
                  <a:cubicBezTo>
                    <a:pt x="1316" y="712"/>
                    <a:pt x="1325" y="705"/>
                    <a:pt x="1333" y="697"/>
                  </a:cubicBezTo>
                  <a:cubicBezTo>
                    <a:pt x="1335" y="696"/>
                    <a:pt x="1338" y="695"/>
                    <a:pt x="1340" y="695"/>
                  </a:cubicBezTo>
                  <a:cubicBezTo>
                    <a:pt x="1352" y="696"/>
                    <a:pt x="1364" y="698"/>
                    <a:pt x="1376" y="700"/>
                  </a:cubicBezTo>
                  <a:cubicBezTo>
                    <a:pt x="1388" y="702"/>
                    <a:pt x="1401" y="703"/>
                    <a:pt x="1413" y="705"/>
                  </a:cubicBezTo>
                  <a:cubicBezTo>
                    <a:pt x="1426" y="707"/>
                    <a:pt x="1439" y="709"/>
                    <a:pt x="1451" y="711"/>
                  </a:cubicBezTo>
                  <a:cubicBezTo>
                    <a:pt x="1468" y="714"/>
                    <a:pt x="1485" y="716"/>
                    <a:pt x="1501" y="718"/>
                  </a:cubicBezTo>
                  <a:cubicBezTo>
                    <a:pt x="1525" y="722"/>
                    <a:pt x="1548" y="725"/>
                    <a:pt x="1571" y="729"/>
                  </a:cubicBezTo>
                  <a:cubicBezTo>
                    <a:pt x="1591" y="732"/>
                    <a:pt x="1611" y="735"/>
                    <a:pt x="1632" y="738"/>
                  </a:cubicBezTo>
                  <a:cubicBezTo>
                    <a:pt x="1645" y="740"/>
                    <a:pt x="1658" y="742"/>
                    <a:pt x="1671" y="744"/>
                  </a:cubicBezTo>
                  <a:cubicBezTo>
                    <a:pt x="1676" y="744"/>
                    <a:pt x="1681" y="744"/>
                    <a:pt x="1686" y="744"/>
                  </a:cubicBezTo>
                  <a:cubicBezTo>
                    <a:pt x="1758" y="745"/>
                    <a:pt x="1831" y="745"/>
                    <a:pt x="1904" y="745"/>
                  </a:cubicBezTo>
                  <a:cubicBezTo>
                    <a:pt x="1983" y="745"/>
                    <a:pt x="2063" y="744"/>
                    <a:pt x="2143" y="744"/>
                  </a:cubicBezTo>
                  <a:cubicBezTo>
                    <a:pt x="2215" y="744"/>
                    <a:pt x="2288" y="745"/>
                    <a:pt x="2360" y="745"/>
                  </a:cubicBezTo>
                  <a:cubicBezTo>
                    <a:pt x="2450" y="745"/>
                    <a:pt x="2540" y="745"/>
                    <a:pt x="2631" y="745"/>
                  </a:cubicBezTo>
                  <a:cubicBezTo>
                    <a:pt x="2709" y="745"/>
                    <a:pt x="2787" y="745"/>
                    <a:pt x="2866" y="745"/>
                  </a:cubicBezTo>
                  <a:cubicBezTo>
                    <a:pt x="2869" y="745"/>
                    <a:pt x="2871" y="745"/>
                    <a:pt x="2874" y="745"/>
                  </a:cubicBezTo>
                  <a:cubicBezTo>
                    <a:pt x="2879" y="746"/>
                    <a:pt x="2882" y="748"/>
                    <a:pt x="2883" y="754"/>
                  </a:cubicBezTo>
                  <a:cubicBezTo>
                    <a:pt x="2883" y="757"/>
                    <a:pt x="2882" y="763"/>
                    <a:pt x="2888" y="764"/>
                  </a:cubicBezTo>
                  <a:cubicBezTo>
                    <a:pt x="2894" y="765"/>
                    <a:pt x="2896" y="759"/>
                    <a:pt x="2898" y="755"/>
                  </a:cubicBezTo>
                  <a:cubicBezTo>
                    <a:pt x="2901" y="747"/>
                    <a:pt x="2907" y="745"/>
                    <a:pt x="2916" y="745"/>
                  </a:cubicBezTo>
                  <a:cubicBezTo>
                    <a:pt x="2990" y="745"/>
                    <a:pt x="3063" y="745"/>
                    <a:pt x="3137" y="745"/>
                  </a:cubicBezTo>
                  <a:cubicBezTo>
                    <a:pt x="3146" y="745"/>
                    <a:pt x="3154" y="745"/>
                    <a:pt x="3160" y="753"/>
                  </a:cubicBezTo>
                  <a:cubicBezTo>
                    <a:pt x="3162" y="755"/>
                    <a:pt x="3163" y="755"/>
                    <a:pt x="3164" y="752"/>
                  </a:cubicBezTo>
                  <a:cubicBezTo>
                    <a:pt x="3169" y="741"/>
                    <a:pt x="3172" y="739"/>
                    <a:pt x="3184" y="742"/>
                  </a:cubicBezTo>
                  <a:cubicBezTo>
                    <a:pt x="3192" y="744"/>
                    <a:pt x="3200" y="745"/>
                    <a:pt x="3206" y="739"/>
                  </a:cubicBezTo>
                  <a:cubicBezTo>
                    <a:pt x="3207" y="738"/>
                    <a:pt x="3210" y="739"/>
                    <a:pt x="3211" y="738"/>
                  </a:cubicBezTo>
                  <a:cubicBezTo>
                    <a:pt x="3213" y="736"/>
                    <a:pt x="3216" y="734"/>
                    <a:pt x="3216" y="732"/>
                  </a:cubicBezTo>
                  <a:cubicBezTo>
                    <a:pt x="3218" y="725"/>
                    <a:pt x="3219" y="717"/>
                    <a:pt x="3219" y="710"/>
                  </a:cubicBezTo>
                  <a:cubicBezTo>
                    <a:pt x="3220" y="699"/>
                    <a:pt x="3229" y="695"/>
                    <a:pt x="3237" y="690"/>
                  </a:cubicBezTo>
                  <a:cubicBezTo>
                    <a:pt x="3240" y="688"/>
                    <a:pt x="3244" y="686"/>
                    <a:pt x="3247" y="684"/>
                  </a:cubicBezTo>
                  <a:cubicBezTo>
                    <a:pt x="3254" y="680"/>
                    <a:pt x="3260" y="676"/>
                    <a:pt x="3266" y="672"/>
                  </a:cubicBezTo>
                  <a:cubicBezTo>
                    <a:pt x="3304" y="648"/>
                    <a:pt x="3342" y="623"/>
                    <a:pt x="3380" y="599"/>
                  </a:cubicBezTo>
                  <a:cubicBezTo>
                    <a:pt x="3398" y="588"/>
                    <a:pt x="3416" y="577"/>
                    <a:pt x="3435" y="566"/>
                  </a:cubicBezTo>
                  <a:cubicBezTo>
                    <a:pt x="3436" y="564"/>
                    <a:pt x="3439" y="562"/>
                    <a:pt x="3439" y="561"/>
                  </a:cubicBezTo>
                  <a:cubicBezTo>
                    <a:pt x="3439" y="554"/>
                    <a:pt x="3443" y="551"/>
                    <a:pt x="3447" y="547"/>
                  </a:cubicBezTo>
                  <a:cubicBezTo>
                    <a:pt x="3448" y="546"/>
                    <a:pt x="3450" y="544"/>
                    <a:pt x="3450" y="543"/>
                  </a:cubicBezTo>
                  <a:cubicBezTo>
                    <a:pt x="3447" y="531"/>
                    <a:pt x="3453" y="517"/>
                    <a:pt x="3442" y="506"/>
                  </a:cubicBezTo>
                  <a:cubicBezTo>
                    <a:pt x="3439" y="503"/>
                    <a:pt x="3438" y="498"/>
                    <a:pt x="3437" y="494"/>
                  </a:cubicBezTo>
                  <a:cubicBezTo>
                    <a:pt x="3436" y="488"/>
                    <a:pt x="3438" y="482"/>
                    <a:pt x="3445" y="480"/>
                  </a:cubicBezTo>
                  <a:cubicBezTo>
                    <a:pt x="3450" y="478"/>
                    <a:pt x="3451" y="475"/>
                    <a:pt x="3451" y="469"/>
                  </a:cubicBezTo>
                  <a:cubicBezTo>
                    <a:pt x="3450" y="462"/>
                    <a:pt x="3450" y="456"/>
                    <a:pt x="3452" y="449"/>
                  </a:cubicBezTo>
                  <a:cubicBezTo>
                    <a:pt x="3453" y="446"/>
                    <a:pt x="3456" y="442"/>
                    <a:pt x="3459" y="440"/>
                  </a:cubicBezTo>
                  <a:cubicBezTo>
                    <a:pt x="3467" y="435"/>
                    <a:pt x="3475" y="430"/>
                    <a:pt x="3483" y="427"/>
                  </a:cubicBezTo>
                  <a:cubicBezTo>
                    <a:pt x="3489" y="424"/>
                    <a:pt x="3492" y="421"/>
                    <a:pt x="3494" y="416"/>
                  </a:cubicBezTo>
                  <a:cubicBezTo>
                    <a:pt x="3494" y="413"/>
                    <a:pt x="3495" y="410"/>
                    <a:pt x="3496" y="407"/>
                  </a:cubicBezTo>
                  <a:cubicBezTo>
                    <a:pt x="3498" y="400"/>
                    <a:pt x="3503" y="394"/>
                    <a:pt x="3511" y="391"/>
                  </a:cubicBezTo>
                  <a:cubicBezTo>
                    <a:pt x="3520" y="387"/>
                    <a:pt x="3530" y="383"/>
                    <a:pt x="3534" y="372"/>
                  </a:cubicBezTo>
                  <a:cubicBezTo>
                    <a:pt x="3536" y="367"/>
                    <a:pt x="3538" y="363"/>
                    <a:pt x="3544" y="362"/>
                  </a:cubicBezTo>
                  <a:cubicBezTo>
                    <a:pt x="3546" y="362"/>
                    <a:pt x="3548" y="360"/>
                    <a:pt x="3550" y="359"/>
                  </a:cubicBezTo>
                  <a:cubicBezTo>
                    <a:pt x="3562" y="351"/>
                    <a:pt x="3573" y="354"/>
                    <a:pt x="3580" y="365"/>
                  </a:cubicBezTo>
                  <a:cubicBezTo>
                    <a:pt x="3582" y="368"/>
                    <a:pt x="3583" y="370"/>
                    <a:pt x="3587" y="370"/>
                  </a:cubicBezTo>
                  <a:cubicBezTo>
                    <a:pt x="3594" y="370"/>
                    <a:pt x="3601" y="371"/>
                    <a:pt x="3608" y="372"/>
                  </a:cubicBezTo>
                  <a:cubicBezTo>
                    <a:pt x="3613" y="372"/>
                    <a:pt x="3614" y="369"/>
                    <a:pt x="3612" y="366"/>
                  </a:cubicBezTo>
                  <a:cubicBezTo>
                    <a:pt x="3609" y="359"/>
                    <a:pt x="3608" y="353"/>
                    <a:pt x="3610" y="346"/>
                  </a:cubicBezTo>
                  <a:cubicBezTo>
                    <a:pt x="3610" y="344"/>
                    <a:pt x="3612" y="340"/>
                    <a:pt x="3613" y="340"/>
                  </a:cubicBezTo>
                  <a:cubicBezTo>
                    <a:pt x="3621" y="341"/>
                    <a:pt x="3621" y="334"/>
                    <a:pt x="3624" y="330"/>
                  </a:cubicBezTo>
                  <a:cubicBezTo>
                    <a:pt x="3627" y="327"/>
                    <a:pt x="3630" y="324"/>
                    <a:pt x="3636" y="324"/>
                  </a:cubicBezTo>
                  <a:cubicBezTo>
                    <a:pt x="3644" y="324"/>
                    <a:pt x="3645" y="322"/>
                    <a:pt x="3647" y="314"/>
                  </a:cubicBezTo>
                  <a:cubicBezTo>
                    <a:pt x="3649" y="309"/>
                    <a:pt x="3652" y="305"/>
                    <a:pt x="3655" y="301"/>
                  </a:cubicBezTo>
                  <a:cubicBezTo>
                    <a:pt x="3660" y="293"/>
                    <a:pt x="3661" y="292"/>
                    <a:pt x="3655" y="285"/>
                  </a:cubicBezTo>
                  <a:cubicBezTo>
                    <a:pt x="3651" y="280"/>
                    <a:pt x="3650" y="276"/>
                    <a:pt x="3653" y="270"/>
                  </a:cubicBezTo>
                  <a:cubicBezTo>
                    <a:pt x="3655" y="265"/>
                    <a:pt x="3655" y="259"/>
                    <a:pt x="3651" y="255"/>
                  </a:cubicBezTo>
                  <a:cubicBezTo>
                    <a:pt x="3650" y="253"/>
                    <a:pt x="3649" y="251"/>
                    <a:pt x="3649" y="250"/>
                  </a:cubicBezTo>
                  <a:cubicBezTo>
                    <a:pt x="3647" y="239"/>
                    <a:pt x="3645" y="229"/>
                    <a:pt x="3643" y="218"/>
                  </a:cubicBezTo>
                  <a:cubicBezTo>
                    <a:pt x="3642" y="213"/>
                    <a:pt x="3645" y="210"/>
                    <a:pt x="3650" y="208"/>
                  </a:cubicBezTo>
                  <a:cubicBezTo>
                    <a:pt x="3655" y="206"/>
                    <a:pt x="3660" y="203"/>
                    <a:pt x="3666" y="200"/>
                  </a:cubicBezTo>
                  <a:cubicBezTo>
                    <a:pt x="3668" y="199"/>
                    <a:pt x="3670" y="198"/>
                    <a:pt x="3672" y="198"/>
                  </a:cubicBezTo>
                  <a:cubicBezTo>
                    <a:pt x="3678" y="200"/>
                    <a:pt x="3681" y="195"/>
                    <a:pt x="3683" y="190"/>
                  </a:cubicBezTo>
                  <a:cubicBezTo>
                    <a:pt x="3685" y="184"/>
                    <a:pt x="3689" y="180"/>
                    <a:pt x="3696" y="179"/>
                  </a:cubicBezTo>
                  <a:cubicBezTo>
                    <a:pt x="3697" y="179"/>
                    <a:pt x="3699" y="179"/>
                    <a:pt x="3700" y="178"/>
                  </a:cubicBezTo>
                  <a:cubicBezTo>
                    <a:pt x="3713" y="169"/>
                    <a:pt x="3715" y="169"/>
                    <a:pt x="3731" y="166"/>
                  </a:cubicBezTo>
                  <a:cubicBezTo>
                    <a:pt x="3734" y="165"/>
                    <a:pt x="3736" y="162"/>
                    <a:pt x="3739" y="160"/>
                  </a:cubicBezTo>
                  <a:cubicBezTo>
                    <a:pt x="3743" y="158"/>
                    <a:pt x="3739" y="156"/>
                    <a:pt x="3739" y="153"/>
                  </a:cubicBezTo>
                  <a:cubicBezTo>
                    <a:pt x="3737" y="147"/>
                    <a:pt x="3742" y="138"/>
                    <a:pt x="3747" y="134"/>
                  </a:cubicBezTo>
                  <a:cubicBezTo>
                    <a:pt x="3750" y="132"/>
                    <a:pt x="3754" y="130"/>
                    <a:pt x="3756" y="128"/>
                  </a:cubicBezTo>
                  <a:cubicBezTo>
                    <a:pt x="3762" y="122"/>
                    <a:pt x="3768" y="120"/>
                    <a:pt x="3775" y="123"/>
                  </a:cubicBezTo>
                  <a:cubicBezTo>
                    <a:pt x="3779" y="125"/>
                    <a:pt x="3780" y="123"/>
                    <a:pt x="3780" y="121"/>
                  </a:cubicBezTo>
                  <a:cubicBezTo>
                    <a:pt x="3778" y="111"/>
                    <a:pt x="3784" y="99"/>
                    <a:pt x="3774" y="90"/>
                  </a:cubicBezTo>
                  <a:cubicBezTo>
                    <a:pt x="3774" y="89"/>
                    <a:pt x="3773" y="88"/>
                    <a:pt x="3773" y="87"/>
                  </a:cubicBezTo>
                  <a:cubicBezTo>
                    <a:pt x="3772" y="83"/>
                    <a:pt x="3771" y="79"/>
                    <a:pt x="3771" y="75"/>
                  </a:cubicBezTo>
                  <a:cubicBezTo>
                    <a:pt x="3771" y="65"/>
                    <a:pt x="3772" y="55"/>
                    <a:pt x="3780" y="47"/>
                  </a:cubicBezTo>
                  <a:cubicBezTo>
                    <a:pt x="3784" y="43"/>
                    <a:pt x="3788" y="38"/>
                    <a:pt x="3794" y="35"/>
                  </a:cubicBezTo>
                  <a:cubicBezTo>
                    <a:pt x="3796" y="34"/>
                    <a:pt x="3798" y="31"/>
                    <a:pt x="3798" y="29"/>
                  </a:cubicBezTo>
                  <a:cubicBezTo>
                    <a:pt x="3801" y="22"/>
                    <a:pt x="3807" y="19"/>
                    <a:pt x="3814" y="19"/>
                  </a:cubicBezTo>
                  <a:cubicBezTo>
                    <a:pt x="3819" y="19"/>
                    <a:pt x="3822" y="18"/>
                    <a:pt x="3825" y="15"/>
                  </a:cubicBezTo>
                  <a:cubicBezTo>
                    <a:pt x="3830" y="10"/>
                    <a:pt x="3836" y="9"/>
                    <a:pt x="3842" y="13"/>
                  </a:cubicBezTo>
                  <a:cubicBezTo>
                    <a:pt x="3847" y="17"/>
                    <a:pt x="3852" y="17"/>
                    <a:pt x="3857" y="15"/>
                  </a:cubicBezTo>
                  <a:cubicBezTo>
                    <a:pt x="3863" y="12"/>
                    <a:pt x="3869" y="14"/>
                    <a:pt x="3873" y="20"/>
                  </a:cubicBezTo>
                  <a:cubicBezTo>
                    <a:pt x="3874" y="21"/>
                    <a:pt x="3875" y="24"/>
                    <a:pt x="3877" y="20"/>
                  </a:cubicBezTo>
                  <a:cubicBezTo>
                    <a:pt x="3881" y="12"/>
                    <a:pt x="3891" y="8"/>
                    <a:pt x="3900" y="10"/>
                  </a:cubicBezTo>
                  <a:cubicBezTo>
                    <a:pt x="3904" y="11"/>
                    <a:pt x="3908" y="12"/>
                    <a:pt x="3911" y="13"/>
                  </a:cubicBezTo>
                  <a:cubicBezTo>
                    <a:pt x="3915" y="13"/>
                    <a:pt x="3918" y="13"/>
                    <a:pt x="3922" y="14"/>
                  </a:cubicBezTo>
                  <a:cubicBezTo>
                    <a:pt x="3931" y="15"/>
                    <a:pt x="3938" y="11"/>
                    <a:pt x="3945" y="6"/>
                  </a:cubicBezTo>
                  <a:cubicBezTo>
                    <a:pt x="3953" y="0"/>
                    <a:pt x="3961" y="6"/>
                    <a:pt x="3969" y="7"/>
                  </a:cubicBezTo>
                  <a:cubicBezTo>
                    <a:pt x="3970" y="8"/>
                    <a:pt x="3972" y="10"/>
                    <a:pt x="3971" y="12"/>
                  </a:cubicBezTo>
                  <a:cubicBezTo>
                    <a:pt x="3971" y="16"/>
                    <a:pt x="3970" y="20"/>
                    <a:pt x="3968" y="24"/>
                  </a:cubicBezTo>
                  <a:cubicBezTo>
                    <a:pt x="3968" y="27"/>
                    <a:pt x="3964" y="29"/>
                    <a:pt x="3964" y="31"/>
                  </a:cubicBezTo>
                  <a:cubicBezTo>
                    <a:pt x="3967" y="42"/>
                    <a:pt x="3958" y="50"/>
                    <a:pt x="3957" y="60"/>
                  </a:cubicBezTo>
                  <a:cubicBezTo>
                    <a:pt x="3956" y="64"/>
                    <a:pt x="3953" y="68"/>
                    <a:pt x="3952" y="72"/>
                  </a:cubicBezTo>
                  <a:cubicBezTo>
                    <a:pt x="3951" y="76"/>
                    <a:pt x="3951" y="80"/>
                    <a:pt x="3950" y="83"/>
                  </a:cubicBezTo>
                  <a:cubicBezTo>
                    <a:pt x="3949" y="87"/>
                    <a:pt x="3948" y="93"/>
                    <a:pt x="3945" y="95"/>
                  </a:cubicBezTo>
                  <a:cubicBezTo>
                    <a:pt x="3937" y="101"/>
                    <a:pt x="3935" y="109"/>
                    <a:pt x="3934" y="118"/>
                  </a:cubicBezTo>
                  <a:cubicBezTo>
                    <a:pt x="3933" y="123"/>
                    <a:pt x="3934" y="129"/>
                    <a:pt x="3938" y="133"/>
                  </a:cubicBezTo>
                  <a:cubicBezTo>
                    <a:pt x="3941" y="137"/>
                    <a:pt x="3942" y="141"/>
                    <a:pt x="3939" y="145"/>
                  </a:cubicBezTo>
                  <a:cubicBezTo>
                    <a:pt x="3938" y="147"/>
                    <a:pt x="3937" y="151"/>
                    <a:pt x="3938" y="153"/>
                  </a:cubicBezTo>
                  <a:cubicBezTo>
                    <a:pt x="3940" y="160"/>
                    <a:pt x="3940" y="167"/>
                    <a:pt x="3946" y="17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13" tIns="45656" rIns="91313" bIns="45656" numCol="1" anchor="t" anchorCtr="0" compatLnSpc="1">
              <a:prstTxWarp prst="textNoShape">
                <a:avLst/>
              </a:prstTxWarp>
            </a:bodyPr>
            <a:lstStyle/>
            <a:p>
              <a:endParaRPr lang="ru-RU" sz="1794"/>
            </a:p>
          </p:txBody>
        </p:sp>
        <p:sp>
          <p:nvSpPr>
            <p:cNvPr id="13" name="Внешняя граница">
              <a:extLst>
                <a:ext uri="{FF2B5EF4-FFF2-40B4-BE49-F238E27FC236}">
                  <a16:creationId xmlns:a16="http://schemas.microsoft.com/office/drawing/2014/main" id="{38549835-31C1-45E3-8A4E-CA78F51C3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4" y="1674"/>
              <a:ext cx="4570" cy="4631"/>
            </a:xfrm>
            <a:custGeom>
              <a:avLst/>
              <a:gdLst>
                <a:gd name="T0" fmla="*/ 709 w 4146"/>
                <a:gd name="T1" fmla="*/ 3421 h 4201"/>
                <a:gd name="T2" fmla="*/ 663 w 4146"/>
                <a:gd name="T3" fmla="*/ 2756 h 4201"/>
                <a:gd name="T4" fmla="*/ 385 w 4146"/>
                <a:gd name="T5" fmla="*/ 2913 h 4201"/>
                <a:gd name="T6" fmla="*/ 22 w 4146"/>
                <a:gd name="T7" fmla="*/ 2116 h 4201"/>
                <a:gd name="T8" fmla="*/ 829 w 4146"/>
                <a:gd name="T9" fmla="*/ 1991 h 4201"/>
                <a:gd name="T10" fmla="*/ 1229 w 4146"/>
                <a:gd name="T11" fmla="*/ 793 h 4201"/>
                <a:gd name="T12" fmla="*/ 2923 w 4146"/>
                <a:gd name="T13" fmla="*/ 766 h 4201"/>
                <a:gd name="T14" fmla="*/ 3557 w 4146"/>
                <a:gd name="T15" fmla="*/ 383 h 4201"/>
                <a:gd name="T16" fmla="*/ 3707 w 4146"/>
                <a:gd name="T17" fmla="*/ 201 h 4201"/>
                <a:gd name="T18" fmla="*/ 3975 w 4146"/>
                <a:gd name="T19" fmla="*/ 21 h 4201"/>
                <a:gd name="T20" fmla="*/ 4045 w 4146"/>
                <a:gd name="T21" fmla="*/ 284 h 4201"/>
                <a:gd name="T22" fmla="*/ 4041 w 4146"/>
                <a:gd name="T23" fmla="*/ 453 h 4201"/>
                <a:gd name="T24" fmla="*/ 4012 w 4146"/>
                <a:gd name="T25" fmla="*/ 605 h 4201"/>
                <a:gd name="T26" fmla="*/ 3848 w 4146"/>
                <a:gd name="T27" fmla="*/ 842 h 4201"/>
                <a:gd name="T28" fmla="*/ 3650 w 4146"/>
                <a:gd name="T29" fmla="*/ 980 h 4201"/>
                <a:gd name="T30" fmla="*/ 3450 w 4146"/>
                <a:gd name="T31" fmla="*/ 1313 h 4201"/>
                <a:gd name="T32" fmla="*/ 3241 w 4146"/>
                <a:gd name="T33" fmla="*/ 1453 h 4201"/>
                <a:gd name="T34" fmla="*/ 3084 w 4146"/>
                <a:gd name="T35" fmla="*/ 1719 h 4201"/>
                <a:gd name="T36" fmla="*/ 2894 w 4146"/>
                <a:gd name="T37" fmla="*/ 1754 h 4201"/>
                <a:gd name="T38" fmla="*/ 2812 w 4146"/>
                <a:gd name="T39" fmla="*/ 1967 h 4201"/>
                <a:gd name="T40" fmla="*/ 2828 w 4146"/>
                <a:gd name="T41" fmla="*/ 2215 h 4201"/>
                <a:gd name="T42" fmla="*/ 2773 w 4146"/>
                <a:gd name="T43" fmla="*/ 2740 h 4201"/>
                <a:gd name="T44" fmla="*/ 2774 w 4146"/>
                <a:gd name="T45" fmla="*/ 3102 h 4201"/>
                <a:gd name="T46" fmla="*/ 2322 w 4146"/>
                <a:gd name="T47" fmla="*/ 3273 h 4201"/>
                <a:gd name="T48" fmla="*/ 1949 w 4146"/>
                <a:gd name="T49" fmla="*/ 3471 h 4201"/>
                <a:gd name="T50" fmla="*/ 1386 w 4146"/>
                <a:gd name="T51" fmla="*/ 3535 h 4201"/>
                <a:gd name="T52" fmla="*/ 1276 w 4146"/>
                <a:gd name="T53" fmla="*/ 3820 h 4201"/>
                <a:gd name="T54" fmla="*/ 937 w 4146"/>
                <a:gd name="T55" fmla="*/ 3999 h 4201"/>
                <a:gd name="T56" fmla="*/ 833 w 4146"/>
                <a:gd name="T57" fmla="*/ 4174 h 4201"/>
                <a:gd name="T58" fmla="*/ 638 w 4146"/>
                <a:gd name="T59" fmla="*/ 3983 h 4201"/>
                <a:gd name="T60" fmla="*/ 822 w 4146"/>
                <a:gd name="T61" fmla="*/ 4124 h 4201"/>
                <a:gd name="T62" fmla="*/ 960 w 4146"/>
                <a:gd name="T63" fmla="*/ 3991 h 4201"/>
                <a:gd name="T64" fmla="*/ 1190 w 4146"/>
                <a:gd name="T65" fmla="*/ 3906 h 4201"/>
                <a:gd name="T66" fmla="*/ 1296 w 4146"/>
                <a:gd name="T67" fmla="*/ 3630 h 4201"/>
                <a:gd name="T68" fmla="*/ 1701 w 4146"/>
                <a:gd name="T69" fmla="*/ 3493 h 4201"/>
                <a:gd name="T70" fmla="*/ 2171 w 4146"/>
                <a:gd name="T71" fmla="*/ 3409 h 4201"/>
                <a:gd name="T72" fmla="*/ 2739 w 4146"/>
                <a:gd name="T73" fmla="*/ 3231 h 4201"/>
                <a:gd name="T74" fmla="*/ 2835 w 4146"/>
                <a:gd name="T75" fmla="*/ 2874 h 4201"/>
                <a:gd name="T76" fmla="*/ 2755 w 4146"/>
                <a:gd name="T77" fmla="*/ 2622 h 4201"/>
                <a:gd name="T78" fmla="*/ 2829 w 4146"/>
                <a:gd name="T79" fmla="*/ 2238 h 4201"/>
                <a:gd name="T80" fmla="*/ 2827 w 4146"/>
                <a:gd name="T81" fmla="*/ 1944 h 4201"/>
                <a:gd name="T82" fmla="*/ 2889 w 4146"/>
                <a:gd name="T83" fmla="*/ 1778 h 4201"/>
                <a:gd name="T84" fmla="*/ 2995 w 4146"/>
                <a:gd name="T85" fmla="*/ 1766 h 4201"/>
                <a:gd name="T86" fmla="*/ 3228 w 4146"/>
                <a:gd name="T87" fmla="*/ 1484 h 4201"/>
                <a:gd name="T88" fmla="*/ 3394 w 4146"/>
                <a:gd name="T89" fmla="*/ 1354 h 4201"/>
                <a:gd name="T90" fmla="*/ 3526 w 4146"/>
                <a:gd name="T91" fmla="*/ 1147 h 4201"/>
                <a:gd name="T92" fmla="*/ 3769 w 4146"/>
                <a:gd name="T93" fmla="*/ 921 h 4201"/>
                <a:gd name="T94" fmla="*/ 3917 w 4146"/>
                <a:gd name="T95" fmla="*/ 747 h 4201"/>
                <a:gd name="T96" fmla="*/ 4038 w 4146"/>
                <a:gd name="T97" fmla="*/ 569 h 4201"/>
                <a:gd name="T98" fmla="*/ 4055 w 4146"/>
                <a:gd name="T99" fmla="*/ 436 h 4201"/>
                <a:gd name="T100" fmla="*/ 4087 w 4146"/>
                <a:gd name="T101" fmla="*/ 262 h 4201"/>
                <a:gd name="T102" fmla="*/ 3983 w 4146"/>
                <a:gd name="T103" fmla="*/ 42 h 4201"/>
                <a:gd name="T104" fmla="*/ 3783 w 4146"/>
                <a:gd name="T105" fmla="*/ 123 h 4201"/>
                <a:gd name="T106" fmla="*/ 3646 w 4146"/>
                <a:gd name="T107" fmla="*/ 324 h 4201"/>
                <a:gd name="T108" fmla="*/ 3450 w 4146"/>
                <a:gd name="T109" fmla="*/ 479 h 4201"/>
                <a:gd name="T110" fmla="*/ 2927 w 4146"/>
                <a:gd name="T111" fmla="*/ 742 h 4201"/>
                <a:gd name="T112" fmla="*/ 1257 w 4146"/>
                <a:gd name="T113" fmla="*/ 774 h 4201"/>
                <a:gd name="T114" fmla="*/ 1004 w 4146"/>
                <a:gd name="T115" fmla="*/ 1838 h 4201"/>
                <a:gd name="T116" fmla="*/ 613 w 4146"/>
                <a:gd name="T117" fmla="*/ 2075 h 4201"/>
                <a:gd name="T118" fmla="*/ 422 w 4146"/>
                <a:gd name="T119" fmla="*/ 2585 h 4201"/>
                <a:gd name="T120" fmla="*/ 475 w 4146"/>
                <a:gd name="T121" fmla="*/ 2939 h 4201"/>
                <a:gd name="T122" fmla="*/ 785 w 4146"/>
                <a:gd name="T123" fmla="*/ 2983 h 4201"/>
                <a:gd name="T124" fmla="*/ 727 w 4146"/>
                <a:gd name="T125" fmla="*/ 3408 h 4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6" h="4201">
                  <a:moveTo>
                    <a:pt x="624" y="3928"/>
                  </a:moveTo>
                  <a:cubicBezTo>
                    <a:pt x="636" y="3928"/>
                    <a:pt x="636" y="3928"/>
                    <a:pt x="636" y="3928"/>
                  </a:cubicBezTo>
                  <a:cubicBezTo>
                    <a:pt x="636" y="3918"/>
                    <a:pt x="636" y="3907"/>
                    <a:pt x="636" y="3897"/>
                  </a:cubicBezTo>
                  <a:cubicBezTo>
                    <a:pt x="636" y="3891"/>
                    <a:pt x="636" y="3884"/>
                    <a:pt x="635" y="3877"/>
                  </a:cubicBezTo>
                  <a:cubicBezTo>
                    <a:pt x="634" y="3860"/>
                    <a:pt x="632" y="3844"/>
                    <a:pt x="630" y="3827"/>
                  </a:cubicBezTo>
                  <a:cubicBezTo>
                    <a:pt x="630" y="3827"/>
                    <a:pt x="630" y="3827"/>
                    <a:pt x="630" y="3827"/>
                  </a:cubicBezTo>
                  <a:cubicBezTo>
                    <a:pt x="630" y="3826"/>
                    <a:pt x="630" y="3824"/>
                    <a:pt x="630" y="3823"/>
                  </a:cubicBezTo>
                  <a:cubicBezTo>
                    <a:pt x="630" y="3818"/>
                    <a:pt x="631" y="3814"/>
                    <a:pt x="632" y="3808"/>
                  </a:cubicBezTo>
                  <a:cubicBezTo>
                    <a:pt x="633" y="3803"/>
                    <a:pt x="635" y="3798"/>
                    <a:pt x="637" y="3792"/>
                  </a:cubicBezTo>
                  <a:cubicBezTo>
                    <a:pt x="630" y="3790"/>
                    <a:pt x="630" y="3790"/>
                    <a:pt x="630" y="3790"/>
                  </a:cubicBezTo>
                  <a:cubicBezTo>
                    <a:pt x="636" y="3794"/>
                    <a:pt x="636" y="3794"/>
                    <a:pt x="636" y="3794"/>
                  </a:cubicBezTo>
                  <a:cubicBezTo>
                    <a:pt x="636" y="3794"/>
                    <a:pt x="636" y="3793"/>
                    <a:pt x="637" y="3792"/>
                  </a:cubicBezTo>
                  <a:cubicBezTo>
                    <a:pt x="630" y="3790"/>
                    <a:pt x="630" y="3790"/>
                    <a:pt x="630" y="3790"/>
                  </a:cubicBezTo>
                  <a:cubicBezTo>
                    <a:pt x="636" y="3794"/>
                    <a:pt x="636" y="3794"/>
                    <a:pt x="636" y="3794"/>
                  </a:cubicBezTo>
                  <a:cubicBezTo>
                    <a:pt x="633" y="3792"/>
                    <a:pt x="633" y="3792"/>
                    <a:pt x="633" y="3792"/>
                  </a:cubicBezTo>
                  <a:cubicBezTo>
                    <a:pt x="636" y="3794"/>
                    <a:pt x="636" y="3794"/>
                    <a:pt x="636" y="3794"/>
                  </a:cubicBezTo>
                  <a:cubicBezTo>
                    <a:pt x="636" y="3794"/>
                    <a:pt x="636" y="3794"/>
                    <a:pt x="636" y="3794"/>
                  </a:cubicBezTo>
                  <a:cubicBezTo>
                    <a:pt x="633" y="3792"/>
                    <a:pt x="633" y="3792"/>
                    <a:pt x="633" y="3792"/>
                  </a:cubicBezTo>
                  <a:cubicBezTo>
                    <a:pt x="636" y="3794"/>
                    <a:pt x="636" y="3794"/>
                    <a:pt x="636" y="3794"/>
                  </a:cubicBezTo>
                  <a:cubicBezTo>
                    <a:pt x="635" y="3794"/>
                    <a:pt x="635" y="3794"/>
                    <a:pt x="635" y="3794"/>
                  </a:cubicBezTo>
                  <a:cubicBezTo>
                    <a:pt x="636" y="3794"/>
                    <a:pt x="636" y="3794"/>
                    <a:pt x="636" y="3794"/>
                  </a:cubicBezTo>
                  <a:cubicBezTo>
                    <a:pt x="636" y="3794"/>
                    <a:pt x="636" y="3794"/>
                    <a:pt x="636" y="3794"/>
                  </a:cubicBezTo>
                  <a:cubicBezTo>
                    <a:pt x="635" y="3794"/>
                    <a:pt x="635" y="3794"/>
                    <a:pt x="635" y="3794"/>
                  </a:cubicBezTo>
                  <a:cubicBezTo>
                    <a:pt x="636" y="3794"/>
                    <a:pt x="636" y="3794"/>
                    <a:pt x="636" y="3794"/>
                  </a:cubicBezTo>
                  <a:cubicBezTo>
                    <a:pt x="636" y="3794"/>
                    <a:pt x="637" y="3793"/>
                    <a:pt x="638" y="3792"/>
                  </a:cubicBezTo>
                  <a:cubicBezTo>
                    <a:pt x="638" y="3792"/>
                    <a:pt x="638" y="3792"/>
                    <a:pt x="638" y="3792"/>
                  </a:cubicBezTo>
                  <a:cubicBezTo>
                    <a:pt x="652" y="3779"/>
                    <a:pt x="667" y="3766"/>
                    <a:pt x="682" y="3753"/>
                  </a:cubicBezTo>
                  <a:cubicBezTo>
                    <a:pt x="682" y="3753"/>
                    <a:pt x="682" y="3753"/>
                    <a:pt x="682" y="3753"/>
                  </a:cubicBezTo>
                  <a:cubicBezTo>
                    <a:pt x="684" y="3752"/>
                    <a:pt x="686" y="3749"/>
                    <a:pt x="687" y="3747"/>
                  </a:cubicBezTo>
                  <a:cubicBezTo>
                    <a:pt x="689" y="3744"/>
                    <a:pt x="690" y="3741"/>
                    <a:pt x="690" y="3737"/>
                  </a:cubicBezTo>
                  <a:cubicBezTo>
                    <a:pt x="690" y="3734"/>
                    <a:pt x="689" y="3731"/>
                    <a:pt x="688" y="3728"/>
                  </a:cubicBezTo>
                  <a:cubicBezTo>
                    <a:pt x="687" y="3726"/>
                    <a:pt x="685" y="3724"/>
                    <a:pt x="684" y="3722"/>
                  </a:cubicBezTo>
                  <a:cubicBezTo>
                    <a:pt x="684" y="3722"/>
                    <a:pt x="684" y="3722"/>
                    <a:pt x="684" y="3722"/>
                  </a:cubicBezTo>
                  <a:cubicBezTo>
                    <a:pt x="681" y="3719"/>
                    <a:pt x="679" y="3716"/>
                    <a:pt x="676" y="3715"/>
                  </a:cubicBezTo>
                  <a:cubicBezTo>
                    <a:pt x="672" y="3712"/>
                    <a:pt x="668" y="3710"/>
                    <a:pt x="664" y="3710"/>
                  </a:cubicBezTo>
                  <a:cubicBezTo>
                    <a:pt x="660" y="3709"/>
                    <a:pt x="657" y="3708"/>
                    <a:pt x="654" y="3708"/>
                  </a:cubicBezTo>
                  <a:cubicBezTo>
                    <a:pt x="654" y="3708"/>
                    <a:pt x="654" y="3708"/>
                    <a:pt x="654" y="3708"/>
                  </a:cubicBezTo>
                  <a:cubicBezTo>
                    <a:pt x="649" y="3707"/>
                    <a:pt x="644" y="3706"/>
                    <a:pt x="640" y="3706"/>
                  </a:cubicBezTo>
                  <a:cubicBezTo>
                    <a:pt x="640" y="3706"/>
                    <a:pt x="640" y="3706"/>
                    <a:pt x="640" y="3706"/>
                  </a:cubicBezTo>
                  <a:cubicBezTo>
                    <a:pt x="639" y="3705"/>
                    <a:pt x="639" y="3705"/>
                    <a:pt x="639" y="3705"/>
                  </a:cubicBezTo>
                  <a:cubicBezTo>
                    <a:pt x="639" y="3705"/>
                    <a:pt x="639" y="3705"/>
                    <a:pt x="639" y="3705"/>
                  </a:cubicBezTo>
                  <a:cubicBezTo>
                    <a:pt x="637" y="3710"/>
                    <a:pt x="637" y="3710"/>
                    <a:pt x="637" y="3710"/>
                  </a:cubicBezTo>
                  <a:cubicBezTo>
                    <a:pt x="641" y="3707"/>
                    <a:pt x="641" y="3707"/>
                    <a:pt x="641" y="3707"/>
                  </a:cubicBezTo>
                  <a:cubicBezTo>
                    <a:pt x="640" y="3706"/>
                    <a:pt x="639" y="3705"/>
                    <a:pt x="639" y="3705"/>
                  </a:cubicBezTo>
                  <a:cubicBezTo>
                    <a:pt x="637" y="3710"/>
                    <a:pt x="637" y="3710"/>
                    <a:pt x="637" y="3710"/>
                  </a:cubicBezTo>
                  <a:cubicBezTo>
                    <a:pt x="641" y="3707"/>
                    <a:pt x="641" y="3707"/>
                    <a:pt x="641" y="3707"/>
                  </a:cubicBezTo>
                  <a:cubicBezTo>
                    <a:pt x="636" y="3711"/>
                    <a:pt x="636" y="3711"/>
                    <a:pt x="636" y="3711"/>
                  </a:cubicBezTo>
                  <a:cubicBezTo>
                    <a:pt x="642" y="3711"/>
                    <a:pt x="642" y="3711"/>
                    <a:pt x="642" y="3711"/>
                  </a:cubicBezTo>
                  <a:cubicBezTo>
                    <a:pt x="642" y="3710"/>
                    <a:pt x="642" y="3708"/>
                    <a:pt x="641" y="3707"/>
                  </a:cubicBezTo>
                  <a:cubicBezTo>
                    <a:pt x="636" y="3711"/>
                    <a:pt x="636" y="3711"/>
                    <a:pt x="636" y="3711"/>
                  </a:cubicBezTo>
                  <a:cubicBezTo>
                    <a:pt x="642" y="3711"/>
                    <a:pt x="642" y="3711"/>
                    <a:pt x="642" y="3711"/>
                  </a:cubicBezTo>
                  <a:cubicBezTo>
                    <a:pt x="639" y="3711"/>
                    <a:pt x="639" y="3711"/>
                    <a:pt x="639" y="3711"/>
                  </a:cubicBezTo>
                  <a:cubicBezTo>
                    <a:pt x="642" y="3712"/>
                    <a:pt x="642" y="3712"/>
                    <a:pt x="642" y="3712"/>
                  </a:cubicBezTo>
                  <a:cubicBezTo>
                    <a:pt x="642" y="3712"/>
                    <a:pt x="642" y="3711"/>
                    <a:pt x="642" y="3711"/>
                  </a:cubicBezTo>
                  <a:cubicBezTo>
                    <a:pt x="639" y="3711"/>
                    <a:pt x="639" y="3711"/>
                    <a:pt x="639" y="3711"/>
                  </a:cubicBezTo>
                  <a:cubicBezTo>
                    <a:pt x="642" y="3712"/>
                    <a:pt x="642" y="3712"/>
                    <a:pt x="642" y="3712"/>
                  </a:cubicBezTo>
                  <a:cubicBezTo>
                    <a:pt x="642" y="3712"/>
                    <a:pt x="642" y="3712"/>
                    <a:pt x="642" y="3712"/>
                  </a:cubicBezTo>
                  <a:cubicBezTo>
                    <a:pt x="642" y="3711"/>
                    <a:pt x="642" y="3711"/>
                    <a:pt x="642" y="3711"/>
                  </a:cubicBezTo>
                  <a:cubicBezTo>
                    <a:pt x="642" y="3711"/>
                    <a:pt x="642" y="3711"/>
                    <a:pt x="642" y="3711"/>
                  </a:cubicBezTo>
                  <a:cubicBezTo>
                    <a:pt x="636" y="3708"/>
                    <a:pt x="636" y="3708"/>
                    <a:pt x="636" y="3708"/>
                  </a:cubicBezTo>
                  <a:cubicBezTo>
                    <a:pt x="642" y="3712"/>
                    <a:pt x="642" y="3712"/>
                    <a:pt x="642" y="3712"/>
                  </a:cubicBezTo>
                  <a:cubicBezTo>
                    <a:pt x="642" y="3712"/>
                    <a:pt x="642" y="3712"/>
                    <a:pt x="642" y="3711"/>
                  </a:cubicBezTo>
                  <a:cubicBezTo>
                    <a:pt x="636" y="3708"/>
                    <a:pt x="636" y="3708"/>
                    <a:pt x="636" y="3708"/>
                  </a:cubicBezTo>
                  <a:cubicBezTo>
                    <a:pt x="642" y="3712"/>
                    <a:pt x="642" y="3712"/>
                    <a:pt x="642" y="3712"/>
                  </a:cubicBezTo>
                  <a:cubicBezTo>
                    <a:pt x="639" y="3710"/>
                    <a:pt x="639" y="3710"/>
                    <a:pt x="639" y="3710"/>
                  </a:cubicBezTo>
                  <a:cubicBezTo>
                    <a:pt x="642" y="3712"/>
                    <a:pt x="642" y="3712"/>
                    <a:pt x="642" y="3712"/>
                  </a:cubicBezTo>
                  <a:cubicBezTo>
                    <a:pt x="642" y="3712"/>
                    <a:pt x="642" y="3712"/>
                    <a:pt x="642" y="3712"/>
                  </a:cubicBezTo>
                  <a:cubicBezTo>
                    <a:pt x="639" y="3710"/>
                    <a:pt x="639" y="3710"/>
                    <a:pt x="639" y="3710"/>
                  </a:cubicBezTo>
                  <a:cubicBezTo>
                    <a:pt x="642" y="3712"/>
                    <a:pt x="642" y="3712"/>
                    <a:pt x="642" y="3712"/>
                  </a:cubicBezTo>
                  <a:cubicBezTo>
                    <a:pt x="642" y="3712"/>
                    <a:pt x="642" y="3712"/>
                    <a:pt x="642" y="3712"/>
                  </a:cubicBezTo>
                  <a:cubicBezTo>
                    <a:pt x="642" y="3712"/>
                    <a:pt x="643" y="3711"/>
                    <a:pt x="644" y="3710"/>
                  </a:cubicBezTo>
                  <a:cubicBezTo>
                    <a:pt x="644" y="3710"/>
                    <a:pt x="644" y="3710"/>
                    <a:pt x="644" y="3710"/>
                  </a:cubicBezTo>
                  <a:cubicBezTo>
                    <a:pt x="645" y="3708"/>
                    <a:pt x="646" y="3707"/>
                    <a:pt x="647" y="3705"/>
                  </a:cubicBezTo>
                  <a:cubicBezTo>
                    <a:pt x="647" y="3704"/>
                    <a:pt x="648" y="3703"/>
                    <a:pt x="648" y="3701"/>
                  </a:cubicBezTo>
                  <a:cubicBezTo>
                    <a:pt x="649" y="3700"/>
                    <a:pt x="649" y="3698"/>
                    <a:pt x="649" y="3697"/>
                  </a:cubicBezTo>
                  <a:cubicBezTo>
                    <a:pt x="649" y="3694"/>
                    <a:pt x="648" y="3692"/>
                    <a:pt x="647" y="3690"/>
                  </a:cubicBezTo>
                  <a:cubicBezTo>
                    <a:pt x="646" y="3688"/>
                    <a:pt x="645" y="3687"/>
                    <a:pt x="644" y="3686"/>
                  </a:cubicBezTo>
                  <a:cubicBezTo>
                    <a:pt x="643" y="3684"/>
                    <a:pt x="642" y="3683"/>
                    <a:pt x="640" y="3683"/>
                  </a:cubicBezTo>
                  <a:cubicBezTo>
                    <a:pt x="639" y="3682"/>
                    <a:pt x="638" y="3681"/>
                    <a:pt x="637" y="3680"/>
                  </a:cubicBezTo>
                  <a:cubicBezTo>
                    <a:pt x="637" y="3680"/>
                    <a:pt x="637" y="3680"/>
                    <a:pt x="637" y="3680"/>
                  </a:cubicBezTo>
                  <a:cubicBezTo>
                    <a:pt x="636" y="3680"/>
                    <a:pt x="635" y="3680"/>
                    <a:pt x="635" y="3680"/>
                  </a:cubicBezTo>
                  <a:cubicBezTo>
                    <a:pt x="635" y="3679"/>
                    <a:pt x="635" y="3679"/>
                    <a:pt x="635" y="3679"/>
                  </a:cubicBezTo>
                  <a:cubicBezTo>
                    <a:pt x="635" y="3680"/>
                    <a:pt x="635" y="3680"/>
                    <a:pt x="635" y="3680"/>
                  </a:cubicBezTo>
                  <a:cubicBezTo>
                    <a:pt x="635" y="3679"/>
                    <a:pt x="635" y="3679"/>
                    <a:pt x="635" y="3679"/>
                  </a:cubicBezTo>
                  <a:cubicBezTo>
                    <a:pt x="635" y="3679"/>
                    <a:pt x="635" y="3679"/>
                    <a:pt x="635" y="3679"/>
                  </a:cubicBezTo>
                  <a:cubicBezTo>
                    <a:pt x="635" y="3680"/>
                    <a:pt x="635" y="3680"/>
                    <a:pt x="635" y="3680"/>
                  </a:cubicBezTo>
                  <a:cubicBezTo>
                    <a:pt x="635" y="3679"/>
                    <a:pt x="635" y="3679"/>
                    <a:pt x="635" y="3679"/>
                  </a:cubicBezTo>
                  <a:cubicBezTo>
                    <a:pt x="633" y="3681"/>
                    <a:pt x="633" y="3681"/>
                    <a:pt x="633" y="3681"/>
                  </a:cubicBezTo>
                  <a:cubicBezTo>
                    <a:pt x="636" y="3680"/>
                    <a:pt x="636" y="3680"/>
                    <a:pt x="636" y="3680"/>
                  </a:cubicBezTo>
                  <a:cubicBezTo>
                    <a:pt x="636" y="3680"/>
                    <a:pt x="635" y="3680"/>
                    <a:pt x="635" y="3679"/>
                  </a:cubicBezTo>
                  <a:cubicBezTo>
                    <a:pt x="633" y="3681"/>
                    <a:pt x="633" y="3681"/>
                    <a:pt x="633" y="3681"/>
                  </a:cubicBezTo>
                  <a:cubicBezTo>
                    <a:pt x="636" y="3680"/>
                    <a:pt x="636" y="3680"/>
                    <a:pt x="636" y="3680"/>
                  </a:cubicBezTo>
                  <a:cubicBezTo>
                    <a:pt x="634" y="3681"/>
                    <a:pt x="634" y="3681"/>
                    <a:pt x="634" y="3681"/>
                  </a:cubicBezTo>
                  <a:cubicBezTo>
                    <a:pt x="636" y="3681"/>
                    <a:pt x="636" y="3681"/>
                    <a:pt x="636" y="3681"/>
                  </a:cubicBezTo>
                  <a:cubicBezTo>
                    <a:pt x="636" y="3681"/>
                    <a:pt x="636" y="3681"/>
                    <a:pt x="636" y="3680"/>
                  </a:cubicBezTo>
                  <a:cubicBezTo>
                    <a:pt x="634" y="3681"/>
                    <a:pt x="634" y="3681"/>
                    <a:pt x="634" y="3681"/>
                  </a:cubicBezTo>
                  <a:cubicBezTo>
                    <a:pt x="636" y="3681"/>
                    <a:pt x="636" y="3681"/>
                    <a:pt x="636" y="3681"/>
                  </a:cubicBezTo>
                  <a:cubicBezTo>
                    <a:pt x="636" y="3681"/>
                    <a:pt x="636" y="3681"/>
                    <a:pt x="636" y="3680"/>
                  </a:cubicBezTo>
                  <a:cubicBezTo>
                    <a:pt x="636" y="3680"/>
                    <a:pt x="636" y="3680"/>
                    <a:pt x="636" y="3680"/>
                  </a:cubicBezTo>
                  <a:cubicBezTo>
                    <a:pt x="636" y="3679"/>
                    <a:pt x="636" y="3678"/>
                    <a:pt x="637" y="3677"/>
                  </a:cubicBezTo>
                  <a:cubicBezTo>
                    <a:pt x="637" y="3676"/>
                    <a:pt x="637" y="3675"/>
                    <a:pt x="637" y="3673"/>
                  </a:cubicBezTo>
                  <a:cubicBezTo>
                    <a:pt x="637" y="3672"/>
                    <a:pt x="637" y="3671"/>
                    <a:pt x="637" y="3669"/>
                  </a:cubicBezTo>
                  <a:cubicBezTo>
                    <a:pt x="636" y="3668"/>
                    <a:pt x="636" y="3666"/>
                    <a:pt x="635" y="3665"/>
                  </a:cubicBezTo>
                  <a:cubicBezTo>
                    <a:pt x="635" y="3665"/>
                    <a:pt x="635" y="3665"/>
                    <a:pt x="635" y="3665"/>
                  </a:cubicBezTo>
                  <a:cubicBezTo>
                    <a:pt x="635" y="3664"/>
                    <a:pt x="635" y="3664"/>
                    <a:pt x="635" y="3664"/>
                  </a:cubicBezTo>
                  <a:cubicBezTo>
                    <a:pt x="635" y="3664"/>
                    <a:pt x="635" y="3664"/>
                    <a:pt x="635" y="3664"/>
                  </a:cubicBezTo>
                  <a:cubicBezTo>
                    <a:pt x="632" y="3665"/>
                    <a:pt x="632" y="3665"/>
                    <a:pt x="632" y="3665"/>
                  </a:cubicBezTo>
                  <a:cubicBezTo>
                    <a:pt x="635" y="3665"/>
                    <a:pt x="635" y="3665"/>
                    <a:pt x="635" y="3665"/>
                  </a:cubicBezTo>
                  <a:cubicBezTo>
                    <a:pt x="635" y="3665"/>
                    <a:pt x="635" y="3664"/>
                    <a:pt x="635" y="3664"/>
                  </a:cubicBezTo>
                  <a:cubicBezTo>
                    <a:pt x="632" y="3665"/>
                    <a:pt x="632" y="3665"/>
                    <a:pt x="632" y="3665"/>
                  </a:cubicBezTo>
                  <a:cubicBezTo>
                    <a:pt x="635" y="3665"/>
                    <a:pt x="635" y="3665"/>
                    <a:pt x="635" y="3665"/>
                  </a:cubicBezTo>
                  <a:cubicBezTo>
                    <a:pt x="631" y="3665"/>
                    <a:pt x="631" y="3665"/>
                    <a:pt x="631" y="3665"/>
                  </a:cubicBezTo>
                  <a:cubicBezTo>
                    <a:pt x="635" y="3666"/>
                    <a:pt x="635" y="3666"/>
                    <a:pt x="635" y="3666"/>
                  </a:cubicBezTo>
                  <a:cubicBezTo>
                    <a:pt x="635" y="3666"/>
                    <a:pt x="635" y="3666"/>
                    <a:pt x="635" y="3665"/>
                  </a:cubicBezTo>
                  <a:cubicBezTo>
                    <a:pt x="631" y="3665"/>
                    <a:pt x="631" y="3665"/>
                    <a:pt x="631" y="3665"/>
                  </a:cubicBezTo>
                  <a:cubicBezTo>
                    <a:pt x="635" y="3666"/>
                    <a:pt x="635" y="3666"/>
                    <a:pt x="635" y="3666"/>
                  </a:cubicBezTo>
                  <a:cubicBezTo>
                    <a:pt x="632" y="3665"/>
                    <a:pt x="632" y="3665"/>
                    <a:pt x="632" y="3665"/>
                  </a:cubicBezTo>
                  <a:cubicBezTo>
                    <a:pt x="634" y="3667"/>
                    <a:pt x="634" y="3667"/>
                    <a:pt x="634" y="3667"/>
                  </a:cubicBezTo>
                  <a:cubicBezTo>
                    <a:pt x="635" y="3666"/>
                    <a:pt x="635" y="3666"/>
                    <a:pt x="635" y="3666"/>
                  </a:cubicBezTo>
                  <a:cubicBezTo>
                    <a:pt x="632" y="3665"/>
                    <a:pt x="632" y="3665"/>
                    <a:pt x="632" y="3665"/>
                  </a:cubicBezTo>
                  <a:cubicBezTo>
                    <a:pt x="634" y="3667"/>
                    <a:pt x="634" y="3667"/>
                    <a:pt x="634" y="3667"/>
                  </a:cubicBezTo>
                  <a:cubicBezTo>
                    <a:pt x="633" y="3666"/>
                    <a:pt x="633" y="3666"/>
                    <a:pt x="633" y="3666"/>
                  </a:cubicBezTo>
                  <a:cubicBezTo>
                    <a:pt x="634" y="3667"/>
                    <a:pt x="634" y="3667"/>
                    <a:pt x="634" y="3667"/>
                  </a:cubicBezTo>
                  <a:cubicBezTo>
                    <a:pt x="634" y="3667"/>
                    <a:pt x="634" y="3667"/>
                    <a:pt x="634" y="3667"/>
                  </a:cubicBezTo>
                  <a:cubicBezTo>
                    <a:pt x="633" y="3666"/>
                    <a:pt x="633" y="3666"/>
                    <a:pt x="633" y="3666"/>
                  </a:cubicBezTo>
                  <a:cubicBezTo>
                    <a:pt x="634" y="3667"/>
                    <a:pt x="634" y="3667"/>
                    <a:pt x="634" y="3667"/>
                  </a:cubicBezTo>
                  <a:cubicBezTo>
                    <a:pt x="634" y="3667"/>
                    <a:pt x="634" y="3667"/>
                    <a:pt x="634" y="3667"/>
                  </a:cubicBezTo>
                  <a:cubicBezTo>
                    <a:pt x="634" y="3667"/>
                    <a:pt x="635" y="3666"/>
                    <a:pt x="636" y="3666"/>
                  </a:cubicBezTo>
                  <a:cubicBezTo>
                    <a:pt x="636" y="3666"/>
                    <a:pt x="636" y="3666"/>
                    <a:pt x="636" y="3666"/>
                  </a:cubicBezTo>
                  <a:cubicBezTo>
                    <a:pt x="639" y="3664"/>
                    <a:pt x="642" y="3661"/>
                    <a:pt x="643" y="3657"/>
                  </a:cubicBezTo>
                  <a:cubicBezTo>
                    <a:pt x="645" y="3654"/>
                    <a:pt x="645" y="3650"/>
                    <a:pt x="645" y="3647"/>
                  </a:cubicBezTo>
                  <a:cubicBezTo>
                    <a:pt x="645" y="3645"/>
                    <a:pt x="645" y="3642"/>
                    <a:pt x="644" y="3640"/>
                  </a:cubicBezTo>
                  <a:cubicBezTo>
                    <a:pt x="644" y="3640"/>
                    <a:pt x="644" y="3640"/>
                    <a:pt x="644" y="3640"/>
                  </a:cubicBezTo>
                  <a:cubicBezTo>
                    <a:pt x="644" y="3640"/>
                    <a:pt x="644" y="3640"/>
                    <a:pt x="644" y="3640"/>
                  </a:cubicBezTo>
                  <a:cubicBezTo>
                    <a:pt x="637" y="3611"/>
                    <a:pt x="631" y="3581"/>
                    <a:pt x="623" y="3552"/>
                  </a:cubicBezTo>
                  <a:cubicBezTo>
                    <a:pt x="622" y="3548"/>
                    <a:pt x="621" y="3544"/>
                    <a:pt x="621" y="3540"/>
                  </a:cubicBezTo>
                  <a:cubicBezTo>
                    <a:pt x="621" y="3532"/>
                    <a:pt x="623" y="3524"/>
                    <a:pt x="624" y="3515"/>
                  </a:cubicBezTo>
                  <a:cubicBezTo>
                    <a:pt x="624" y="3515"/>
                    <a:pt x="624" y="3515"/>
                    <a:pt x="624" y="3515"/>
                  </a:cubicBezTo>
                  <a:cubicBezTo>
                    <a:pt x="626" y="3499"/>
                    <a:pt x="630" y="3483"/>
                    <a:pt x="632" y="3467"/>
                  </a:cubicBezTo>
                  <a:cubicBezTo>
                    <a:pt x="632" y="3467"/>
                    <a:pt x="632" y="3467"/>
                    <a:pt x="632" y="3467"/>
                  </a:cubicBezTo>
                  <a:cubicBezTo>
                    <a:pt x="632" y="3466"/>
                    <a:pt x="632" y="3465"/>
                    <a:pt x="632" y="3465"/>
                  </a:cubicBezTo>
                  <a:cubicBezTo>
                    <a:pt x="632" y="3464"/>
                    <a:pt x="632" y="3464"/>
                    <a:pt x="633" y="3464"/>
                  </a:cubicBezTo>
                  <a:cubicBezTo>
                    <a:pt x="633" y="3463"/>
                    <a:pt x="634" y="3463"/>
                    <a:pt x="635" y="3462"/>
                  </a:cubicBezTo>
                  <a:cubicBezTo>
                    <a:pt x="636" y="3462"/>
                    <a:pt x="636" y="3462"/>
                    <a:pt x="636" y="3462"/>
                  </a:cubicBezTo>
                  <a:cubicBezTo>
                    <a:pt x="635" y="3462"/>
                    <a:pt x="635" y="3462"/>
                    <a:pt x="635" y="3462"/>
                  </a:cubicBezTo>
                  <a:cubicBezTo>
                    <a:pt x="653" y="3453"/>
                    <a:pt x="671" y="3443"/>
                    <a:pt x="689" y="3434"/>
                  </a:cubicBezTo>
                  <a:cubicBezTo>
                    <a:pt x="689" y="3434"/>
                    <a:pt x="689" y="3434"/>
                    <a:pt x="689" y="3434"/>
                  </a:cubicBezTo>
                  <a:cubicBezTo>
                    <a:pt x="696" y="3430"/>
                    <a:pt x="703" y="3427"/>
                    <a:pt x="710" y="3422"/>
                  </a:cubicBezTo>
                  <a:cubicBezTo>
                    <a:pt x="710" y="3422"/>
                    <a:pt x="710" y="3422"/>
                    <a:pt x="710" y="3422"/>
                  </a:cubicBezTo>
                  <a:cubicBezTo>
                    <a:pt x="711" y="3422"/>
                    <a:pt x="711" y="3422"/>
                    <a:pt x="712" y="3421"/>
                  </a:cubicBezTo>
                  <a:cubicBezTo>
                    <a:pt x="712" y="3421"/>
                    <a:pt x="712" y="3421"/>
                    <a:pt x="712" y="3421"/>
                  </a:cubicBezTo>
                  <a:cubicBezTo>
                    <a:pt x="712" y="3421"/>
                    <a:pt x="712" y="3421"/>
                    <a:pt x="712" y="3421"/>
                  </a:cubicBezTo>
                  <a:cubicBezTo>
                    <a:pt x="711" y="3419"/>
                    <a:pt x="711" y="3419"/>
                    <a:pt x="711" y="3419"/>
                  </a:cubicBezTo>
                  <a:cubicBezTo>
                    <a:pt x="711" y="3421"/>
                    <a:pt x="711" y="3421"/>
                    <a:pt x="711" y="3421"/>
                  </a:cubicBezTo>
                  <a:cubicBezTo>
                    <a:pt x="712" y="3421"/>
                    <a:pt x="712" y="3421"/>
                    <a:pt x="712" y="3421"/>
                  </a:cubicBezTo>
                  <a:cubicBezTo>
                    <a:pt x="711" y="3419"/>
                    <a:pt x="711" y="3419"/>
                    <a:pt x="711" y="3419"/>
                  </a:cubicBezTo>
                  <a:cubicBezTo>
                    <a:pt x="711" y="3421"/>
                    <a:pt x="711" y="3421"/>
                    <a:pt x="711" y="3421"/>
                  </a:cubicBezTo>
                  <a:cubicBezTo>
                    <a:pt x="711" y="3417"/>
                    <a:pt x="711" y="3417"/>
                    <a:pt x="711" y="3417"/>
                  </a:cubicBezTo>
                  <a:cubicBezTo>
                    <a:pt x="709" y="3421"/>
                    <a:pt x="709" y="3421"/>
                    <a:pt x="709" y="3421"/>
                  </a:cubicBezTo>
                  <a:cubicBezTo>
                    <a:pt x="710" y="3421"/>
                    <a:pt x="711" y="3421"/>
                    <a:pt x="711" y="3421"/>
                  </a:cubicBezTo>
                  <a:cubicBezTo>
                    <a:pt x="711" y="3417"/>
                    <a:pt x="711" y="3417"/>
                    <a:pt x="711" y="3417"/>
                  </a:cubicBezTo>
                  <a:cubicBezTo>
                    <a:pt x="709" y="3421"/>
                    <a:pt x="709" y="3421"/>
                    <a:pt x="709" y="3421"/>
                  </a:cubicBezTo>
                  <a:cubicBezTo>
                    <a:pt x="711" y="3419"/>
                    <a:pt x="711" y="3419"/>
                    <a:pt x="711" y="3419"/>
                  </a:cubicBezTo>
                  <a:cubicBezTo>
                    <a:pt x="709" y="3421"/>
                    <a:pt x="709" y="3421"/>
                    <a:pt x="709" y="3421"/>
                  </a:cubicBezTo>
                  <a:cubicBezTo>
                    <a:pt x="709" y="3421"/>
                    <a:pt x="709" y="3421"/>
                    <a:pt x="709" y="3421"/>
                  </a:cubicBezTo>
                  <a:cubicBezTo>
                    <a:pt x="711" y="3419"/>
                    <a:pt x="711" y="3419"/>
                    <a:pt x="711" y="3419"/>
                  </a:cubicBezTo>
                  <a:cubicBezTo>
                    <a:pt x="709" y="3421"/>
                    <a:pt x="709" y="3421"/>
                    <a:pt x="709" y="3421"/>
                  </a:cubicBezTo>
                  <a:cubicBezTo>
                    <a:pt x="709" y="3420"/>
                    <a:pt x="709" y="3420"/>
                    <a:pt x="709" y="3420"/>
                  </a:cubicBezTo>
                  <a:cubicBezTo>
                    <a:pt x="709" y="3421"/>
                    <a:pt x="709" y="3421"/>
                    <a:pt x="709" y="3421"/>
                  </a:cubicBezTo>
                  <a:cubicBezTo>
                    <a:pt x="709" y="3421"/>
                    <a:pt x="709" y="3421"/>
                    <a:pt x="709" y="3421"/>
                  </a:cubicBezTo>
                  <a:cubicBezTo>
                    <a:pt x="709" y="3420"/>
                    <a:pt x="709" y="3420"/>
                    <a:pt x="709" y="3420"/>
                  </a:cubicBezTo>
                  <a:cubicBezTo>
                    <a:pt x="709" y="3421"/>
                    <a:pt x="709" y="3421"/>
                    <a:pt x="709" y="3421"/>
                  </a:cubicBezTo>
                  <a:cubicBezTo>
                    <a:pt x="709" y="3421"/>
                    <a:pt x="709" y="3421"/>
                    <a:pt x="709" y="3421"/>
                  </a:cubicBezTo>
                  <a:cubicBezTo>
                    <a:pt x="709" y="3421"/>
                    <a:pt x="709" y="3421"/>
                    <a:pt x="709" y="3421"/>
                  </a:cubicBezTo>
                  <a:cubicBezTo>
                    <a:pt x="709" y="3421"/>
                    <a:pt x="709" y="3421"/>
                    <a:pt x="709" y="3421"/>
                  </a:cubicBezTo>
                  <a:cubicBezTo>
                    <a:pt x="710" y="3422"/>
                    <a:pt x="712" y="3424"/>
                    <a:pt x="714" y="3426"/>
                  </a:cubicBezTo>
                  <a:cubicBezTo>
                    <a:pt x="715" y="3426"/>
                    <a:pt x="716" y="3427"/>
                    <a:pt x="718" y="3428"/>
                  </a:cubicBezTo>
                  <a:cubicBezTo>
                    <a:pt x="719" y="3428"/>
                    <a:pt x="721" y="3428"/>
                    <a:pt x="722" y="3428"/>
                  </a:cubicBezTo>
                  <a:cubicBezTo>
                    <a:pt x="724" y="3428"/>
                    <a:pt x="726" y="3428"/>
                    <a:pt x="727" y="3427"/>
                  </a:cubicBezTo>
                  <a:cubicBezTo>
                    <a:pt x="729" y="3427"/>
                    <a:pt x="731" y="3426"/>
                    <a:pt x="732" y="3425"/>
                  </a:cubicBezTo>
                  <a:cubicBezTo>
                    <a:pt x="733" y="3424"/>
                    <a:pt x="734" y="3423"/>
                    <a:pt x="735" y="3423"/>
                  </a:cubicBezTo>
                  <a:cubicBezTo>
                    <a:pt x="735" y="3423"/>
                    <a:pt x="735" y="3423"/>
                    <a:pt x="735" y="3423"/>
                  </a:cubicBezTo>
                  <a:cubicBezTo>
                    <a:pt x="738" y="3420"/>
                    <a:pt x="743" y="3416"/>
                    <a:pt x="747" y="3411"/>
                  </a:cubicBezTo>
                  <a:cubicBezTo>
                    <a:pt x="747" y="3411"/>
                    <a:pt x="747" y="3411"/>
                    <a:pt x="747" y="3411"/>
                  </a:cubicBezTo>
                  <a:cubicBezTo>
                    <a:pt x="749" y="3409"/>
                    <a:pt x="751" y="3408"/>
                    <a:pt x="752" y="3408"/>
                  </a:cubicBezTo>
                  <a:cubicBezTo>
                    <a:pt x="754" y="3407"/>
                    <a:pt x="755" y="3407"/>
                    <a:pt x="757" y="3407"/>
                  </a:cubicBezTo>
                  <a:cubicBezTo>
                    <a:pt x="758" y="3407"/>
                    <a:pt x="760" y="3407"/>
                    <a:pt x="762" y="3408"/>
                  </a:cubicBezTo>
                  <a:cubicBezTo>
                    <a:pt x="762" y="3408"/>
                    <a:pt x="762" y="3408"/>
                    <a:pt x="762" y="3408"/>
                  </a:cubicBezTo>
                  <a:cubicBezTo>
                    <a:pt x="762" y="3408"/>
                    <a:pt x="762" y="3408"/>
                    <a:pt x="762" y="3408"/>
                  </a:cubicBezTo>
                  <a:cubicBezTo>
                    <a:pt x="767" y="3409"/>
                    <a:pt x="773" y="3410"/>
                    <a:pt x="778" y="3411"/>
                  </a:cubicBezTo>
                  <a:cubicBezTo>
                    <a:pt x="778" y="3411"/>
                    <a:pt x="778" y="3411"/>
                    <a:pt x="778" y="3411"/>
                  </a:cubicBezTo>
                  <a:cubicBezTo>
                    <a:pt x="779" y="3412"/>
                    <a:pt x="781" y="3412"/>
                    <a:pt x="783" y="3412"/>
                  </a:cubicBezTo>
                  <a:cubicBezTo>
                    <a:pt x="784" y="3412"/>
                    <a:pt x="786" y="3412"/>
                    <a:pt x="789" y="3411"/>
                  </a:cubicBezTo>
                  <a:cubicBezTo>
                    <a:pt x="790" y="3410"/>
                    <a:pt x="792" y="3409"/>
                    <a:pt x="793" y="3408"/>
                  </a:cubicBezTo>
                  <a:cubicBezTo>
                    <a:pt x="795" y="3406"/>
                    <a:pt x="797" y="3404"/>
                    <a:pt x="797" y="3402"/>
                  </a:cubicBezTo>
                  <a:cubicBezTo>
                    <a:pt x="798" y="3400"/>
                    <a:pt x="799" y="3399"/>
                    <a:pt x="799" y="3397"/>
                  </a:cubicBezTo>
                  <a:cubicBezTo>
                    <a:pt x="799" y="3397"/>
                    <a:pt x="799" y="3397"/>
                    <a:pt x="799" y="3397"/>
                  </a:cubicBezTo>
                  <a:cubicBezTo>
                    <a:pt x="801" y="3383"/>
                    <a:pt x="804" y="3368"/>
                    <a:pt x="807" y="3354"/>
                  </a:cubicBezTo>
                  <a:cubicBezTo>
                    <a:pt x="807" y="3354"/>
                    <a:pt x="807" y="3354"/>
                    <a:pt x="807" y="3354"/>
                  </a:cubicBezTo>
                  <a:cubicBezTo>
                    <a:pt x="814" y="3320"/>
                    <a:pt x="821" y="3287"/>
                    <a:pt x="828" y="3253"/>
                  </a:cubicBezTo>
                  <a:cubicBezTo>
                    <a:pt x="828" y="3253"/>
                    <a:pt x="828" y="3253"/>
                    <a:pt x="828" y="3253"/>
                  </a:cubicBezTo>
                  <a:cubicBezTo>
                    <a:pt x="829" y="3246"/>
                    <a:pt x="830" y="3239"/>
                    <a:pt x="831" y="3233"/>
                  </a:cubicBezTo>
                  <a:cubicBezTo>
                    <a:pt x="831" y="3233"/>
                    <a:pt x="831" y="3233"/>
                    <a:pt x="831" y="3233"/>
                  </a:cubicBezTo>
                  <a:cubicBezTo>
                    <a:pt x="831" y="3233"/>
                    <a:pt x="831" y="3233"/>
                    <a:pt x="831" y="3233"/>
                  </a:cubicBezTo>
                  <a:cubicBezTo>
                    <a:pt x="831" y="3232"/>
                    <a:pt x="831" y="3231"/>
                    <a:pt x="831" y="3230"/>
                  </a:cubicBezTo>
                  <a:cubicBezTo>
                    <a:pt x="831" y="3229"/>
                    <a:pt x="831" y="3227"/>
                    <a:pt x="830" y="3225"/>
                  </a:cubicBezTo>
                  <a:cubicBezTo>
                    <a:pt x="830" y="3223"/>
                    <a:pt x="829" y="3222"/>
                    <a:pt x="828" y="3221"/>
                  </a:cubicBezTo>
                  <a:cubicBezTo>
                    <a:pt x="826" y="3218"/>
                    <a:pt x="824" y="3217"/>
                    <a:pt x="822" y="3216"/>
                  </a:cubicBezTo>
                  <a:cubicBezTo>
                    <a:pt x="820" y="3215"/>
                    <a:pt x="818" y="3214"/>
                    <a:pt x="816" y="3214"/>
                  </a:cubicBezTo>
                  <a:cubicBezTo>
                    <a:pt x="816" y="3214"/>
                    <a:pt x="816" y="3214"/>
                    <a:pt x="816" y="3214"/>
                  </a:cubicBezTo>
                  <a:cubicBezTo>
                    <a:pt x="816" y="3214"/>
                    <a:pt x="816" y="3214"/>
                    <a:pt x="816" y="3214"/>
                  </a:cubicBezTo>
                  <a:cubicBezTo>
                    <a:pt x="801" y="3211"/>
                    <a:pt x="785" y="3208"/>
                    <a:pt x="769" y="3205"/>
                  </a:cubicBezTo>
                  <a:cubicBezTo>
                    <a:pt x="769" y="3205"/>
                    <a:pt x="769" y="3205"/>
                    <a:pt x="769" y="3205"/>
                  </a:cubicBezTo>
                  <a:cubicBezTo>
                    <a:pt x="759" y="3203"/>
                    <a:pt x="750" y="3201"/>
                    <a:pt x="741" y="3199"/>
                  </a:cubicBezTo>
                  <a:cubicBezTo>
                    <a:pt x="740" y="3199"/>
                    <a:pt x="739" y="3199"/>
                    <a:pt x="739" y="3199"/>
                  </a:cubicBezTo>
                  <a:cubicBezTo>
                    <a:pt x="739" y="3198"/>
                    <a:pt x="739" y="3198"/>
                    <a:pt x="739" y="3198"/>
                  </a:cubicBezTo>
                  <a:cubicBezTo>
                    <a:pt x="738" y="3199"/>
                    <a:pt x="738" y="3199"/>
                    <a:pt x="738" y="3199"/>
                  </a:cubicBezTo>
                  <a:cubicBezTo>
                    <a:pt x="739" y="3198"/>
                    <a:pt x="739" y="3198"/>
                    <a:pt x="739" y="3198"/>
                  </a:cubicBezTo>
                  <a:cubicBezTo>
                    <a:pt x="739" y="3198"/>
                    <a:pt x="739" y="3198"/>
                    <a:pt x="739" y="3198"/>
                  </a:cubicBezTo>
                  <a:cubicBezTo>
                    <a:pt x="738" y="3199"/>
                    <a:pt x="738" y="3199"/>
                    <a:pt x="738" y="3199"/>
                  </a:cubicBezTo>
                  <a:cubicBezTo>
                    <a:pt x="739" y="3198"/>
                    <a:pt x="739" y="3198"/>
                    <a:pt x="739" y="3198"/>
                  </a:cubicBezTo>
                  <a:cubicBezTo>
                    <a:pt x="736" y="3203"/>
                    <a:pt x="736" y="3203"/>
                    <a:pt x="736" y="3203"/>
                  </a:cubicBezTo>
                  <a:cubicBezTo>
                    <a:pt x="740" y="3199"/>
                    <a:pt x="740" y="3199"/>
                    <a:pt x="740" y="3199"/>
                  </a:cubicBezTo>
                  <a:cubicBezTo>
                    <a:pt x="739" y="3199"/>
                    <a:pt x="739" y="3199"/>
                    <a:pt x="739" y="3198"/>
                  </a:cubicBezTo>
                  <a:cubicBezTo>
                    <a:pt x="736" y="3203"/>
                    <a:pt x="736" y="3203"/>
                    <a:pt x="736" y="3203"/>
                  </a:cubicBezTo>
                  <a:cubicBezTo>
                    <a:pt x="740" y="3199"/>
                    <a:pt x="740" y="3199"/>
                    <a:pt x="740" y="3199"/>
                  </a:cubicBezTo>
                  <a:cubicBezTo>
                    <a:pt x="735" y="3205"/>
                    <a:pt x="735" y="3205"/>
                    <a:pt x="735" y="3205"/>
                  </a:cubicBezTo>
                  <a:cubicBezTo>
                    <a:pt x="742" y="3203"/>
                    <a:pt x="742" y="3203"/>
                    <a:pt x="742" y="3203"/>
                  </a:cubicBezTo>
                  <a:cubicBezTo>
                    <a:pt x="742" y="3201"/>
                    <a:pt x="741" y="3200"/>
                    <a:pt x="740" y="3199"/>
                  </a:cubicBezTo>
                  <a:cubicBezTo>
                    <a:pt x="735" y="3205"/>
                    <a:pt x="735" y="3205"/>
                    <a:pt x="735" y="3205"/>
                  </a:cubicBezTo>
                  <a:cubicBezTo>
                    <a:pt x="742" y="3203"/>
                    <a:pt x="742" y="3203"/>
                    <a:pt x="742" y="3203"/>
                  </a:cubicBezTo>
                  <a:cubicBezTo>
                    <a:pt x="737" y="3204"/>
                    <a:pt x="737" y="3204"/>
                    <a:pt x="737" y="3204"/>
                  </a:cubicBezTo>
                  <a:cubicBezTo>
                    <a:pt x="742" y="3204"/>
                    <a:pt x="742" y="3204"/>
                    <a:pt x="742" y="3204"/>
                  </a:cubicBezTo>
                  <a:cubicBezTo>
                    <a:pt x="742" y="3203"/>
                    <a:pt x="742" y="3203"/>
                    <a:pt x="742" y="3203"/>
                  </a:cubicBezTo>
                  <a:cubicBezTo>
                    <a:pt x="737" y="3204"/>
                    <a:pt x="737" y="3204"/>
                    <a:pt x="737" y="3204"/>
                  </a:cubicBezTo>
                  <a:cubicBezTo>
                    <a:pt x="742" y="3204"/>
                    <a:pt x="742" y="3204"/>
                    <a:pt x="742" y="3204"/>
                  </a:cubicBezTo>
                  <a:cubicBezTo>
                    <a:pt x="740" y="3204"/>
                    <a:pt x="740" y="3204"/>
                    <a:pt x="740" y="3204"/>
                  </a:cubicBezTo>
                  <a:cubicBezTo>
                    <a:pt x="742" y="3204"/>
                    <a:pt x="742" y="3204"/>
                    <a:pt x="742" y="3204"/>
                  </a:cubicBezTo>
                  <a:cubicBezTo>
                    <a:pt x="742" y="3204"/>
                    <a:pt x="742" y="3204"/>
                    <a:pt x="742" y="3204"/>
                  </a:cubicBezTo>
                  <a:cubicBezTo>
                    <a:pt x="740" y="3204"/>
                    <a:pt x="740" y="3204"/>
                    <a:pt x="740" y="3204"/>
                  </a:cubicBezTo>
                  <a:cubicBezTo>
                    <a:pt x="742" y="3204"/>
                    <a:pt x="742" y="3204"/>
                    <a:pt x="742" y="3204"/>
                  </a:cubicBezTo>
                  <a:cubicBezTo>
                    <a:pt x="742" y="3204"/>
                    <a:pt x="742" y="3204"/>
                    <a:pt x="742" y="3204"/>
                  </a:cubicBezTo>
                  <a:cubicBezTo>
                    <a:pt x="742" y="3204"/>
                    <a:pt x="742" y="3203"/>
                    <a:pt x="743" y="3202"/>
                  </a:cubicBezTo>
                  <a:cubicBezTo>
                    <a:pt x="744" y="3192"/>
                    <a:pt x="746" y="3182"/>
                    <a:pt x="748" y="3172"/>
                  </a:cubicBezTo>
                  <a:cubicBezTo>
                    <a:pt x="757" y="3127"/>
                    <a:pt x="766" y="3081"/>
                    <a:pt x="775" y="3036"/>
                  </a:cubicBezTo>
                  <a:cubicBezTo>
                    <a:pt x="776" y="3030"/>
                    <a:pt x="777" y="3024"/>
                    <a:pt x="779" y="3017"/>
                  </a:cubicBezTo>
                  <a:cubicBezTo>
                    <a:pt x="779" y="3017"/>
                    <a:pt x="779" y="3017"/>
                    <a:pt x="779" y="3017"/>
                  </a:cubicBezTo>
                  <a:cubicBezTo>
                    <a:pt x="774" y="3016"/>
                    <a:pt x="774" y="3016"/>
                    <a:pt x="774" y="3016"/>
                  </a:cubicBezTo>
                  <a:cubicBezTo>
                    <a:pt x="778" y="3019"/>
                    <a:pt x="778" y="3019"/>
                    <a:pt x="778" y="3019"/>
                  </a:cubicBezTo>
                  <a:cubicBezTo>
                    <a:pt x="778" y="3019"/>
                    <a:pt x="779" y="3017"/>
                    <a:pt x="779" y="3017"/>
                  </a:cubicBezTo>
                  <a:cubicBezTo>
                    <a:pt x="774" y="3016"/>
                    <a:pt x="774" y="3016"/>
                    <a:pt x="774" y="3016"/>
                  </a:cubicBezTo>
                  <a:cubicBezTo>
                    <a:pt x="778" y="3019"/>
                    <a:pt x="778" y="3019"/>
                    <a:pt x="778" y="3019"/>
                  </a:cubicBezTo>
                  <a:cubicBezTo>
                    <a:pt x="774" y="3016"/>
                    <a:pt x="774" y="3016"/>
                    <a:pt x="774" y="3016"/>
                  </a:cubicBezTo>
                  <a:cubicBezTo>
                    <a:pt x="777" y="3020"/>
                    <a:pt x="777" y="3020"/>
                    <a:pt x="777" y="3020"/>
                  </a:cubicBezTo>
                  <a:cubicBezTo>
                    <a:pt x="778" y="3019"/>
                    <a:pt x="778" y="3019"/>
                    <a:pt x="778" y="3019"/>
                  </a:cubicBezTo>
                  <a:cubicBezTo>
                    <a:pt x="774" y="3016"/>
                    <a:pt x="774" y="3016"/>
                    <a:pt x="774" y="3016"/>
                  </a:cubicBezTo>
                  <a:cubicBezTo>
                    <a:pt x="777" y="3020"/>
                    <a:pt x="777" y="3020"/>
                    <a:pt x="777" y="3020"/>
                  </a:cubicBezTo>
                  <a:cubicBezTo>
                    <a:pt x="776" y="3018"/>
                    <a:pt x="776" y="3018"/>
                    <a:pt x="776" y="3018"/>
                  </a:cubicBezTo>
                  <a:cubicBezTo>
                    <a:pt x="777" y="3020"/>
                    <a:pt x="777" y="3020"/>
                    <a:pt x="777" y="3020"/>
                  </a:cubicBezTo>
                  <a:cubicBezTo>
                    <a:pt x="777" y="3020"/>
                    <a:pt x="777" y="3020"/>
                    <a:pt x="777" y="3020"/>
                  </a:cubicBezTo>
                  <a:cubicBezTo>
                    <a:pt x="776" y="3018"/>
                    <a:pt x="776" y="3018"/>
                    <a:pt x="776" y="3018"/>
                  </a:cubicBezTo>
                  <a:cubicBezTo>
                    <a:pt x="777" y="3020"/>
                    <a:pt x="777" y="3020"/>
                    <a:pt x="777" y="3020"/>
                  </a:cubicBezTo>
                  <a:cubicBezTo>
                    <a:pt x="777" y="3019"/>
                    <a:pt x="777" y="3019"/>
                    <a:pt x="777" y="3019"/>
                  </a:cubicBezTo>
                  <a:cubicBezTo>
                    <a:pt x="777" y="3020"/>
                    <a:pt x="777" y="3020"/>
                    <a:pt x="777" y="3020"/>
                  </a:cubicBezTo>
                  <a:cubicBezTo>
                    <a:pt x="777" y="3020"/>
                    <a:pt x="777" y="3020"/>
                    <a:pt x="777" y="3020"/>
                  </a:cubicBezTo>
                  <a:cubicBezTo>
                    <a:pt x="777" y="3019"/>
                    <a:pt x="777" y="3019"/>
                    <a:pt x="777" y="3019"/>
                  </a:cubicBezTo>
                  <a:cubicBezTo>
                    <a:pt x="777" y="3020"/>
                    <a:pt x="777" y="3020"/>
                    <a:pt x="777" y="3020"/>
                  </a:cubicBezTo>
                  <a:cubicBezTo>
                    <a:pt x="777" y="3020"/>
                    <a:pt x="777" y="3020"/>
                    <a:pt x="778" y="3019"/>
                  </a:cubicBezTo>
                  <a:cubicBezTo>
                    <a:pt x="778" y="3019"/>
                    <a:pt x="779" y="3019"/>
                    <a:pt x="781" y="3018"/>
                  </a:cubicBezTo>
                  <a:cubicBezTo>
                    <a:pt x="782" y="3017"/>
                    <a:pt x="784" y="3015"/>
                    <a:pt x="786" y="3013"/>
                  </a:cubicBezTo>
                  <a:cubicBezTo>
                    <a:pt x="786" y="3013"/>
                    <a:pt x="786" y="3013"/>
                    <a:pt x="786" y="3013"/>
                  </a:cubicBezTo>
                  <a:cubicBezTo>
                    <a:pt x="788" y="3011"/>
                    <a:pt x="788" y="3009"/>
                    <a:pt x="789" y="3008"/>
                  </a:cubicBezTo>
                  <a:cubicBezTo>
                    <a:pt x="790" y="3005"/>
                    <a:pt x="791" y="3004"/>
                    <a:pt x="791" y="3002"/>
                  </a:cubicBezTo>
                  <a:cubicBezTo>
                    <a:pt x="791" y="3002"/>
                    <a:pt x="792" y="3001"/>
                    <a:pt x="792" y="3001"/>
                  </a:cubicBezTo>
                  <a:cubicBezTo>
                    <a:pt x="792" y="3001"/>
                    <a:pt x="792" y="3001"/>
                    <a:pt x="792" y="3001"/>
                  </a:cubicBezTo>
                  <a:cubicBezTo>
                    <a:pt x="792" y="3001"/>
                    <a:pt x="792" y="3001"/>
                    <a:pt x="792" y="3001"/>
                  </a:cubicBezTo>
                  <a:cubicBezTo>
                    <a:pt x="791" y="3000"/>
                    <a:pt x="791" y="3000"/>
                    <a:pt x="791" y="3000"/>
                  </a:cubicBezTo>
                  <a:cubicBezTo>
                    <a:pt x="792" y="3001"/>
                    <a:pt x="792" y="3001"/>
                    <a:pt x="792" y="3001"/>
                  </a:cubicBezTo>
                  <a:cubicBezTo>
                    <a:pt x="792" y="3001"/>
                    <a:pt x="792" y="3001"/>
                    <a:pt x="792" y="3001"/>
                  </a:cubicBezTo>
                  <a:cubicBezTo>
                    <a:pt x="791" y="3000"/>
                    <a:pt x="791" y="3000"/>
                    <a:pt x="791" y="3000"/>
                  </a:cubicBezTo>
                  <a:cubicBezTo>
                    <a:pt x="792" y="3001"/>
                    <a:pt x="792" y="3001"/>
                    <a:pt x="792" y="3001"/>
                  </a:cubicBezTo>
                  <a:cubicBezTo>
                    <a:pt x="792" y="3001"/>
                    <a:pt x="792" y="3001"/>
                    <a:pt x="792" y="3001"/>
                  </a:cubicBezTo>
                  <a:cubicBezTo>
                    <a:pt x="784" y="2996"/>
                    <a:pt x="784" y="2996"/>
                    <a:pt x="784" y="2996"/>
                  </a:cubicBezTo>
                  <a:cubicBezTo>
                    <a:pt x="789" y="3004"/>
                    <a:pt x="789" y="3004"/>
                    <a:pt x="789" y="3004"/>
                  </a:cubicBezTo>
                  <a:cubicBezTo>
                    <a:pt x="789" y="3003"/>
                    <a:pt x="790" y="3003"/>
                    <a:pt x="792" y="3001"/>
                  </a:cubicBezTo>
                  <a:cubicBezTo>
                    <a:pt x="784" y="2996"/>
                    <a:pt x="784" y="2996"/>
                    <a:pt x="784" y="2996"/>
                  </a:cubicBezTo>
                  <a:cubicBezTo>
                    <a:pt x="789" y="3004"/>
                    <a:pt x="789" y="3004"/>
                    <a:pt x="789" y="3004"/>
                  </a:cubicBezTo>
                  <a:cubicBezTo>
                    <a:pt x="786" y="2999"/>
                    <a:pt x="786" y="2999"/>
                    <a:pt x="786" y="2999"/>
                  </a:cubicBezTo>
                  <a:cubicBezTo>
                    <a:pt x="787" y="3004"/>
                    <a:pt x="787" y="3004"/>
                    <a:pt x="787" y="3004"/>
                  </a:cubicBezTo>
                  <a:cubicBezTo>
                    <a:pt x="788" y="3004"/>
                    <a:pt x="788" y="3004"/>
                    <a:pt x="789" y="3004"/>
                  </a:cubicBezTo>
                  <a:cubicBezTo>
                    <a:pt x="786" y="2999"/>
                    <a:pt x="786" y="2999"/>
                    <a:pt x="786" y="2999"/>
                  </a:cubicBezTo>
                  <a:cubicBezTo>
                    <a:pt x="787" y="3004"/>
                    <a:pt x="787" y="3004"/>
                    <a:pt x="787" y="3004"/>
                  </a:cubicBezTo>
                  <a:cubicBezTo>
                    <a:pt x="787" y="3002"/>
                    <a:pt x="787" y="3002"/>
                    <a:pt x="787" y="3002"/>
                  </a:cubicBezTo>
                  <a:cubicBezTo>
                    <a:pt x="787" y="3004"/>
                    <a:pt x="787" y="3004"/>
                    <a:pt x="787" y="3004"/>
                  </a:cubicBezTo>
                  <a:cubicBezTo>
                    <a:pt x="787" y="3004"/>
                    <a:pt x="787" y="3004"/>
                    <a:pt x="787" y="3004"/>
                  </a:cubicBezTo>
                  <a:cubicBezTo>
                    <a:pt x="787" y="3002"/>
                    <a:pt x="787" y="3002"/>
                    <a:pt x="787" y="3002"/>
                  </a:cubicBezTo>
                  <a:cubicBezTo>
                    <a:pt x="787" y="3004"/>
                    <a:pt x="787" y="3004"/>
                    <a:pt x="787" y="3004"/>
                  </a:cubicBezTo>
                  <a:cubicBezTo>
                    <a:pt x="787" y="3004"/>
                    <a:pt x="787" y="3004"/>
                    <a:pt x="787" y="3004"/>
                  </a:cubicBezTo>
                  <a:cubicBezTo>
                    <a:pt x="788" y="3004"/>
                    <a:pt x="788" y="3004"/>
                    <a:pt x="788" y="3004"/>
                  </a:cubicBezTo>
                  <a:cubicBezTo>
                    <a:pt x="788" y="3004"/>
                    <a:pt x="788" y="3004"/>
                    <a:pt x="788" y="3004"/>
                  </a:cubicBezTo>
                  <a:cubicBezTo>
                    <a:pt x="788" y="3004"/>
                    <a:pt x="788" y="3004"/>
                    <a:pt x="788" y="3004"/>
                  </a:cubicBezTo>
                  <a:cubicBezTo>
                    <a:pt x="789" y="3004"/>
                    <a:pt x="789" y="3004"/>
                    <a:pt x="790" y="3004"/>
                  </a:cubicBezTo>
                  <a:cubicBezTo>
                    <a:pt x="792" y="3004"/>
                    <a:pt x="794" y="3004"/>
                    <a:pt x="797" y="3003"/>
                  </a:cubicBezTo>
                  <a:cubicBezTo>
                    <a:pt x="799" y="3003"/>
                    <a:pt x="801" y="3002"/>
                    <a:pt x="802" y="3000"/>
                  </a:cubicBezTo>
                  <a:cubicBezTo>
                    <a:pt x="804" y="2998"/>
                    <a:pt x="806" y="2996"/>
                    <a:pt x="807" y="2994"/>
                  </a:cubicBezTo>
                  <a:cubicBezTo>
                    <a:pt x="808" y="2991"/>
                    <a:pt x="809" y="2989"/>
                    <a:pt x="809" y="2987"/>
                  </a:cubicBezTo>
                  <a:cubicBezTo>
                    <a:pt x="809" y="2987"/>
                    <a:pt x="809" y="2987"/>
                    <a:pt x="809" y="2987"/>
                  </a:cubicBezTo>
                  <a:cubicBezTo>
                    <a:pt x="813" y="2970"/>
                    <a:pt x="817" y="2952"/>
                    <a:pt x="820" y="2934"/>
                  </a:cubicBezTo>
                  <a:cubicBezTo>
                    <a:pt x="820" y="2934"/>
                    <a:pt x="820" y="2934"/>
                    <a:pt x="820" y="2934"/>
                  </a:cubicBezTo>
                  <a:cubicBezTo>
                    <a:pt x="827" y="2900"/>
                    <a:pt x="833" y="2867"/>
                    <a:pt x="839" y="2833"/>
                  </a:cubicBezTo>
                  <a:cubicBezTo>
                    <a:pt x="841" y="2825"/>
                    <a:pt x="842" y="2817"/>
                    <a:pt x="843" y="2810"/>
                  </a:cubicBezTo>
                  <a:cubicBezTo>
                    <a:pt x="843" y="2810"/>
                    <a:pt x="843" y="2810"/>
                    <a:pt x="843" y="2810"/>
                  </a:cubicBezTo>
                  <a:cubicBezTo>
                    <a:pt x="847" y="2791"/>
                    <a:pt x="851" y="2771"/>
                    <a:pt x="856" y="2752"/>
                  </a:cubicBezTo>
                  <a:cubicBezTo>
                    <a:pt x="856" y="2752"/>
                    <a:pt x="856" y="2752"/>
                    <a:pt x="856" y="2752"/>
                  </a:cubicBezTo>
                  <a:cubicBezTo>
                    <a:pt x="856" y="2749"/>
                    <a:pt x="857" y="2747"/>
                    <a:pt x="857" y="2745"/>
                  </a:cubicBezTo>
                  <a:cubicBezTo>
                    <a:pt x="857" y="2745"/>
                    <a:pt x="857" y="2745"/>
                    <a:pt x="857" y="2745"/>
                  </a:cubicBezTo>
                  <a:cubicBezTo>
                    <a:pt x="857" y="2744"/>
                    <a:pt x="857" y="2743"/>
                    <a:pt x="857" y="2741"/>
                  </a:cubicBezTo>
                  <a:cubicBezTo>
                    <a:pt x="857" y="2739"/>
                    <a:pt x="857" y="2737"/>
                    <a:pt x="856" y="2735"/>
                  </a:cubicBezTo>
                  <a:cubicBezTo>
                    <a:pt x="856" y="2733"/>
                    <a:pt x="855" y="2732"/>
                    <a:pt x="853" y="2730"/>
                  </a:cubicBezTo>
                  <a:cubicBezTo>
                    <a:pt x="852" y="2728"/>
                    <a:pt x="850" y="2727"/>
                    <a:pt x="848" y="2726"/>
                  </a:cubicBezTo>
                  <a:cubicBezTo>
                    <a:pt x="846" y="2725"/>
                    <a:pt x="844" y="2725"/>
                    <a:pt x="843" y="2725"/>
                  </a:cubicBezTo>
                  <a:cubicBezTo>
                    <a:pt x="843" y="2725"/>
                    <a:pt x="843" y="2725"/>
                    <a:pt x="843" y="2725"/>
                  </a:cubicBezTo>
                  <a:cubicBezTo>
                    <a:pt x="826" y="2721"/>
                    <a:pt x="809" y="2717"/>
                    <a:pt x="792" y="2714"/>
                  </a:cubicBezTo>
                  <a:cubicBezTo>
                    <a:pt x="792" y="2714"/>
                    <a:pt x="792" y="2714"/>
                    <a:pt x="792" y="2714"/>
                  </a:cubicBezTo>
                  <a:cubicBezTo>
                    <a:pt x="760" y="2707"/>
                    <a:pt x="728" y="2701"/>
                    <a:pt x="696" y="2695"/>
                  </a:cubicBezTo>
                  <a:cubicBezTo>
                    <a:pt x="694" y="2694"/>
                    <a:pt x="693" y="2694"/>
                    <a:pt x="691" y="2694"/>
                  </a:cubicBezTo>
                  <a:cubicBezTo>
                    <a:pt x="690" y="2694"/>
                    <a:pt x="688" y="2693"/>
                    <a:pt x="686" y="2693"/>
                  </a:cubicBezTo>
                  <a:cubicBezTo>
                    <a:pt x="685" y="2693"/>
                    <a:pt x="684" y="2693"/>
                    <a:pt x="683" y="2694"/>
                  </a:cubicBezTo>
                  <a:cubicBezTo>
                    <a:pt x="681" y="2694"/>
                    <a:pt x="678" y="2695"/>
                    <a:pt x="676" y="2697"/>
                  </a:cubicBezTo>
                  <a:cubicBezTo>
                    <a:pt x="674" y="2699"/>
                    <a:pt x="673" y="2700"/>
                    <a:pt x="672" y="2702"/>
                  </a:cubicBezTo>
                  <a:cubicBezTo>
                    <a:pt x="671" y="2704"/>
                    <a:pt x="671" y="2705"/>
                    <a:pt x="671" y="2707"/>
                  </a:cubicBezTo>
                  <a:cubicBezTo>
                    <a:pt x="670" y="2708"/>
                    <a:pt x="670" y="2710"/>
                    <a:pt x="670" y="2711"/>
                  </a:cubicBezTo>
                  <a:cubicBezTo>
                    <a:pt x="670" y="2711"/>
                    <a:pt x="670" y="2711"/>
                    <a:pt x="670" y="2711"/>
                  </a:cubicBezTo>
                  <a:cubicBezTo>
                    <a:pt x="667" y="2725"/>
                    <a:pt x="664" y="2738"/>
                    <a:pt x="662" y="2752"/>
                  </a:cubicBezTo>
                  <a:cubicBezTo>
                    <a:pt x="662" y="2752"/>
                    <a:pt x="662" y="2752"/>
                    <a:pt x="662" y="2752"/>
                  </a:cubicBezTo>
                  <a:cubicBezTo>
                    <a:pt x="661" y="2754"/>
                    <a:pt x="661" y="2755"/>
                    <a:pt x="661" y="2756"/>
                  </a:cubicBezTo>
                  <a:cubicBezTo>
                    <a:pt x="661" y="2756"/>
                    <a:pt x="661" y="2756"/>
                    <a:pt x="661" y="2756"/>
                  </a:cubicBezTo>
                  <a:cubicBezTo>
                    <a:pt x="660" y="2757"/>
                    <a:pt x="660" y="2758"/>
                    <a:pt x="660" y="2759"/>
                  </a:cubicBezTo>
                  <a:cubicBezTo>
                    <a:pt x="660" y="2759"/>
                    <a:pt x="660" y="2759"/>
                    <a:pt x="660" y="2759"/>
                  </a:cubicBezTo>
                  <a:cubicBezTo>
                    <a:pt x="664" y="2761"/>
                    <a:pt x="664" y="2761"/>
                    <a:pt x="664" y="2761"/>
                  </a:cubicBezTo>
                  <a:cubicBezTo>
                    <a:pt x="660" y="2758"/>
                    <a:pt x="660" y="2758"/>
                    <a:pt x="660" y="2758"/>
                  </a:cubicBezTo>
                  <a:cubicBezTo>
                    <a:pt x="660" y="2759"/>
                    <a:pt x="660" y="2759"/>
                    <a:pt x="660" y="2759"/>
                  </a:cubicBezTo>
                  <a:cubicBezTo>
                    <a:pt x="664" y="2761"/>
                    <a:pt x="664" y="2761"/>
                    <a:pt x="664" y="2761"/>
                  </a:cubicBezTo>
                  <a:cubicBezTo>
                    <a:pt x="660" y="2758"/>
                    <a:pt x="660" y="2758"/>
                    <a:pt x="660" y="2758"/>
                  </a:cubicBezTo>
                  <a:cubicBezTo>
                    <a:pt x="666" y="2763"/>
                    <a:pt x="666" y="2763"/>
                    <a:pt x="666" y="2763"/>
                  </a:cubicBezTo>
                  <a:cubicBezTo>
                    <a:pt x="663" y="2756"/>
                    <a:pt x="663" y="2756"/>
                    <a:pt x="663" y="2756"/>
                  </a:cubicBezTo>
                  <a:cubicBezTo>
                    <a:pt x="662" y="2756"/>
                    <a:pt x="661" y="2757"/>
                    <a:pt x="660" y="2758"/>
                  </a:cubicBezTo>
                  <a:cubicBezTo>
                    <a:pt x="666" y="2763"/>
                    <a:pt x="666" y="2763"/>
                    <a:pt x="666" y="2763"/>
                  </a:cubicBezTo>
                  <a:cubicBezTo>
                    <a:pt x="663" y="2756"/>
                    <a:pt x="663" y="2756"/>
                    <a:pt x="663" y="2756"/>
                  </a:cubicBezTo>
                  <a:cubicBezTo>
                    <a:pt x="666" y="2761"/>
                    <a:pt x="666" y="2761"/>
                    <a:pt x="666" y="2761"/>
                  </a:cubicBezTo>
                  <a:cubicBezTo>
                    <a:pt x="666" y="2755"/>
                    <a:pt x="666" y="2755"/>
                    <a:pt x="666" y="2755"/>
                  </a:cubicBezTo>
                  <a:cubicBezTo>
                    <a:pt x="666" y="2755"/>
                    <a:pt x="665" y="2755"/>
                    <a:pt x="663" y="2756"/>
                  </a:cubicBezTo>
                  <a:cubicBezTo>
                    <a:pt x="666" y="2761"/>
                    <a:pt x="666" y="2761"/>
                    <a:pt x="666" y="2761"/>
                  </a:cubicBezTo>
                  <a:cubicBezTo>
                    <a:pt x="666" y="2755"/>
                    <a:pt x="666" y="2755"/>
                    <a:pt x="666" y="2755"/>
                  </a:cubicBezTo>
                  <a:cubicBezTo>
                    <a:pt x="666" y="2755"/>
                    <a:pt x="666" y="2755"/>
                    <a:pt x="666" y="2755"/>
                  </a:cubicBezTo>
                  <a:cubicBezTo>
                    <a:pt x="666" y="2755"/>
                    <a:pt x="666" y="2755"/>
                    <a:pt x="666" y="2755"/>
                  </a:cubicBezTo>
                  <a:cubicBezTo>
                    <a:pt x="666" y="2755"/>
                    <a:pt x="666" y="2755"/>
                    <a:pt x="666" y="2755"/>
                  </a:cubicBezTo>
                  <a:cubicBezTo>
                    <a:pt x="666" y="2755"/>
                    <a:pt x="666" y="2755"/>
                    <a:pt x="666" y="2755"/>
                  </a:cubicBezTo>
                  <a:cubicBezTo>
                    <a:pt x="666" y="2755"/>
                    <a:pt x="666" y="2755"/>
                    <a:pt x="666" y="2755"/>
                  </a:cubicBezTo>
                  <a:cubicBezTo>
                    <a:pt x="666" y="2755"/>
                    <a:pt x="664" y="2755"/>
                    <a:pt x="663" y="2755"/>
                  </a:cubicBezTo>
                  <a:cubicBezTo>
                    <a:pt x="663" y="2755"/>
                    <a:pt x="663" y="2755"/>
                    <a:pt x="663" y="2755"/>
                  </a:cubicBezTo>
                  <a:cubicBezTo>
                    <a:pt x="647" y="2752"/>
                    <a:pt x="632" y="2749"/>
                    <a:pt x="617" y="2746"/>
                  </a:cubicBezTo>
                  <a:cubicBezTo>
                    <a:pt x="615" y="2745"/>
                    <a:pt x="614" y="2745"/>
                    <a:pt x="613" y="2745"/>
                  </a:cubicBezTo>
                  <a:cubicBezTo>
                    <a:pt x="612" y="2745"/>
                    <a:pt x="610" y="2745"/>
                    <a:pt x="609" y="2745"/>
                  </a:cubicBezTo>
                  <a:cubicBezTo>
                    <a:pt x="608" y="2745"/>
                    <a:pt x="607" y="2745"/>
                    <a:pt x="605" y="2745"/>
                  </a:cubicBezTo>
                  <a:cubicBezTo>
                    <a:pt x="603" y="2745"/>
                    <a:pt x="600" y="2747"/>
                    <a:pt x="598" y="2748"/>
                  </a:cubicBezTo>
                  <a:cubicBezTo>
                    <a:pt x="597" y="2750"/>
                    <a:pt x="596" y="2751"/>
                    <a:pt x="595" y="2753"/>
                  </a:cubicBezTo>
                  <a:cubicBezTo>
                    <a:pt x="594" y="2755"/>
                    <a:pt x="594" y="2756"/>
                    <a:pt x="593" y="2757"/>
                  </a:cubicBezTo>
                  <a:cubicBezTo>
                    <a:pt x="593" y="2759"/>
                    <a:pt x="593" y="2760"/>
                    <a:pt x="593" y="2761"/>
                  </a:cubicBezTo>
                  <a:cubicBezTo>
                    <a:pt x="593" y="2761"/>
                    <a:pt x="593" y="2761"/>
                    <a:pt x="593" y="2761"/>
                  </a:cubicBezTo>
                  <a:cubicBezTo>
                    <a:pt x="588" y="2786"/>
                    <a:pt x="583" y="2811"/>
                    <a:pt x="578" y="2836"/>
                  </a:cubicBezTo>
                  <a:cubicBezTo>
                    <a:pt x="578" y="2836"/>
                    <a:pt x="578" y="2836"/>
                    <a:pt x="578" y="2836"/>
                  </a:cubicBezTo>
                  <a:cubicBezTo>
                    <a:pt x="578" y="2837"/>
                    <a:pt x="578" y="2839"/>
                    <a:pt x="578" y="2840"/>
                  </a:cubicBezTo>
                  <a:cubicBezTo>
                    <a:pt x="578" y="2843"/>
                    <a:pt x="578" y="2845"/>
                    <a:pt x="579" y="2847"/>
                  </a:cubicBezTo>
                  <a:cubicBezTo>
                    <a:pt x="580" y="2849"/>
                    <a:pt x="580" y="2850"/>
                    <a:pt x="580" y="2851"/>
                  </a:cubicBezTo>
                  <a:cubicBezTo>
                    <a:pt x="580" y="2851"/>
                    <a:pt x="580" y="2851"/>
                    <a:pt x="580" y="2851"/>
                  </a:cubicBezTo>
                  <a:cubicBezTo>
                    <a:pt x="582" y="2855"/>
                    <a:pt x="583" y="2858"/>
                    <a:pt x="584" y="2860"/>
                  </a:cubicBezTo>
                  <a:cubicBezTo>
                    <a:pt x="585" y="2862"/>
                    <a:pt x="585" y="2864"/>
                    <a:pt x="585" y="2865"/>
                  </a:cubicBezTo>
                  <a:cubicBezTo>
                    <a:pt x="587" y="2877"/>
                    <a:pt x="587" y="2891"/>
                    <a:pt x="588" y="2904"/>
                  </a:cubicBezTo>
                  <a:cubicBezTo>
                    <a:pt x="588" y="2904"/>
                    <a:pt x="588" y="2904"/>
                    <a:pt x="588" y="2904"/>
                  </a:cubicBezTo>
                  <a:cubicBezTo>
                    <a:pt x="588" y="2904"/>
                    <a:pt x="588" y="2904"/>
                    <a:pt x="588" y="2904"/>
                  </a:cubicBezTo>
                  <a:cubicBezTo>
                    <a:pt x="589" y="2911"/>
                    <a:pt x="589" y="2917"/>
                    <a:pt x="590" y="2923"/>
                  </a:cubicBezTo>
                  <a:cubicBezTo>
                    <a:pt x="590" y="2924"/>
                    <a:pt x="590" y="2925"/>
                    <a:pt x="590" y="2925"/>
                  </a:cubicBezTo>
                  <a:cubicBezTo>
                    <a:pt x="590" y="2926"/>
                    <a:pt x="590" y="2926"/>
                    <a:pt x="590" y="2926"/>
                  </a:cubicBezTo>
                  <a:cubicBezTo>
                    <a:pt x="590" y="2926"/>
                    <a:pt x="590" y="2926"/>
                    <a:pt x="590" y="2926"/>
                  </a:cubicBezTo>
                  <a:cubicBezTo>
                    <a:pt x="594" y="2927"/>
                    <a:pt x="594" y="2927"/>
                    <a:pt x="594" y="2927"/>
                  </a:cubicBezTo>
                  <a:cubicBezTo>
                    <a:pt x="591" y="2925"/>
                    <a:pt x="591" y="2925"/>
                    <a:pt x="591" y="2925"/>
                  </a:cubicBezTo>
                  <a:cubicBezTo>
                    <a:pt x="590" y="2926"/>
                    <a:pt x="590" y="2926"/>
                    <a:pt x="590" y="2926"/>
                  </a:cubicBezTo>
                  <a:cubicBezTo>
                    <a:pt x="594" y="2927"/>
                    <a:pt x="594" y="2927"/>
                    <a:pt x="594" y="2927"/>
                  </a:cubicBezTo>
                  <a:cubicBezTo>
                    <a:pt x="591" y="2925"/>
                    <a:pt x="591" y="2925"/>
                    <a:pt x="591" y="2925"/>
                  </a:cubicBezTo>
                  <a:cubicBezTo>
                    <a:pt x="597" y="2928"/>
                    <a:pt x="597" y="2928"/>
                    <a:pt x="597" y="2928"/>
                  </a:cubicBezTo>
                  <a:cubicBezTo>
                    <a:pt x="592" y="2923"/>
                    <a:pt x="592" y="2923"/>
                    <a:pt x="592" y="2923"/>
                  </a:cubicBezTo>
                  <a:cubicBezTo>
                    <a:pt x="592" y="2923"/>
                    <a:pt x="591" y="2924"/>
                    <a:pt x="591" y="2925"/>
                  </a:cubicBezTo>
                  <a:cubicBezTo>
                    <a:pt x="597" y="2928"/>
                    <a:pt x="597" y="2928"/>
                    <a:pt x="597" y="2928"/>
                  </a:cubicBezTo>
                  <a:cubicBezTo>
                    <a:pt x="592" y="2923"/>
                    <a:pt x="592" y="2923"/>
                    <a:pt x="592" y="2923"/>
                  </a:cubicBezTo>
                  <a:cubicBezTo>
                    <a:pt x="596" y="2927"/>
                    <a:pt x="596" y="2927"/>
                    <a:pt x="596" y="2927"/>
                  </a:cubicBezTo>
                  <a:cubicBezTo>
                    <a:pt x="594" y="2922"/>
                    <a:pt x="594" y="2922"/>
                    <a:pt x="594" y="2922"/>
                  </a:cubicBezTo>
                  <a:cubicBezTo>
                    <a:pt x="594" y="2922"/>
                    <a:pt x="593" y="2922"/>
                    <a:pt x="592" y="2923"/>
                  </a:cubicBezTo>
                  <a:cubicBezTo>
                    <a:pt x="596" y="2927"/>
                    <a:pt x="596" y="2927"/>
                    <a:pt x="596" y="2927"/>
                  </a:cubicBezTo>
                  <a:cubicBezTo>
                    <a:pt x="594" y="2922"/>
                    <a:pt x="594" y="2922"/>
                    <a:pt x="594" y="2922"/>
                  </a:cubicBezTo>
                  <a:cubicBezTo>
                    <a:pt x="595" y="2923"/>
                    <a:pt x="595" y="2923"/>
                    <a:pt x="595" y="2923"/>
                  </a:cubicBezTo>
                  <a:cubicBezTo>
                    <a:pt x="594" y="2922"/>
                    <a:pt x="594" y="2922"/>
                    <a:pt x="594" y="2922"/>
                  </a:cubicBezTo>
                  <a:cubicBezTo>
                    <a:pt x="594" y="2922"/>
                    <a:pt x="594" y="2922"/>
                    <a:pt x="594" y="2922"/>
                  </a:cubicBezTo>
                  <a:cubicBezTo>
                    <a:pt x="595" y="2923"/>
                    <a:pt x="595" y="2923"/>
                    <a:pt x="595" y="2923"/>
                  </a:cubicBezTo>
                  <a:cubicBezTo>
                    <a:pt x="594" y="2922"/>
                    <a:pt x="594" y="2922"/>
                    <a:pt x="594" y="2922"/>
                  </a:cubicBezTo>
                  <a:cubicBezTo>
                    <a:pt x="594" y="2922"/>
                    <a:pt x="594" y="2922"/>
                    <a:pt x="594" y="2922"/>
                  </a:cubicBezTo>
                  <a:cubicBezTo>
                    <a:pt x="594" y="2922"/>
                    <a:pt x="594" y="2922"/>
                    <a:pt x="593" y="2922"/>
                  </a:cubicBezTo>
                  <a:cubicBezTo>
                    <a:pt x="592" y="2922"/>
                    <a:pt x="592" y="2922"/>
                    <a:pt x="591" y="2922"/>
                  </a:cubicBezTo>
                  <a:cubicBezTo>
                    <a:pt x="591" y="2922"/>
                    <a:pt x="591" y="2922"/>
                    <a:pt x="591" y="2922"/>
                  </a:cubicBezTo>
                  <a:cubicBezTo>
                    <a:pt x="576" y="2921"/>
                    <a:pt x="562" y="2920"/>
                    <a:pt x="549" y="2919"/>
                  </a:cubicBezTo>
                  <a:cubicBezTo>
                    <a:pt x="549" y="2919"/>
                    <a:pt x="549" y="2919"/>
                    <a:pt x="549" y="2919"/>
                  </a:cubicBezTo>
                  <a:cubicBezTo>
                    <a:pt x="531" y="2918"/>
                    <a:pt x="514" y="2916"/>
                    <a:pt x="496" y="2915"/>
                  </a:cubicBezTo>
                  <a:cubicBezTo>
                    <a:pt x="495" y="2915"/>
                    <a:pt x="495" y="2915"/>
                    <a:pt x="495" y="2915"/>
                  </a:cubicBezTo>
                  <a:cubicBezTo>
                    <a:pt x="496" y="2915"/>
                    <a:pt x="496" y="2915"/>
                    <a:pt x="496" y="2915"/>
                  </a:cubicBezTo>
                  <a:cubicBezTo>
                    <a:pt x="493" y="2915"/>
                    <a:pt x="490" y="2915"/>
                    <a:pt x="487" y="2915"/>
                  </a:cubicBezTo>
                  <a:cubicBezTo>
                    <a:pt x="485" y="2915"/>
                    <a:pt x="484" y="2915"/>
                    <a:pt x="482" y="2915"/>
                  </a:cubicBezTo>
                  <a:cubicBezTo>
                    <a:pt x="480" y="2915"/>
                    <a:pt x="478" y="2915"/>
                    <a:pt x="476" y="2915"/>
                  </a:cubicBezTo>
                  <a:cubicBezTo>
                    <a:pt x="476" y="2915"/>
                    <a:pt x="476" y="2915"/>
                    <a:pt x="476" y="2915"/>
                  </a:cubicBezTo>
                  <a:cubicBezTo>
                    <a:pt x="476" y="2915"/>
                    <a:pt x="475" y="2915"/>
                    <a:pt x="475" y="2915"/>
                  </a:cubicBezTo>
                  <a:cubicBezTo>
                    <a:pt x="473" y="2915"/>
                    <a:pt x="471" y="2915"/>
                    <a:pt x="468" y="2916"/>
                  </a:cubicBezTo>
                  <a:cubicBezTo>
                    <a:pt x="466" y="2917"/>
                    <a:pt x="464" y="2918"/>
                    <a:pt x="463" y="2920"/>
                  </a:cubicBezTo>
                  <a:cubicBezTo>
                    <a:pt x="462" y="2921"/>
                    <a:pt x="461" y="2922"/>
                    <a:pt x="460" y="2923"/>
                  </a:cubicBezTo>
                  <a:cubicBezTo>
                    <a:pt x="459" y="2925"/>
                    <a:pt x="459" y="2927"/>
                    <a:pt x="458" y="2928"/>
                  </a:cubicBezTo>
                  <a:cubicBezTo>
                    <a:pt x="458" y="2930"/>
                    <a:pt x="458" y="2931"/>
                    <a:pt x="458" y="2932"/>
                  </a:cubicBezTo>
                  <a:cubicBezTo>
                    <a:pt x="458" y="2932"/>
                    <a:pt x="458" y="2932"/>
                    <a:pt x="458" y="2932"/>
                  </a:cubicBezTo>
                  <a:cubicBezTo>
                    <a:pt x="457" y="2947"/>
                    <a:pt x="457" y="2962"/>
                    <a:pt x="456" y="2976"/>
                  </a:cubicBezTo>
                  <a:cubicBezTo>
                    <a:pt x="456" y="2976"/>
                    <a:pt x="456" y="2976"/>
                    <a:pt x="456" y="2976"/>
                  </a:cubicBezTo>
                  <a:cubicBezTo>
                    <a:pt x="456" y="2977"/>
                    <a:pt x="456" y="2978"/>
                    <a:pt x="456" y="2979"/>
                  </a:cubicBezTo>
                  <a:cubicBezTo>
                    <a:pt x="456" y="2979"/>
                    <a:pt x="456" y="2979"/>
                    <a:pt x="456" y="2979"/>
                  </a:cubicBezTo>
                  <a:cubicBezTo>
                    <a:pt x="456" y="2979"/>
                    <a:pt x="456" y="2980"/>
                    <a:pt x="456" y="2980"/>
                  </a:cubicBezTo>
                  <a:cubicBezTo>
                    <a:pt x="456" y="2980"/>
                    <a:pt x="456" y="2980"/>
                    <a:pt x="456" y="2980"/>
                  </a:cubicBezTo>
                  <a:cubicBezTo>
                    <a:pt x="458" y="2980"/>
                    <a:pt x="458" y="2980"/>
                    <a:pt x="458" y="2980"/>
                  </a:cubicBezTo>
                  <a:cubicBezTo>
                    <a:pt x="456" y="2980"/>
                    <a:pt x="456" y="2980"/>
                    <a:pt x="456" y="2980"/>
                  </a:cubicBezTo>
                  <a:cubicBezTo>
                    <a:pt x="456" y="2980"/>
                    <a:pt x="456" y="2980"/>
                    <a:pt x="456" y="2980"/>
                  </a:cubicBezTo>
                  <a:cubicBezTo>
                    <a:pt x="458" y="2980"/>
                    <a:pt x="458" y="2980"/>
                    <a:pt x="458" y="2980"/>
                  </a:cubicBezTo>
                  <a:cubicBezTo>
                    <a:pt x="456" y="2980"/>
                    <a:pt x="456" y="2980"/>
                    <a:pt x="456" y="2980"/>
                  </a:cubicBezTo>
                  <a:cubicBezTo>
                    <a:pt x="456" y="2980"/>
                    <a:pt x="456" y="2980"/>
                    <a:pt x="456" y="2980"/>
                  </a:cubicBezTo>
                  <a:cubicBezTo>
                    <a:pt x="456" y="2980"/>
                    <a:pt x="456" y="2980"/>
                    <a:pt x="456" y="2980"/>
                  </a:cubicBezTo>
                  <a:cubicBezTo>
                    <a:pt x="456" y="2981"/>
                    <a:pt x="456" y="2981"/>
                    <a:pt x="456" y="2981"/>
                  </a:cubicBezTo>
                  <a:cubicBezTo>
                    <a:pt x="458" y="2982"/>
                    <a:pt x="458" y="2982"/>
                    <a:pt x="458" y="2982"/>
                  </a:cubicBezTo>
                  <a:cubicBezTo>
                    <a:pt x="456" y="2980"/>
                    <a:pt x="456" y="2980"/>
                    <a:pt x="456" y="2980"/>
                  </a:cubicBezTo>
                  <a:cubicBezTo>
                    <a:pt x="456" y="2981"/>
                    <a:pt x="456" y="2981"/>
                    <a:pt x="456" y="2981"/>
                  </a:cubicBezTo>
                  <a:cubicBezTo>
                    <a:pt x="458" y="2982"/>
                    <a:pt x="458" y="2982"/>
                    <a:pt x="458" y="2982"/>
                  </a:cubicBezTo>
                  <a:cubicBezTo>
                    <a:pt x="456" y="2980"/>
                    <a:pt x="456" y="2980"/>
                    <a:pt x="456" y="2980"/>
                  </a:cubicBezTo>
                  <a:cubicBezTo>
                    <a:pt x="461" y="2983"/>
                    <a:pt x="461" y="2983"/>
                    <a:pt x="461" y="2983"/>
                  </a:cubicBezTo>
                  <a:cubicBezTo>
                    <a:pt x="458" y="2978"/>
                    <a:pt x="458" y="2978"/>
                    <a:pt x="458" y="2978"/>
                  </a:cubicBezTo>
                  <a:cubicBezTo>
                    <a:pt x="457" y="2979"/>
                    <a:pt x="456" y="2979"/>
                    <a:pt x="456" y="2980"/>
                  </a:cubicBezTo>
                  <a:cubicBezTo>
                    <a:pt x="461" y="2983"/>
                    <a:pt x="461" y="2983"/>
                    <a:pt x="461" y="2983"/>
                  </a:cubicBezTo>
                  <a:cubicBezTo>
                    <a:pt x="458" y="2978"/>
                    <a:pt x="458" y="2978"/>
                    <a:pt x="458" y="2978"/>
                  </a:cubicBezTo>
                  <a:cubicBezTo>
                    <a:pt x="460" y="2982"/>
                    <a:pt x="460" y="2982"/>
                    <a:pt x="460" y="2982"/>
                  </a:cubicBezTo>
                  <a:cubicBezTo>
                    <a:pt x="460" y="2978"/>
                    <a:pt x="460" y="2978"/>
                    <a:pt x="460" y="2978"/>
                  </a:cubicBezTo>
                  <a:cubicBezTo>
                    <a:pt x="460" y="2978"/>
                    <a:pt x="459" y="2978"/>
                    <a:pt x="458" y="2978"/>
                  </a:cubicBezTo>
                  <a:cubicBezTo>
                    <a:pt x="460" y="2982"/>
                    <a:pt x="460" y="2982"/>
                    <a:pt x="460" y="2982"/>
                  </a:cubicBezTo>
                  <a:cubicBezTo>
                    <a:pt x="460" y="2978"/>
                    <a:pt x="460" y="2978"/>
                    <a:pt x="460" y="2978"/>
                  </a:cubicBezTo>
                  <a:cubicBezTo>
                    <a:pt x="460" y="2978"/>
                    <a:pt x="460" y="2978"/>
                    <a:pt x="460" y="2978"/>
                  </a:cubicBezTo>
                  <a:cubicBezTo>
                    <a:pt x="459" y="2978"/>
                    <a:pt x="459" y="2978"/>
                    <a:pt x="459" y="2978"/>
                  </a:cubicBezTo>
                  <a:cubicBezTo>
                    <a:pt x="460" y="2978"/>
                    <a:pt x="460" y="2978"/>
                    <a:pt x="460" y="2978"/>
                  </a:cubicBezTo>
                  <a:cubicBezTo>
                    <a:pt x="450" y="2977"/>
                    <a:pt x="441" y="2977"/>
                    <a:pt x="431" y="2976"/>
                  </a:cubicBezTo>
                  <a:cubicBezTo>
                    <a:pt x="431" y="2976"/>
                    <a:pt x="431" y="2976"/>
                    <a:pt x="431" y="2976"/>
                  </a:cubicBezTo>
                  <a:cubicBezTo>
                    <a:pt x="426" y="2976"/>
                    <a:pt x="421" y="2976"/>
                    <a:pt x="415" y="2976"/>
                  </a:cubicBezTo>
                  <a:cubicBezTo>
                    <a:pt x="415" y="2976"/>
                    <a:pt x="415" y="2976"/>
                    <a:pt x="415" y="2976"/>
                  </a:cubicBezTo>
                  <a:cubicBezTo>
                    <a:pt x="414" y="2976"/>
                    <a:pt x="413" y="2975"/>
                    <a:pt x="413" y="2975"/>
                  </a:cubicBezTo>
                  <a:cubicBezTo>
                    <a:pt x="413" y="2976"/>
                    <a:pt x="413" y="2976"/>
                    <a:pt x="413" y="2976"/>
                  </a:cubicBezTo>
                  <a:cubicBezTo>
                    <a:pt x="413" y="2975"/>
                    <a:pt x="413" y="2975"/>
                    <a:pt x="413" y="2975"/>
                  </a:cubicBezTo>
                  <a:cubicBezTo>
                    <a:pt x="413" y="2975"/>
                    <a:pt x="413" y="2975"/>
                    <a:pt x="413" y="2975"/>
                  </a:cubicBezTo>
                  <a:cubicBezTo>
                    <a:pt x="413" y="2976"/>
                    <a:pt x="413" y="2976"/>
                    <a:pt x="413" y="2976"/>
                  </a:cubicBezTo>
                  <a:cubicBezTo>
                    <a:pt x="413" y="2975"/>
                    <a:pt x="413" y="2975"/>
                    <a:pt x="413" y="2975"/>
                  </a:cubicBezTo>
                  <a:cubicBezTo>
                    <a:pt x="412" y="2979"/>
                    <a:pt x="412" y="2979"/>
                    <a:pt x="412" y="2979"/>
                  </a:cubicBezTo>
                  <a:cubicBezTo>
                    <a:pt x="414" y="2976"/>
                    <a:pt x="414" y="2976"/>
                    <a:pt x="414" y="2976"/>
                  </a:cubicBezTo>
                  <a:cubicBezTo>
                    <a:pt x="414" y="2976"/>
                    <a:pt x="413" y="2975"/>
                    <a:pt x="413" y="2975"/>
                  </a:cubicBezTo>
                  <a:cubicBezTo>
                    <a:pt x="412" y="2979"/>
                    <a:pt x="412" y="2979"/>
                    <a:pt x="412" y="2979"/>
                  </a:cubicBezTo>
                  <a:cubicBezTo>
                    <a:pt x="414" y="2976"/>
                    <a:pt x="414" y="2976"/>
                    <a:pt x="414" y="2976"/>
                  </a:cubicBezTo>
                  <a:cubicBezTo>
                    <a:pt x="411" y="2980"/>
                    <a:pt x="411" y="2980"/>
                    <a:pt x="411" y="2980"/>
                  </a:cubicBezTo>
                  <a:cubicBezTo>
                    <a:pt x="416" y="2978"/>
                    <a:pt x="416" y="2978"/>
                    <a:pt x="416" y="2978"/>
                  </a:cubicBezTo>
                  <a:cubicBezTo>
                    <a:pt x="416" y="2978"/>
                    <a:pt x="415" y="2977"/>
                    <a:pt x="414" y="2976"/>
                  </a:cubicBezTo>
                  <a:cubicBezTo>
                    <a:pt x="411" y="2980"/>
                    <a:pt x="411" y="2980"/>
                    <a:pt x="411" y="2980"/>
                  </a:cubicBezTo>
                  <a:cubicBezTo>
                    <a:pt x="416" y="2978"/>
                    <a:pt x="416" y="2978"/>
                    <a:pt x="416" y="2978"/>
                  </a:cubicBezTo>
                  <a:cubicBezTo>
                    <a:pt x="415" y="2979"/>
                    <a:pt x="415" y="2979"/>
                    <a:pt x="415" y="2979"/>
                  </a:cubicBezTo>
                  <a:cubicBezTo>
                    <a:pt x="416" y="2978"/>
                    <a:pt x="416" y="2978"/>
                    <a:pt x="416" y="2978"/>
                  </a:cubicBezTo>
                  <a:cubicBezTo>
                    <a:pt x="416" y="2978"/>
                    <a:pt x="416" y="2978"/>
                    <a:pt x="416" y="2978"/>
                  </a:cubicBezTo>
                  <a:cubicBezTo>
                    <a:pt x="415" y="2979"/>
                    <a:pt x="415" y="2979"/>
                    <a:pt x="415" y="2979"/>
                  </a:cubicBezTo>
                  <a:cubicBezTo>
                    <a:pt x="416" y="2978"/>
                    <a:pt x="416" y="2978"/>
                    <a:pt x="416" y="2978"/>
                  </a:cubicBezTo>
                  <a:cubicBezTo>
                    <a:pt x="416" y="2978"/>
                    <a:pt x="416" y="2978"/>
                    <a:pt x="416" y="2977"/>
                  </a:cubicBezTo>
                  <a:cubicBezTo>
                    <a:pt x="416" y="2977"/>
                    <a:pt x="416" y="2977"/>
                    <a:pt x="416" y="2977"/>
                  </a:cubicBezTo>
                  <a:cubicBezTo>
                    <a:pt x="416" y="2963"/>
                    <a:pt x="417" y="2950"/>
                    <a:pt x="418" y="2936"/>
                  </a:cubicBezTo>
                  <a:cubicBezTo>
                    <a:pt x="418" y="2936"/>
                    <a:pt x="418" y="2936"/>
                    <a:pt x="418" y="2936"/>
                  </a:cubicBezTo>
                  <a:cubicBezTo>
                    <a:pt x="418" y="2936"/>
                    <a:pt x="418" y="2936"/>
                    <a:pt x="418" y="2936"/>
                  </a:cubicBezTo>
                  <a:cubicBezTo>
                    <a:pt x="418" y="2934"/>
                    <a:pt x="418" y="2933"/>
                    <a:pt x="418" y="2931"/>
                  </a:cubicBezTo>
                  <a:cubicBezTo>
                    <a:pt x="418" y="2931"/>
                    <a:pt x="418" y="2930"/>
                    <a:pt x="418" y="2930"/>
                  </a:cubicBezTo>
                  <a:cubicBezTo>
                    <a:pt x="418" y="2930"/>
                    <a:pt x="418" y="2930"/>
                    <a:pt x="418" y="2930"/>
                  </a:cubicBezTo>
                  <a:cubicBezTo>
                    <a:pt x="418" y="2929"/>
                    <a:pt x="418" y="2929"/>
                    <a:pt x="418" y="2929"/>
                  </a:cubicBezTo>
                  <a:cubicBezTo>
                    <a:pt x="418" y="2928"/>
                    <a:pt x="418" y="2926"/>
                    <a:pt x="417" y="2924"/>
                  </a:cubicBezTo>
                  <a:cubicBezTo>
                    <a:pt x="417" y="2923"/>
                    <a:pt x="417" y="2920"/>
                    <a:pt x="415" y="2918"/>
                  </a:cubicBezTo>
                  <a:cubicBezTo>
                    <a:pt x="414" y="2916"/>
                    <a:pt x="412" y="2914"/>
                    <a:pt x="410" y="2913"/>
                  </a:cubicBezTo>
                  <a:cubicBezTo>
                    <a:pt x="408" y="2912"/>
                    <a:pt x="407" y="2912"/>
                    <a:pt x="406" y="2911"/>
                  </a:cubicBezTo>
                  <a:cubicBezTo>
                    <a:pt x="404" y="2911"/>
                    <a:pt x="403" y="2911"/>
                    <a:pt x="402" y="2911"/>
                  </a:cubicBezTo>
                  <a:cubicBezTo>
                    <a:pt x="401" y="2911"/>
                    <a:pt x="400" y="2911"/>
                    <a:pt x="399" y="2911"/>
                  </a:cubicBezTo>
                  <a:cubicBezTo>
                    <a:pt x="399" y="2911"/>
                    <a:pt x="399" y="2911"/>
                    <a:pt x="399" y="2911"/>
                  </a:cubicBezTo>
                  <a:cubicBezTo>
                    <a:pt x="397" y="2911"/>
                    <a:pt x="396" y="2911"/>
                    <a:pt x="394" y="2911"/>
                  </a:cubicBezTo>
                  <a:cubicBezTo>
                    <a:pt x="393" y="2911"/>
                    <a:pt x="393" y="2911"/>
                    <a:pt x="392" y="2911"/>
                  </a:cubicBezTo>
                  <a:cubicBezTo>
                    <a:pt x="389" y="2911"/>
                    <a:pt x="387" y="2911"/>
                    <a:pt x="385" y="2910"/>
                  </a:cubicBezTo>
                  <a:cubicBezTo>
                    <a:pt x="385" y="2910"/>
                    <a:pt x="385" y="2910"/>
                    <a:pt x="385" y="2910"/>
                  </a:cubicBezTo>
                  <a:cubicBezTo>
                    <a:pt x="384" y="2910"/>
                    <a:pt x="383" y="2910"/>
                    <a:pt x="383" y="2910"/>
                  </a:cubicBezTo>
                  <a:cubicBezTo>
                    <a:pt x="383" y="2910"/>
                    <a:pt x="383" y="2910"/>
                    <a:pt x="383" y="2910"/>
                  </a:cubicBezTo>
                  <a:cubicBezTo>
                    <a:pt x="382" y="2913"/>
                    <a:pt x="382" y="2913"/>
                    <a:pt x="382" y="2913"/>
                  </a:cubicBezTo>
                  <a:cubicBezTo>
                    <a:pt x="384" y="2911"/>
                    <a:pt x="384" y="2911"/>
                    <a:pt x="384" y="2911"/>
                  </a:cubicBezTo>
                  <a:cubicBezTo>
                    <a:pt x="383" y="2910"/>
                    <a:pt x="383" y="2910"/>
                    <a:pt x="383" y="2910"/>
                  </a:cubicBezTo>
                  <a:cubicBezTo>
                    <a:pt x="382" y="2913"/>
                    <a:pt x="382" y="2913"/>
                    <a:pt x="382" y="2913"/>
                  </a:cubicBezTo>
                  <a:cubicBezTo>
                    <a:pt x="384" y="2911"/>
                    <a:pt x="384" y="2911"/>
                    <a:pt x="384" y="2911"/>
                  </a:cubicBezTo>
                  <a:cubicBezTo>
                    <a:pt x="381" y="2914"/>
                    <a:pt x="381" y="2914"/>
                    <a:pt x="381" y="2914"/>
                  </a:cubicBezTo>
                  <a:cubicBezTo>
                    <a:pt x="385" y="2913"/>
                    <a:pt x="385" y="2913"/>
                    <a:pt x="385" y="2913"/>
                  </a:cubicBezTo>
                  <a:cubicBezTo>
                    <a:pt x="385" y="2912"/>
                    <a:pt x="385" y="2911"/>
                    <a:pt x="384" y="2911"/>
                  </a:cubicBezTo>
                  <a:cubicBezTo>
                    <a:pt x="381" y="2914"/>
                    <a:pt x="381" y="2914"/>
                    <a:pt x="381" y="2914"/>
                  </a:cubicBezTo>
                  <a:cubicBezTo>
                    <a:pt x="385" y="2913"/>
                    <a:pt x="385" y="2913"/>
                    <a:pt x="385" y="2913"/>
                  </a:cubicBezTo>
                  <a:cubicBezTo>
                    <a:pt x="384" y="2913"/>
                    <a:pt x="384" y="2913"/>
                    <a:pt x="384" y="2913"/>
                  </a:cubicBezTo>
                  <a:cubicBezTo>
                    <a:pt x="385" y="2913"/>
                    <a:pt x="385" y="2913"/>
                    <a:pt x="385" y="2913"/>
                  </a:cubicBezTo>
                  <a:cubicBezTo>
                    <a:pt x="385" y="2913"/>
                    <a:pt x="385" y="2913"/>
                    <a:pt x="385" y="2913"/>
                  </a:cubicBezTo>
                  <a:cubicBezTo>
                    <a:pt x="384" y="2913"/>
                    <a:pt x="384" y="2913"/>
                    <a:pt x="384" y="2913"/>
                  </a:cubicBezTo>
                  <a:cubicBezTo>
                    <a:pt x="385" y="2913"/>
                    <a:pt x="385" y="2913"/>
                    <a:pt x="385" y="2913"/>
                  </a:cubicBezTo>
                  <a:cubicBezTo>
                    <a:pt x="385" y="2913"/>
                    <a:pt x="385" y="2912"/>
                    <a:pt x="385" y="2912"/>
                  </a:cubicBezTo>
                  <a:cubicBezTo>
                    <a:pt x="385" y="2911"/>
                    <a:pt x="385" y="2911"/>
                    <a:pt x="385" y="2911"/>
                  </a:cubicBezTo>
                  <a:cubicBezTo>
                    <a:pt x="386" y="2898"/>
                    <a:pt x="386" y="2884"/>
                    <a:pt x="387" y="2870"/>
                  </a:cubicBezTo>
                  <a:cubicBezTo>
                    <a:pt x="387" y="2870"/>
                    <a:pt x="387" y="2870"/>
                    <a:pt x="387" y="2870"/>
                  </a:cubicBezTo>
                  <a:cubicBezTo>
                    <a:pt x="387" y="2867"/>
                    <a:pt x="387" y="2864"/>
                    <a:pt x="387" y="2861"/>
                  </a:cubicBezTo>
                  <a:cubicBezTo>
                    <a:pt x="387" y="2861"/>
                    <a:pt x="387" y="2861"/>
                    <a:pt x="387" y="2861"/>
                  </a:cubicBezTo>
                  <a:cubicBezTo>
                    <a:pt x="387" y="2861"/>
                    <a:pt x="387" y="2861"/>
                    <a:pt x="387" y="2861"/>
                  </a:cubicBezTo>
                  <a:cubicBezTo>
                    <a:pt x="387" y="2847"/>
                    <a:pt x="387" y="2834"/>
                    <a:pt x="387" y="2820"/>
                  </a:cubicBezTo>
                  <a:cubicBezTo>
                    <a:pt x="387" y="2817"/>
                    <a:pt x="387" y="2815"/>
                    <a:pt x="387" y="2813"/>
                  </a:cubicBezTo>
                  <a:cubicBezTo>
                    <a:pt x="387" y="2807"/>
                    <a:pt x="387" y="2802"/>
                    <a:pt x="387" y="2798"/>
                  </a:cubicBezTo>
                  <a:cubicBezTo>
                    <a:pt x="387" y="2791"/>
                    <a:pt x="386" y="2786"/>
                    <a:pt x="384" y="2780"/>
                  </a:cubicBezTo>
                  <a:cubicBezTo>
                    <a:pt x="382" y="2774"/>
                    <a:pt x="379" y="2768"/>
                    <a:pt x="375" y="2758"/>
                  </a:cubicBezTo>
                  <a:cubicBezTo>
                    <a:pt x="375" y="2758"/>
                    <a:pt x="375" y="2758"/>
                    <a:pt x="375" y="2758"/>
                  </a:cubicBezTo>
                  <a:cubicBezTo>
                    <a:pt x="368" y="2743"/>
                    <a:pt x="361" y="2727"/>
                    <a:pt x="354" y="2711"/>
                  </a:cubicBezTo>
                  <a:cubicBezTo>
                    <a:pt x="354" y="2711"/>
                    <a:pt x="354" y="2711"/>
                    <a:pt x="354" y="2711"/>
                  </a:cubicBezTo>
                  <a:cubicBezTo>
                    <a:pt x="354" y="2710"/>
                    <a:pt x="353" y="2708"/>
                    <a:pt x="353" y="2708"/>
                  </a:cubicBezTo>
                  <a:cubicBezTo>
                    <a:pt x="353" y="2707"/>
                    <a:pt x="353" y="2707"/>
                    <a:pt x="353" y="2707"/>
                  </a:cubicBezTo>
                  <a:cubicBezTo>
                    <a:pt x="353" y="2707"/>
                    <a:pt x="353" y="2707"/>
                    <a:pt x="353" y="2707"/>
                  </a:cubicBezTo>
                  <a:cubicBezTo>
                    <a:pt x="351" y="2708"/>
                    <a:pt x="351" y="2708"/>
                    <a:pt x="351" y="2708"/>
                  </a:cubicBezTo>
                  <a:cubicBezTo>
                    <a:pt x="353" y="2707"/>
                    <a:pt x="353" y="2707"/>
                    <a:pt x="353" y="2707"/>
                  </a:cubicBezTo>
                  <a:cubicBezTo>
                    <a:pt x="353" y="2707"/>
                    <a:pt x="353" y="2707"/>
                    <a:pt x="353" y="2707"/>
                  </a:cubicBezTo>
                  <a:cubicBezTo>
                    <a:pt x="351" y="2708"/>
                    <a:pt x="351" y="2708"/>
                    <a:pt x="351" y="2708"/>
                  </a:cubicBezTo>
                  <a:cubicBezTo>
                    <a:pt x="353" y="2707"/>
                    <a:pt x="353" y="2707"/>
                    <a:pt x="353" y="2707"/>
                  </a:cubicBezTo>
                  <a:cubicBezTo>
                    <a:pt x="349" y="2708"/>
                    <a:pt x="349" y="2708"/>
                    <a:pt x="349" y="2708"/>
                  </a:cubicBezTo>
                  <a:cubicBezTo>
                    <a:pt x="353" y="2708"/>
                    <a:pt x="353" y="2708"/>
                    <a:pt x="353" y="2708"/>
                  </a:cubicBezTo>
                  <a:cubicBezTo>
                    <a:pt x="353" y="2707"/>
                    <a:pt x="353" y="2707"/>
                    <a:pt x="353" y="2707"/>
                  </a:cubicBezTo>
                  <a:cubicBezTo>
                    <a:pt x="349" y="2708"/>
                    <a:pt x="349" y="2708"/>
                    <a:pt x="349" y="2708"/>
                  </a:cubicBezTo>
                  <a:cubicBezTo>
                    <a:pt x="353" y="2708"/>
                    <a:pt x="353" y="2708"/>
                    <a:pt x="353" y="2708"/>
                  </a:cubicBezTo>
                  <a:cubicBezTo>
                    <a:pt x="347" y="2708"/>
                    <a:pt x="347" y="2708"/>
                    <a:pt x="347" y="2708"/>
                  </a:cubicBezTo>
                  <a:cubicBezTo>
                    <a:pt x="353" y="2710"/>
                    <a:pt x="353" y="2710"/>
                    <a:pt x="353" y="2710"/>
                  </a:cubicBezTo>
                  <a:cubicBezTo>
                    <a:pt x="353" y="2709"/>
                    <a:pt x="353" y="2708"/>
                    <a:pt x="353" y="2708"/>
                  </a:cubicBezTo>
                  <a:cubicBezTo>
                    <a:pt x="347" y="2708"/>
                    <a:pt x="347" y="2708"/>
                    <a:pt x="347" y="2708"/>
                  </a:cubicBezTo>
                  <a:cubicBezTo>
                    <a:pt x="353" y="2710"/>
                    <a:pt x="353" y="2710"/>
                    <a:pt x="353" y="2710"/>
                  </a:cubicBezTo>
                  <a:cubicBezTo>
                    <a:pt x="349" y="2708"/>
                    <a:pt x="349" y="2708"/>
                    <a:pt x="349" y="2708"/>
                  </a:cubicBezTo>
                  <a:cubicBezTo>
                    <a:pt x="352" y="2711"/>
                    <a:pt x="352" y="2711"/>
                    <a:pt x="352" y="2711"/>
                  </a:cubicBezTo>
                  <a:cubicBezTo>
                    <a:pt x="352" y="2711"/>
                    <a:pt x="352" y="2710"/>
                    <a:pt x="353" y="2710"/>
                  </a:cubicBezTo>
                  <a:cubicBezTo>
                    <a:pt x="349" y="2708"/>
                    <a:pt x="349" y="2708"/>
                    <a:pt x="349" y="2708"/>
                  </a:cubicBezTo>
                  <a:cubicBezTo>
                    <a:pt x="352" y="2711"/>
                    <a:pt x="352" y="2711"/>
                    <a:pt x="352" y="2711"/>
                  </a:cubicBezTo>
                  <a:cubicBezTo>
                    <a:pt x="351" y="2710"/>
                    <a:pt x="351" y="2710"/>
                    <a:pt x="351" y="2710"/>
                  </a:cubicBezTo>
                  <a:cubicBezTo>
                    <a:pt x="352" y="2711"/>
                    <a:pt x="352" y="2711"/>
                    <a:pt x="352" y="2711"/>
                  </a:cubicBezTo>
                  <a:cubicBezTo>
                    <a:pt x="352" y="2711"/>
                    <a:pt x="352" y="2711"/>
                    <a:pt x="352" y="2711"/>
                  </a:cubicBezTo>
                  <a:cubicBezTo>
                    <a:pt x="351" y="2710"/>
                    <a:pt x="351" y="2710"/>
                    <a:pt x="351" y="2710"/>
                  </a:cubicBezTo>
                  <a:cubicBezTo>
                    <a:pt x="352" y="2711"/>
                    <a:pt x="352" y="2711"/>
                    <a:pt x="352" y="2711"/>
                  </a:cubicBezTo>
                  <a:cubicBezTo>
                    <a:pt x="352" y="2711"/>
                    <a:pt x="353" y="2710"/>
                    <a:pt x="355" y="2708"/>
                  </a:cubicBezTo>
                  <a:cubicBezTo>
                    <a:pt x="355" y="2708"/>
                    <a:pt x="355" y="2708"/>
                    <a:pt x="355" y="2708"/>
                  </a:cubicBezTo>
                  <a:cubicBezTo>
                    <a:pt x="367" y="2698"/>
                    <a:pt x="379" y="2688"/>
                    <a:pt x="391" y="2678"/>
                  </a:cubicBezTo>
                  <a:cubicBezTo>
                    <a:pt x="391" y="2678"/>
                    <a:pt x="391" y="2678"/>
                    <a:pt x="391" y="2678"/>
                  </a:cubicBezTo>
                  <a:cubicBezTo>
                    <a:pt x="396" y="2673"/>
                    <a:pt x="402" y="2668"/>
                    <a:pt x="408" y="2664"/>
                  </a:cubicBezTo>
                  <a:cubicBezTo>
                    <a:pt x="408" y="2664"/>
                    <a:pt x="408" y="2664"/>
                    <a:pt x="408" y="2664"/>
                  </a:cubicBezTo>
                  <a:cubicBezTo>
                    <a:pt x="413" y="2660"/>
                    <a:pt x="417" y="2655"/>
                    <a:pt x="420" y="2649"/>
                  </a:cubicBezTo>
                  <a:cubicBezTo>
                    <a:pt x="420" y="2649"/>
                    <a:pt x="420" y="2649"/>
                    <a:pt x="420" y="2649"/>
                  </a:cubicBezTo>
                  <a:cubicBezTo>
                    <a:pt x="425" y="2641"/>
                    <a:pt x="431" y="2633"/>
                    <a:pt x="437" y="2624"/>
                  </a:cubicBezTo>
                  <a:cubicBezTo>
                    <a:pt x="439" y="2621"/>
                    <a:pt x="441" y="2617"/>
                    <a:pt x="443" y="2613"/>
                  </a:cubicBezTo>
                  <a:cubicBezTo>
                    <a:pt x="444" y="2609"/>
                    <a:pt x="445" y="2605"/>
                    <a:pt x="445" y="2601"/>
                  </a:cubicBezTo>
                  <a:cubicBezTo>
                    <a:pt x="445" y="2601"/>
                    <a:pt x="445" y="2601"/>
                    <a:pt x="445" y="2601"/>
                  </a:cubicBezTo>
                  <a:cubicBezTo>
                    <a:pt x="445" y="2594"/>
                    <a:pt x="446" y="2587"/>
                    <a:pt x="447" y="2581"/>
                  </a:cubicBezTo>
                  <a:cubicBezTo>
                    <a:pt x="447" y="2581"/>
                    <a:pt x="447" y="2581"/>
                    <a:pt x="447" y="2581"/>
                  </a:cubicBezTo>
                  <a:cubicBezTo>
                    <a:pt x="447" y="2580"/>
                    <a:pt x="447" y="2579"/>
                    <a:pt x="447" y="2577"/>
                  </a:cubicBezTo>
                  <a:cubicBezTo>
                    <a:pt x="447" y="2575"/>
                    <a:pt x="447" y="2573"/>
                    <a:pt x="446" y="2571"/>
                  </a:cubicBezTo>
                  <a:cubicBezTo>
                    <a:pt x="445" y="2569"/>
                    <a:pt x="444" y="2567"/>
                    <a:pt x="442" y="2566"/>
                  </a:cubicBezTo>
                  <a:cubicBezTo>
                    <a:pt x="440" y="2564"/>
                    <a:pt x="438" y="2563"/>
                    <a:pt x="436" y="2563"/>
                  </a:cubicBezTo>
                  <a:cubicBezTo>
                    <a:pt x="435" y="2562"/>
                    <a:pt x="434" y="2562"/>
                    <a:pt x="433" y="2562"/>
                  </a:cubicBezTo>
                  <a:cubicBezTo>
                    <a:pt x="433" y="2562"/>
                    <a:pt x="433" y="2562"/>
                    <a:pt x="433" y="2562"/>
                  </a:cubicBezTo>
                  <a:cubicBezTo>
                    <a:pt x="430" y="2562"/>
                    <a:pt x="427" y="2561"/>
                    <a:pt x="423" y="2561"/>
                  </a:cubicBezTo>
                  <a:cubicBezTo>
                    <a:pt x="422" y="2561"/>
                    <a:pt x="422" y="2561"/>
                    <a:pt x="422" y="2561"/>
                  </a:cubicBezTo>
                  <a:cubicBezTo>
                    <a:pt x="422" y="2561"/>
                    <a:pt x="422" y="2561"/>
                    <a:pt x="422" y="2561"/>
                  </a:cubicBezTo>
                  <a:cubicBezTo>
                    <a:pt x="422" y="2561"/>
                    <a:pt x="422" y="2561"/>
                    <a:pt x="422" y="2561"/>
                  </a:cubicBezTo>
                  <a:cubicBezTo>
                    <a:pt x="420" y="2561"/>
                    <a:pt x="418" y="2561"/>
                    <a:pt x="417" y="2560"/>
                  </a:cubicBezTo>
                  <a:cubicBezTo>
                    <a:pt x="414" y="2559"/>
                    <a:pt x="411" y="2557"/>
                    <a:pt x="408" y="2554"/>
                  </a:cubicBezTo>
                  <a:cubicBezTo>
                    <a:pt x="404" y="2551"/>
                    <a:pt x="401" y="2547"/>
                    <a:pt x="396" y="2544"/>
                  </a:cubicBezTo>
                  <a:cubicBezTo>
                    <a:pt x="396" y="2544"/>
                    <a:pt x="396" y="2544"/>
                    <a:pt x="396" y="2544"/>
                  </a:cubicBezTo>
                  <a:cubicBezTo>
                    <a:pt x="396" y="2544"/>
                    <a:pt x="396" y="2544"/>
                    <a:pt x="396" y="2544"/>
                  </a:cubicBezTo>
                  <a:cubicBezTo>
                    <a:pt x="393" y="2541"/>
                    <a:pt x="389" y="2537"/>
                    <a:pt x="385" y="2533"/>
                  </a:cubicBezTo>
                  <a:cubicBezTo>
                    <a:pt x="385" y="2533"/>
                    <a:pt x="385" y="2533"/>
                    <a:pt x="385" y="2533"/>
                  </a:cubicBezTo>
                  <a:cubicBezTo>
                    <a:pt x="381" y="2530"/>
                    <a:pt x="377" y="2526"/>
                    <a:pt x="372" y="2523"/>
                  </a:cubicBezTo>
                  <a:cubicBezTo>
                    <a:pt x="367" y="2520"/>
                    <a:pt x="360" y="2518"/>
                    <a:pt x="353" y="2518"/>
                  </a:cubicBezTo>
                  <a:cubicBezTo>
                    <a:pt x="352" y="2518"/>
                    <a:pt x="352" y="2518"/>
                    <a:pt x="352" y="2518"/>
                  </a:cubicBezTo>
                  <a:cubicBezTo>
                    <a:pt x="352" y="2518"/>
                    <a:pt x="352" y="2518"/>
                    <a:pt x="352" y="2518"/>
                  </a:cubicBezTo>
                  <a:cubicBezTo>
                    <a:pt x="351" y="2518"/>
                    <a:pt x="351" y="2518"/>
                    <a:pt x="351" y="2518"/>
                  </a:cubicBezTo>
                  <a:cubicBezTo>
                    <a:pt x="349" y="2518"/>
                    <a:pt x="348" y="2518"/>
                    <a:pt x="348" y="2518"/>
                  </a:cubicBezTo>
                  <a:cubicBezTo>
                    <a:pt x="348" y="2518"/>
                    <a:pt x="348" y="2518"/>
                    <a:pt x="348" y="2518"/>
                  </a:cubicBezTo>
                  <a:cubicBezTo>
                    <a:pt x="347" y="2519"/>
                    <a:pt x="347" y="2519"/>
                    <a:pt x="347" y="2519"/>
                  </a:cubicBezTo>
                  <a:cubicBezTo>
                    <a:pt x="348" y="2518"/>
                    <a:pt x="348" y="2518"/>
                    <a:pt x="348" y="2518"/>
                  </a:cubicBezTo>
                  <a:cubicBezTo>
                    <a:pt x="348" y="2518"/>
                    <a:pt x="348" y="2518"/>
                    <a:pt x="348" y="2518"/>
                  </a:cubicBezTo>
                  <a:cubicBezTo>
                    <a:pt x="347" y="2519"/>
                    <a:pt x="347" y="2519"/>
                    <a:pt x="347" y="2519"/>
                  </a:cubicBezTo>
                  <a:cubicBezTo>
                    <a:pt x="348" y="2518"/>
                    <a:pt x="348" y="2518"/>
                    <a:pt x="348" y="2518"/>
                  </a:cubicBezTo>
                  <a:cubicBezTo>
                    <a:pt x="346" y="2521"/>
                    <a:pt x="346" y="2521"/>
                    <a:pt x="346" y="2521"/>
                  </a:cubicBezTo>
                  <a:cubicBezTo>
                    <a:pt x="349" y="2519"/>
                    <a:pt x="349" y="2519"/>
                    <a:pt x="349" y="2519"/>
                  </a:cubicBezTo>
                  <a:cubicBezTo>
                    <a:pt x="348" y="2518"/>
                    <a:pt x="348" y="2518"/>
                    <a:pt x="348" y="2518"/>
                  </a:cubicBezTo>
                  <a:cubicBezTo>
                    <a:pt x="346" y="2521"/>
                    <a:pt x="346" y="2521"/>
                    <a:pt x="346" y="2521"/>
                  </a:cubicBezTo>
                  <a:cubicBezTo>
                    <a:pt x="349" y="2519"/>
                    <a:pt x="349" y="2519"/>
                    <a:pt x="349" y="2519"/>
                  </a:cubicBezTo>
                  <a:cubicBezTo>
                    <a:pt x="347" y="2520"/>
                    <a:pt x="347" y="2520"/>
                    <a:pt x="347" y="2520"/>
                  </a:cubicBezTo>
                  <a:cubicBezTo>
                    <a:pt x="349" y="2519"/>
                    <a:pt x="349" y="2519"/>
                    <a:pt x="349" y="2519"/>
                  </a:cubicBezTo>
                  <a:cubicBezTo>
                    <a:pt x="349" y="2519"/>
                    <a:pt x="349" y="2519"/>
                    <a:pt x="349" y="2519"/>
                  </a:cubicBezTo>
                  <a:cubicBezTo>
                    <a:pt x="347" y="2520"/>
                    <a:pt x="347" y="2520"/>
                    <a:pt x="347" y="2520"/>
                  </a:cubicBezTo>
                  <a:cubicBezTo>
                    <a:pt x="349" y="2519"/>
                    <a:pt x="349" y="2519"/>
                    <a:pt x="349" y="2519"/>
                  </a:cubicBezTo>
                  <a:cubicBezTo>
                    <a:pt x="348" y="2519"/>
                    <a:pt x="348" y="2519"/>
                    <a:pt x="348" y="2519"/>
                  </a:cubicBezTo>
                  <a:cubicBezTo>
                    <a:pt x="349" y="2519"/>
                    <a:pt x="349" y="2519"/>
                    <a:pt x="349" y="2519"/>
                  </a:cubicBezTo>
                  <a:cubicBezTo>
                    <a:pt x="349" y="2519"/>
                    <a:pt x="349" y="2519"/>
                    <a:pt x="349" y="2519"/>
                  </a:cubicBezTo>
                  <a:cubicBezTo>
                    <a:pt x="348" y="2519"/>
                    <a:pt x="348" y="2519"/>
                    <a:pt x="348" y="2519"/>
                  </a:cubicBezTo>
                  <a:cubicBezTo>
                    <a:pt x="349" y="2519"/>
                    <a:pt x="349" y="2519"/>
                    <a:pt x="349" y="2519"/>
                  </a:cubicBezTo>
                  <a:cubicBezTo>
                    <a:pt x="349" y="2519"/>
                    <a:pt x="349" y="2519"/>
                    <a:pt x="349" y="2519"/>
                  </a:cubicBezTo>
                  <a:cubicBezTo>
                    <a:pt x="348" y="2519"/>
                    <a:pt x="348" y="2517"/>
                    <a:pt x="347" y="2514"/>
                  </a:cubicBezTo>
                  <a:cubicBezTo>
                    <a:pt x="347" y="2514"/>
                    <a:pt x="347" y="2514"/>
                    <a:pt x="347" y="2514"/>
                  </a:cubicBezTo>
                  <a:cubicBezTo>
                    <a:pt x="347" y="2514"/>
                    <a:pt x="347" y="2514"/>
                    <a:pt x="347" y="2514"/>
                  </a:cubicBezTo>
                  <a:cubicBezTo>
                    <a:pt x="346" y="2510"/>
                    <a:pt x="345" y="2506"/>
                    <a:pt x="343" y="2502"/>
                  </a:cubicBezTo>
                  <a:cubicBezTo>
                    <a:pt x="341" y="2498"/>
                    <a:pt x="339" y="2494"/>
                    <a:pt x="335" y="2491"/>
                  </a:cubicBezTo>
                  <a:cubicBezTo>
                    <a:pt x="335" y="2491"/>
                    <a:pt x="335" y="2491"/>
                    <a:pt x="335" y="2491"/>
                  </a:cubicBezTo>
                  <a:cubicBezTo>
                    <a:pt x="332" y="2488"/>
                    <a:pt x="330" y="2485"/>
                    <a:pt x="329" y="2481"/>
                  </a:cubicBezTo>
                  <a:cubicBezTo>
                    <a:pt x="328" y="2478"/>
                    <a:pt x="328" y="2474"/>
                    <a:pt x="328" y="2469"/>
                  </a:cubicBezTo>
                  <a:cubicBezTo>
                    <a:pt x="328" y="2466"/>
                    <a:pt x="328" y="2463"/>
                    <a:pt x="328" y="2460"/>
                  </a:cubicBezTo>
                  <a:cubicBezTo>
                    <a:pt x="328" y="2459"/>
                    <a:pt x="328" y="2459"/>
                    <a:pt x="328" y="2459"/>
                  </a:cubicBezTo>
                  <a:cubicBezTo>
                    <a:pt x="328" y="2459"/>
                    <a:pt x="328" y="2459"/>
                    <a:pt x="328" y="2459"/>
                  </a:cubicBezTo>
                  <a:cubicBezTo>
                    <a:pt x="328" y="2459"/>
                    <a:pt x="328" y="2459"/>
                    <a:pt x="328" y="2458"/>
                  </a:cubicBezTo>
                  <a:cubicBezTo>
                    <a:pt x="329" y="2457"/>
                    <a:pt x="329" y="2456"/>
                    <a:pt x="329" y="2454"/>
                  </a:cubicBezTo>
                  <a:cubicBezTo>
                    <a:pt x="329" y="2452"/>
                    <a:pt x="329" y="2450"/>
                    <a:pt x="328" y="2448"/>
                  </a:cubicBezTo>
                  <a:cubicBezTo>
                    <a:pt x="328" y="2448"/>
                    <a:pt x="328" y="2448"/>
                    <a:pt x="328" y="2448"/>
                  </a:cubicBezTo>
                  <a:cubicBezTo>
                    <a:pt x="327" y="2446"/>
                    <a:pt x="327" y="2444"/>
                    <a:pt x="327" y="2442"/>
                  </a:cubicBezTo>
                  <a:cubicBezTo>
                    <a:pt x="327" y="2439"/>
                    <a:pt x="327" y="2436"/>
                    <a:pt x="328" y="2434"/>
                  </a:cubicBezTo>
                  <a:cubicBezTo>
                    <a:pt x="329" y="2431"/>
                    <a:pt x="331" y="2428"/>
                    <a:pt x="333" y="2424"/>
                  </a:cubicBezTo>
                  <a:cubicBezTo>
                    <a:pt x="333" y="2424"/>
                    <a:pt x="333" y="2424"/>
                    <a:pt x="333" y="2424"/>
                  </a:cubicBezTo>
                  <a:cubicBezTo>
                    <a:pt x="339" y="2415"/>
                    <a:pt x="342" y="2405"/>
                    <a:pt x="342" y="2394"/>
                  </a:cubicBezTo>
                  <a:cubicBezTo>
                    <a:pt x="342" y="2391"/>
                    <a:pt x="342" y="2388"/>
                    <a:pt x="342" y="2385"/>
                  </a:cubicBezTo>
                  <a:cubicBezTo>
                    <a:pt x="340" y="2377"/>
                    <a:pt x="338" y="2367"/>
                    <a:pt x="334" y="2359"/>
                  </a:cubicBezTo>
                  <a:cubicBezTo>
                    <a:pt x="334" y="2359"/>
                    <a:pt x="334" y="2359"/>
                    <a:pt x="334" y="2359"/>
                  </a:cubicBezTo>
                  <a:cubicBezTo>
                    <a:pt x="325" y="2339"/>
                    <a:pt x="315" y="2320"/>
                    <a:pt x="304" y="2302"/>
                  </a:cubicBezTo>
                  <a:cubicBezTo>
                    <a:pt x="304" y="2302"/>
                    <a:pt x="304" y="2302"/>
                    <a:pt x="304" y="2302"/>
                  </a:cubicBezTo>
                  <a:cubicBezTo>
                    <a:pt x="302" y="2298"/>
                    <a:pt x="299" y="2295"/>
                    <a:pt x="296" y="2292"/>
                  </a:cubicBezTo>
                  <a:cubicBezTo>
                    <a:pt x="293" y="2289"/>
                    <a:pt x="290" y="2287"/>
                    <a:pt x="288" y="2285"/>
                  </a:cubicBezTo>
                  <a:cubicBezTo>
                    <a:pt x="288" y="2285"/>
                    <a:pt x="288" y="2285"/>
                    <a:pt x="288" y="2285"/>
                  </a:cubicBezTo>
                  <a:cubicBezTo>
                    <a:pt x="273" y="2273"/>
                    <a:pt x="257" y="2261"/>
                    <a:pt x="241" y="2249"/>
                  </a:cubicBezTo>
                  <a:cubicBezTo>
                    <a:pt x="241" y="2249"/>
                    <a:pt x="241" y="2249"/>
                    <a:pt x="241" y="2249"/>
                  </a:cubicBezTo>
                  <a:cubicBezTo>
                    <a:pt x="227" y="2239"/>
                    <a:pt x="212" y="2231"/>
                    <a:pt x="196" y="2225"/>
                  </a:cubicBezTo>
                  <a:cubicBezTo>
                    <a:pt x="196" y="2225"/>
                    <a:pt x="196" y="2225"/>
                    <a:pt x="196" y="2225"/>
                  </a:cubicBezTo>
                  <a:cubicBezTo>
                    <a:pt x="196" y="2225"/>
                    <a:pt x="196" y="2225"/>
                    <a:pt x="196" y="2225"/>
                  </a:cubicBezTo>
                  <a:cubicBezTo>
                    <a:pt x="189" y="2223"/>
                    <a:pt x="181" y="2219"/>
                    <a:pt x="174" y="2216"/>
                  </a:cubicBezTo>
                  <a:cubicBezTo>
                    <a:pt x="167" y="2213"/>
                    <a:pt x="160" y="2211"/>
                    <a:pt x="154" y="2210"/>
                  </a:cubicBezTo>
                  <a:cubicBezTo>
                    <a:pt x="147" y="2209"/>
                    <a:pt x="141" y="2208"/>
                    <a:pt x="136" y="2207"/>
                  </a:cubicBezTo>
                  <a:cubicBezTo>
                    <a:pt x="136" y="2207"/>
                    <a:pt x="136" y="2207"/>
                    <a:pt x="136" y="2207"/>
                  </a:cubicBezTo>
                  <a:cubicBezTo>
                    <a:pt x="133" y="2207"/>
                    <a:pt x="131" y="2206"/>
                    <a:pt x="129" y="2205"/>
                  </a:cubicBezTo>
                  <a:cubicBezTo>
                    <a:pt x="127" y="2205"/>
                    <a:pt x="125" y="2204"/>
                    <a:pt x="123" y="2202"/>
                  </a:cubicBezTo>
                  <a:cubicBezTo>
                    <a:pt x="123" y="2202"/>
                    <a:pt x="123" y="2202"/>
                    <a:pt x="123" y="2202"/>
                  </a:cubicBezTo>
                  <a:cubicBezTo>
                    <a:pt x="123" y="2202"/>
                    <a:pt x="123" y="2202"/>
                    <a:pt x="123" y="2202"/>
                  </a:cubicBezTo>
                  <a:cubicBezTo>
                    <a:pt x="104" y="2189"/>
                    <a:pt x="84" y="2177"/>
                    <a:pt x="66" y="2164"/>
                  </a:cubicBezTo>
                  <a:cubicBezTo>
                    <a:pt x="66" y="2164"/>
                    <a:pt x="66" y="2164"/>
                    <a:pt x="66" y="2164"/>
                  </a:cubicBezTo>
                  <a:cubicBezTo>
                    <a:pt x="62" y="2162"/>
                    <a:pt x="59" y="2158"/>
                    <a:pt x="56" y="2154"/>
                  </a:cubicBezTo>
                  <a:cubicBezTo>
                    <a:pt x="56" y="2154"/>
                    <a:pt x="56" y="2154"/>
                    <a:pt x="56" y="2154"/>
                  </a:cubicBezTo>
                  <a:cubicBezTo>
                    <a:pt x="45" y="2140"/>
                    <a:pt x="35" y="2126"/>
                    <a:pt x="25" y="2111"/>
                  </a:cubicBezTo>
                  <a:cubicBezTo>
                    <a:pt x="25" y="2111"/>
                    <a:pt x="25" y="2111"/>
                    <a:pt x="25" y="2111"/>
                  </a:cubicBezTo>
                  <a:cubicBezTo>
                    <a:pt x="24" y="2110"/>
                    <a:pt x="24" y="2109"/>
                    <a:pt x="24" y="2109"/>
                  </a:cubicBezTo>
                  <a:cubicBezTo>
                    <a:pt x="24" y="2109"/>
                    <a:pt x="24" y="2109"/>
                    <a:pt x="24" y="2109"/>
                  </a:cubicBezTo>
                  <a:cubicBezTo>
                    <a:pt x="19" y="2111"/>
                    <a:pt x="19" y="2111"/>
                    <a:pt x="19" y="2111"/>
                  </a:cubicBezTo>
                  <a:cubicBezTo>
                    <a:pt x="24" y="2111"/>
                    <a:pt x="24" y="2111"/>
                    <a:pt x="24" y="2111"/>
                  </a:cubicBezTo>
                  <a:cubicBezTo>
                    <a:pt x="24" y="2110"/>
                    <a:pt x="24" y="2109"/>
                    <a:pt x="24" y="2109"/>
                  </a:cubicBezTo>
                  <a:cubicBezTo>
                    <a:pt x="19" y="2111"/>
                    <a:pt x="19" y="2111"/>
                    <a:pt x="19" y="2111"/>
                  </a:cubicBezTo>
                  <a:cubicBezTo>
                    <a:pt x="24" y="2111"/>
                    <a:pt x="24" y="2111"/>
                    <a:pt x="24" y="2111"/>
                  </a:cubicBezTo>
                  <a:cubicBezTo>
                    <a:pt x="16" y="2111"/>
                    <a:pt x="16" y="2111"/>
                    <a:pt x="16" y="2111"/>
                  </a:cubicBezTo>
                  <a:cubicBezTo>
                    <a:pt x="24" y="2114"/>
                    <a:pt x="24" y="2114"/>
                    <a:pt x="24" y="2114"/>
                  </a:cubicBezTo>
                  <a:cubicBezTo>
                    <a:pt x="24" y="2113"/>
                    <a:pt x="24" y="2112"/>
                    <a:pt x="24" y="2111"/>
                  </a:cubicBezTo>
                  <a:cubicBezTo>
                    <a:pt x="16" y="2111"/>
                    <a:pt x="16" y="2111"/>
                    <a:pt x="16" y="2111"/>
                  </a:cubicBezTo>
                  <a:cubicBezTo>
                    <a:pt x="24" y="2114"/>
                    <a:pt x="24" y="2114"/>
                    <a:pt x="24" y="2114"/>
                  </a:cubicBezTo>
                  <a:cubicBezTo>
                    <a:pt x="17" y="2111"/>
                    <a:pt x="17" y="2111"/>
                    <a:pt x="17" y="2111"/>
                  </a:cubicBezTo>
                  <a:cubicBezTo>
                    <a:pt x="23" y="2115"/>
                    <a:pt x="23" y="2115"/>
                    <a:pt x="23" y="2115"/>
                  </a:cubicBezTo>
                  <a:cubicBezTo>
                    <a:pt x="23" y="2115"/>
                    <a:pt x="23" y="2114"/>
                    <a:pt x="24" y="2114"/>
                  </a:cubicBezTo>
                  <a:cubicBezTo>
                    <a:pt x="17" y="2111"/>
                    <a:pt x="17" y="2111"/>
                    <a:pt x="17" y="2111"/>
                  </a:cubicBezTo>
                  <a:cubicBezTo>
                    <a:pt x="23" y="2115"/>
                    <a:pt x="23" y="2115"/>
                    <a:pt x="23" y="2115"/>
                  </a:cubicBezTo>
                  <a:cubicBezTo>
                    <a:pt x="20" y="2113"/>
                    <a:pt x="20" y="2113"/>
                    <a:pt x="20" y="2113"/>
                  </a:cubicBezTo>
                  <a:cubicBezTo>
                    <a:pt x="22" y="2116"/>
                    <a:pt x="22" y="2116"/>
                    <a:pt x="22" y="2116"/>
                  </a:cubicBezTo>
                  <a:cubicBezTo>
                    <a:pt x="23" y="2115"/>
                    <a:pt x="23" y="2115"/>
                    <a:pt x="23" y="2115"/>
                  </a:cubicBezTo>
                  <a:cubicBezTo>
                    <a:pt x="20" y="2113"/>
                    <a:pt x="20" y="2113"/>
                    <a:pt x="20" y="2113"/>
                  </a:cubicBezTo>
                  <a:cubicBezTo>
                    <a:pt x="22" y="2116"/>
                    <a:pt x="22" y="2116"/>
                    <a:pt x="22" y="2116"/>
                  </a:cubicBezTo>
                  <a:cubicBezTo>
                    <a:pt x="22" y="2115"/>
                    <a:pt x="22" y="2115"/>
                    <a:pt x="22" y="2115"/>
                  </a:cubicBezTo>
                  <a:cubicBezTo>
                    <a:pt x="22" y="2116"/>
                    <a:pt x="22" y="2116"/>
                    <a:pt x="22" y="2116"/>
                  </a:cubicBezTo>
                  <a:cubicBezTo>
                    <a:pt x="22" y="2116"/>
                    <a:pt x="22" y="2116"/>
                    <a:pt x="22" y="2116"/>
                  </a:cubicBezTo>
                  <a:cubicBezTo>
                    <a:pt x="22" y="2115"/>
                    <a:pt x="22" y="2115"/>
                    <a:pt x="22" y="2115"/>
                  </a:cubicBezTo>
                  <a:cubicBezTo>
                    <a:pt x="22" y="2116"/>
                    <a:pt x="22" y="2116"/>
                    <a:pt x="22" y="2116"/>
                  </a:cubicBezTo>
                  <a:cubicBezTo>
                    <a:pt x="22" y="2116"/>
                    <a:pt x="23" y="2115"/>
                    <a:pt x="24" y="2115"/>
                  </a:cubicBezTo>
                  <a:cubicBezTo>
                    <a:pt x="24" y="2115"/>
                    <a:pt x="24" y="2115"/>
                    <a:pt x="24" y="2115"/>
                  </a:cubicBezTo>
                  <a:cubicBezTo>
                    <a:pt x="35" y="2108"/>
                    <a:pt x="45" y="2101"/>
                    <a:pt x="56" y="2095"/>
                  </a:cubicBezTo>
                  <a:cubicBezTo>
                    <a:pt x="56" y="2095"/>
                    <a:pt x="56" y="2095"/>
                    <a:pt x="56" y="2095"/>
                  </a:cubicBezTo>
                  <a:cubicBezTo>
                    <a:pt x="72" y="2087"/>
                    <a:pt x="88" y="2080"/>
                    <a:pt x="104" y="2072"/>
                  </a:cubicBezTo>
                  <a:cubicBezTo>
                    <a:pt x="105" y="2072"/>
                    <a:pt x="108" y="2071"/>
                    <a:pt x="109" y="2071"/>
                  </a:cubicBezTo>
                  <a:cubicBezTo>
                    <a:pt x="110" y="2071"/>
                    <a:pt x="110" y="2071"/>
                    <a:pt x="110" y="2071"/>
                  </a:cubicBezTo>
                  <a:cubicBezTo>
                    <a:pt x="110" y="2071"/>
                    <a:pt x="110" y="2071"/>
                    <a:pt x="110" y="2071"/>
                  </a:cubicBezTo>
                  <a:cubicBezTo>
                    <a:pt x="125" y="2073"/>
                    <a:pt x="140" y="2075"/>
                    <a:pt x="156" y="2077"/>
                  </a:cubicBezTo>
                  <a:cubicBezTo>
                    <a:pt x="156" y="2077"/>
                    <a:pt x="156" y="2077"/>
                    <a:pt x="156" y="2077"/>
                  </a:cubicBezTo>
                  <a:cubicBezTo>
                    <a:pt x="166" y="2078"/>
                    <a:pt x="177" y="2080"/>
                    <a:pt x="189" y="2082"/>
                  </a:cubicBezTo>
                  <a:cubicBezTo>
                    <a:pt x="189" y="2082"/>
                    <a:pt x="189" y="2082"/>
                    <a:pt x="189" y="2082"/>
                  </a:cubicBezTo>
                  <a:cubicBezTo>
                    <a:pt x="189" y="2082"/>
                    <a:pt x="190" y="2082"/>
                    <a:pt x="191" y="2082"/>
                  </a:cubicBezTo>
                  <a:cubicBezTo>
                    <a:pt x="192" y="2082"/>
                    <a:pt x="194" y="2082"/>
                    <a:pt x="195" y="2081"/>
                  </a:cubicBezTo>
                  <a:cubicBezTo>
                    <a:pt x="197" y="2081"/>
                    <a:pt x="199" y="2080"/>
                    <a:pt x="201" y="2079"/>
                  </a:cubicBezTo>
                  <a:cubicBezTo>
                    <a:pt x="202" y="2078"/>
                    <a:pt x="203" y="2078"/>
                    <a:pt x="204" y="2077"/>
                  </a:cubicBezTo>
                  <a:cubicBezTo>
                    <a:pt x="205" y="2076"/>
                    <a:pt x="206" y="2075"/>
                    <a:pt x="207" y="2073"/>
                  </a:cubicBezTo>
                  <a:cubicBezTo>
                    <a:pt x="207" y="2073"/>
                    <a:pt x="207" y="2073"/>
                    <a:pt x="207" y="2073"/>
                  </a:cubicBezTo>
                  <a:cubicBezTo>
                    <a:pt x="207" y="2072"/>
                    <a:pt x="207" y="2072"/>
                    <a:pt x="207" y="2072"/>
                  </a:cubicBezTo>
                  <a:cubicBezTo>
                    <a:pt x="207" y="2072"/>
                    <a:pt x="207" y="2072"/>
                    <a:pt x="207" y="2072"/>
                  </a:cubicBezTo>
                  <a:cubicBezTo>
                    <a:pt x="206" y="2071"/>
                    <a:pt x="206" y="2071"/>
                    <a:pt x="206" y="2071"/>
                  </a:cubicBezTo>
                  <a:cubicBezTo>
                    <a:pt x="206" y="2073"/>
                    <a:pt x="206" y="2073"/>
                    <a:pt x="206" y="2073"/>
                  </a:cubicBezTo>
                  <a:cubicBezTo>
                    <a:pt x="207" y="2072"/>
                    <a:pt x="207" y="2072"/>
                    <a:pt x="207" y="2072"/>
                  </a:cubicBezTo>
                  <a:cubicBezTo>
                    <a:pt x="206" y="2071"/>
                    <a:pt x="206" y="2071"/>
                    <a:pt x="206" y="2071"/>
                  </a:cubicBezTo>
                  <a:cubicBezTo>
                    <a:pt x="206" y="2073"/>
                    <a:pt x="206" y="2073"/>
                    <a:pt x="206" y="2073"/>
                  </a:cubicBezTo>
                  <a:cubicBezTo>
                    <a:pt x="206" y="2071"/>
                    <a:pt x="206" y="2071"/>
                    <a:pt x="206" y="2071"/>
                  </a:cubicBezTo>
                  <a:cubicBezTo>
                    <a:pt x="206" y="2073"/>
                    <a:pt x="206" y="2073"/>
                    <a:pt x="206" y="2073"/>
                  </a:cubicBezTo>
                  <a:cubicBezTo>
                    <a:pt x="206" y="2073"/>
                    <a:pt x="206" y="2073"/>
                    <a:pt x="206" y="2073"/>
                  </a:cubicBezTo>
                  <a:cubicBezTo>
                    <a:pt x="206" y="2071"/>
                    <a:pt x="206" y="2071"/>
                    <a:pt x="206" y="2071"/>
                  </a:cubicBezTo>
                  <a:cubicBezTo>
                    <a:pt x="206" y="2073"/>
                    <a:pt x="206" y="2073"/>
                    <a:pt x="206" y="2073"/>
                  </a:cubicBezTo>
                  <a:cubicBezTo>
                    <a:pt x="206" y="2073"/>
                    <a:pt x="206" y="2073"/>
                    <a:pt x="206" y="2073"/>
                  </a:cubicBezTo>
                  <a:cubicBezTo>
                    <a:pt x="206" y="2073"/>
                    <a:pt x="206" y="2073"/>
                    <a:pt x="206" y="2073"/>
                  </a:cubicBezTo>
                  <a:cubicBezTo>
                    <a:pt x="206" y="2073"/>
                    <a:pt x="206" y="2073"/>
                    <a:pt x="206" y="2073"/>
                  </a:cubicBezTo>
                  <a:cubicBezTo>
                    <a:pt x="206" y="2073"/>
                    <a:pt x="206" y="2073"/>
                    <a:pt x="206" y="2073"/>
                  </a:cubicBezTo>
                  <a:cubicBezTo>
                    <a:pt x="206" y="2073"/>
                    <a:pt x="206" y="2073"/>
                    <a:pt x="206" y="2073"/>
                  </a:cubicBezTo>
                  <a:cubicBezTo>
                    <a:pt x="206" y="2073"/>
                    <a:pt x="206" y="2073"/>
                    <a:pt x="206" y="2073"/>
                  </a:cubicBezTo>
                  <a:cubicBezTo>
                    <a:pt x="206" y="2073"/>
                    <a:pt x="208" y="2073"/>
                    <a:pt x="209" y="2074"/>
                  </a:cubicBezTo>
                  <a:cubicBezTo>
                    <a:pt x="210" y="2074"/>
                    <a:pt x="210" y="2074"/>
                    <a:pt x="210" y="2074"/>
                  </a:cubicBezTo>
                  <a:cubicBezTo>
                    <a:pt x="210" y="2074"/>
                    <a:pt x="210" y="2074"/>
                    <a:pt x="210" y="2074"/>
                  </a:cubicBezTo>
                  <a:cubicBezTo>
                    <a:pt x="212" y="2075"/>
                    <a:pt x="216" y="2075"/>
                    <a:pt x="219" y="2075"/>
                  </a:cubicBezTo>
                  <a:cubicBezTo>
                    <a:pt x="221" y="2075"/>
                    <a:pt x="224" y="2075"/>
                    <a:pt x="227" y="2074"/>
                  </a:cubicBezTo>
                  <a:cubicBezTo>
                    <a:pt x="229" y="2073"/>
                    <a:pt x="231" y="2072"/>
                    <a:pt x="233" y="2071"/>
                  </a:cubicBezTo>
                  <a:cubicBezTo>
                    <a:pt x="235" y="2070"/>
                    <a:pt x="238" y="2069"/>
                    <a:pt x="240" y="2067"/>
                  </a:cubicBezTo>
                  <a:cubicBezTo>
                    <a:pt x="243" y="2066"/>
                    <a:pt x="246" y="2064"/>
                    <a:pt x="249" y="2062"/>
                  </a:cubicBezTo>
                  <a:cubicBezTo>
                    <a:pt x="249" y="2062"/>
                    <a:pt x="249" y="2062"/>
                    <a:pt x="249" y="2062"/>
                  </a:cubicBezTo>
                  <a:cubicBezTo>
                    <a:pt x="249" y="2062"/>
                    <a:pt x="249" y="2062"/>
                    <a:pt x="249" y="2062"/>
                  </a:cubicBezTo>
                  <a:cubicBezTo>
                    <a:pt x="254" y="2058"/>
                    <a:pt x="258" y="2055"/>
                    <a:pt x="264" y="2053"/>
                  </a:cubicBezTo>
                  <a:cubicBezTo>
                    <a:pt x="270" y="2052"/>
                    <a:pt x="276" y="2050"/>
                    <a:pt x="283" y="2050"/>
                  </a:cubicBezTo>
                  <a:cubicBezTo>
                    <a:pt x="283" y="2050"/>
                    <a:pt x="283" y="2050"/>
                    <a:pt x="283" y="2050"/>
                  </a:cubicBezTo>
                  <a:cubicBezTo>
                    <a:pt x="293" y="2048"/>
                    <a:pt x="304" y="2047"/>
                    <a:pt x="315" y="2045"/>
                  </a:cubicBezTo>
                  <a:cubicBezTo>
                    <a:pt x="315" y="2045"/>
                    <a:pt x="315" y="2045"/>
                    <a:pt x="315" y="2045"/>
                  </a:cubicBezTo>
                  <a:cubicBezTo>
                    <a:pt x="315" y="2045"/>
                    <a:pt x="315" y="2045"/>
                    <a:pt x="315" y="2045"/>
                  </a:cubicBezTo>
                  <a:cubicBezTo>
                    <a:pt x="327" y="2044"/>
                    <a:pt x="338" y="2042"/>
                    <a:pt x="349" y="2041"/>
                  </a:cubicBezTo>
                  <a:cubicBezTo>
                    <a:pt x="349" y="2041"/>
                    <a:pt x="349" y="2041"/>
                    <a:pt x="349" y="2041"/>
                  </a:cubicBezTo>
                  <a:cubicBezTo>
                    <a:pt x="372" y="2040"/>
                    <a:pt x="393" y="2036"/>
                    <a:pt x="414" y="2036"/>
                  </a:cubicBezTo>
                  <a:cubicBezTo>
                    <a:pt x="416" y="2036"/>
                    <a:pt x="419" y="2036"/>
                    <a:pt x="422" y="2036"/>
                  </a:cubicBezTo>
                  <a:cubicBezTo>
                    <a:pt x="422" y="2036"/>
                    <a:pt x="422" y="2036"/>
                    <a:pt x="422" y="2036"/>
                  </a:cubicBezTo>
                  <a:cubicBezTo>
                    <a:pt x="438" y="2037"/>
                    <a:pt x="455" y="2038"/>
                    <a:pt x="472" y="2039"/>
                  </a:cubicBezTo>
                  <a:cubicBezTo>
                    <a:pt x="472" y="2039"/>
                    <a:pt x="472" y="2039"/>
                    <a:pt x="472" y="2039"/>
                  </a:cubicBezTo>
                  <a:cubicBezTo>
                    <a:pt x="501" y="2039"/>
                    <a:pt x="531" y="2040"/>
                    <a:pt x="561" y="2041"/>
                  </a:cubicBezTo>
                  <a:cubicBezTo>
                    <a:pt x="561" y="2041"/>
                    <a:pt x="561" y="2041"/>
                    <a:pt x="561" y="2041"/>
                  </a:cubicBezTo>
                  <a:cubicBezTo>
                    <a:pt x="561" y="2041"/>
                    <a:pt x="562" y="2041"/>
                    <a:pt x="562" y="2041"/>
                  </a:cubicBezTo>
                  <a:cubicBezTo>
                    <a:pt x="562" y="2041"/>
                    <a:pt x="562" y="2041"/>
                    <a:pt x="562" y="2041"/>
                  </a:cubicBezTo>
                  <a:cubicBezTo>
                    <a:pt x="562" y="2041"/>
                    <a:pt x="562" y="2041"/>
                    <a:pt x="562" y="2041"/>
                  </a:cubicBezTo>
                  <a:cubicBezTo>
                    <a:pt x="562" y="2041"/>
                    <a:pt x="562" y="2041"/>
                    <a:pt x="562" y="2041"/>
                  </a:cubicBezTo>
                  <a:cubicBezTo>
                    <a:pt x="562" y="2041"/>
                    <a:pt x="562" y="2041"/>
                    <a:pt x="562" y="2041"/>
                  </a:cubicBezTo>
                  <a:cubicBezTo>
                    <a:pt x="563" y="2037"/>
                    <a:pt x="563" y="2037"/>
                    <a:pt x="563" y="2037"/>
                  </a:cubicBezTo>
                  <a:cubicBezTo>
                    <a:pt x="561" y="2041"/>
                    <a:pt x="561" y="2041"/>
                    <a:pt x="561" y="2041"/>
                  </a:cubicBezTo>
                  <a:cubicBezTo>
                    <a:pt x="562" y="2041"/>
                    <a:pt x="562" y="2041"/>
                    <a:pt x="562" y="2041"/>
                  </a:cubicBezTo>
                  <a:cubicBezTo>
                    <a:pt x="563" y="2037"/>
                    <a:pt x="563" y="2037"/>
                    <a:pt x="563" y="2037"/>
                  </a:cubicBezTo>
                  <a:cubicBezTo>
                    <a:pt x="561" y="2041"/>
                    <a:pt x="561" y="2041"/>
                    <a:pt x="561" y="2041"/>
                  </a:cubicBezTo>
                  <a:cubicBezTo>
                    <a:pt x="565" y="2034"/>
                    <a:pt x="565" y="2034"/>
                    <a:pt x="565" y="2034"/>
                  </a:cubicBezTo>
                  <a:cubicBezTo>
                    <a:pt x="559" y="2038"/>
                    <a:pt x="559" y="2038"/>
                    <a:pt x="559" y="2038"/>
                  </a:cubicBezTo>
                  <a:cubicBezTo>
                    <a:pt x="559" y="2039"/>
                    <a:pt x="560" y="2040"/>
                    <a:pt x="561" y="2041"/>
                  </a:cubicBezTo>
                  <a:cubicBezTo>
                    <a:pt x="565" y="2034"/>
                    <a:pt x="565" y="2034"/>
                    <a:pt x="565" y="2034"/>
                  </a:cubicBezTo>
                  <a:cubicBezTo>
                    <a:pt x="559" y="2038"/>
                    <a:pt x="559" y="2038"/>
                    <a:pt x="559" y="2038"/>
                  </a:cubicBezTo>
                  <a:cubicBezTo>
                    <a:pt x="564" y="2035"/>
                    <a:pt x="564" y="2035"/>
                    <a:pt x="564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58" y="2035"/>
                    <a:pt x="558" y="2037"/>
                    <a:pt x="559" y="2038"/>
                  </a:cubicBezTo>
                  <a:cubicBezTo>
                    <a:pt x="564" y="2035"/>
                    <a:pt x="564" y="2035"/>
                    <a:pt x="564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60" y="2035"/>
                    <a:pt x="560" y="2035"/>
                    <a:pt x="560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60" y="2035"/>
                    <a:pt x="560" y="2035"/>
                    <a:pt x="560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58" y="2035"/>
                    <a:pt x="558" y="2035"/>
                    <a:pt x="558" y="2035"/>
                  </a:cubicBezTo>
                  <a:cubicBezTo>
                    <a:pt x="556" y="2040"/>
                    <a:pt x="556" y="2045"/>
                    <a:pt x="556" y="2049"/>
                  </a:cubicBezTo>
                  <a:cubicBezTo>
                    <a:pt x="556" y="2059"/>
                    <a:pt x="558" y="2066"/>
                    <a:pt x="558" y="2072"/>
                  </a:cubicBezTo>
                  <a:cubicBezTo>
                    <a:pt x="558" y="2072"/>
                    <a:pt x="558" y="2072"/>
                    <a:pt x="558" y="2072"/>
                  </a:cubicBezTo>
                  <a:cubicBezTo>
                    <a:pt x="558" y="2075"/>
                    <a:pt x="559" y="2078"/>
                    <a:pt x="560" y="2080"/>
                  </a:cubicBezTo>
                  <a:cubicBezTo>
                    <a:pt x="562" y="2084"/>
                    <a:pt x="565" y="2088"/>
                    <a:pt x="568" y="2090"/>
                  </a:cubicBezTo>
                  <a:cubicBezTo>
                    <a:pt x="572" y="2093"/>
                    <a:pt x="576" y="2094"/>
                    <a:pt x="580" y="2095"/>
                  </a:cubicBezTo>
                  <a:cubicBezTo>
                    <a:pt x="580" y="2095"/>
                    <a:pt x="580" y="2095"/>
                    <a:pt x="580" y="2095"/>
                  </a:cubicBezTo>
                  <a:cubicBezTo>
                    <a:pt x="590" y="2096"/>
                    <a:pt x="600" y="2098"/>
                    <a:pt x="610" y="2099"/>
                  </a:cubicBezTo>
                  <a:cubicBezTo>
                    <a:pt x="610" y="2099"/>
                    <a:pt x="610" y="2099"/>
                    <a:pt x="610" y="2099"/>
                  </a:cubicBezTo>
                  <a:cubicBezTo>
                    <a:pt x="610" y="2099"/>
                    <a:pt x="610" y="2099"/>
                    <a:pt x="610" y="2099"/>
                  </a:cubicBezTo>
                  <a:cubicBezTo>
                    <a:pt x="611" y="2099"/>
                    <a:pt x="612" y="2099"/>
                    <a:pt x="613" y="2099"/>
                  </a:cubicBezTo>
                  <a:cubicBezTo>
                    <a:pt x="615" y="2099"/>
                    <a:pt x="617" y="2099"/>
                    <a:pt x="620" y="2098"/>
                  </a:cubicBezTo>
                  <a:cubicBezTo>
                    <a:pt x="621" y="2097"/>
                    <a:pt x="623" y="2096"/>
                    <a:pt x="624" y="2095"/>
                  </a:cubicBezTo>
                  <a:cubicBezTo>
                    <a:pt x="627" y="2093"/>
                    <a:pt x="628" y="2091"/>
                    <a:pt x="628" y="2089"/>
                  </a:cubicBezTo>
                  <a:cubicBezTo>
                    <a:pt x="629" y="2087"/>
                    <a:pt x="630" y="2085"/>
                    <a:pt x="630" y="2084"/>
                  </a:cubicBezTo>
                  <a:cubicBezTo>
                    <a:pt x="633" y="2066"/>
                    <a:pt x="637" y="2049"/>
                    <a:pt x="641" y="2032"/>
                  </a:cubicBezTo>
                  <a:cubicBezTo>
                    <a:pt x="641" y="2032"/>
                    <a:pt x="641" y="2032"/>
                    <a:pt x="641" y="2032"/>
                  </a:cubicBezTo>
                  <a:cubicBezTo>
                    <a:pt x="641" y="2032"/>
                    <a:pt x="641" y="2032"/>
                    <a:pt x="641" y="2032"/>
                  </a:cubicBezTo>
                  <a:cubicBezTo>
                    <a:pt x="640" y="2031"/>
                    <a:pt x="640" y="2031"/>
                    <a:pt x="640" y="2031"/>
                  </a:cubicBezTo>
                  <a:cubicBezTo>
                    <a:pt x="641" y="2032"/>
                    <a:pt x="641" y="2032"/>
                    <a:pt x="641" y="2032"/>
                  </a:cubicBezTo>
                  <a:cubicBezTo>
                    <a:pt x="641" y="2032"/>
                    <a:pt x="641" y="2032"/>
                    <a:pt x="641" y="2032"/>
                  </a:cubicBezTo>
                  <a:cubicBezTo>
                    <a:pt x="640" y="2031"/>
                    <a:pt x="640" y="2031"/>
                    <a:pt x="640" y="2031"/>
                  </a:cubicBezTo>
                  <a:cubicBezTo>
                    <a:pt x="641" y="2032"/>
                    <a:pt x="641" y="2032"/>
                    <a:pt x="641" y="2032"/>
                  </a:cubicBezTo>
                  <a:cubicBezTo>
                    <a:pt x="640" y="2031"/>
                    <a:pt x="640" y="2031"/>
                    <a:pt x="640" y="2031"/>
                  </a:cubicBezTo>
                  <a:cubicBezTo>
                    <a:pt x="640" y="2032"/>
                    <a:pt x="640" y="2032"/>
                    <a:pt x="640" y="2032"/>
                  </a:cubicBezTo>
                  <a:cubicBezTo>
                    <a:pt x="641" y="2032"/>
                    <a:pt x="641" y="2032"/>
                    <a:pt x="641" y="2032"/>
                  </a:cubicBezTo>
                  <a:cubicBezTo>
                    <a:pt x="640" y="2031"/>
                    <a:pt x="640" y="2031"/>
                    <a:pt x="640" y="2031"/>
                  </a:cubicBezTo>
                  <a:cubicBezTo>
                    <a:pt x="640" y="2032"/>
                    <a:pt x="640" y="2032"/>
                    <a:pt x="640" y="2032"/>
                  </a:cubicBezTo>
                  <a:cubicBezTo>
                    <a:pt x="640" y="2032"/>
                    <a:pt x="640" y="2032"/>
                    <a:pt x="640" y="2032"/>
                  </a:cubicBezTo>
                  <a:cubicBezTo>
                    <a:pt x="640" y="2032"/>
                    <a:pt x="640" y="2032"/>
                    <a:pt x="640" y="2032"/>
                  </a:cubicBezTo>
                  <a:cubicBezTo>
                    <a:pt x="640" y="2032"/>
                    <a:pt x="640" y="2032"/>
                    <a:pt x="640" y="2032"/>
                  </a:cubicBezTo>
                  <a:cubicBezTo>
                    <a:pt x="640" y="2032"/>
                    <a:pt x="640" y="2032"/>
                    <a:pt x="640" y="2032"/>
                  </a:cubicBezTo>
                  <a:cubicBezTo>
                    <a:pt x="640" y="2032"/>
                    <a:pt x="640" y="2032"/>
                    <a:pt x="640" y="2032"/>
                  </a:cubicBezTo>
                  <a:cubicBezTo>
                    <a:pt x="640" y="2032"/>
                    <a:pt x="640" y="2032"/>
                    <a:pt x="640" y="2032"/>
                  </a:cubicBezTo>
                  <a:cubicBezTo>
                    <a:pt x="641" y="2032"/>
                    <a:pt x="641" y="2032"/>
                    <a:pt x="641" y="2032"/>
                  </a:cubicBezTo>
                  <a:cubicBezTo>
                    <a:pt x="641" y="2032"/>
                    <a:pt x="641" y="2032"/>
                    <a:pt x="641" y="2032"/>
                  </a:cubicBezTo>
                  <a:cubicBezTo>
                    <a:pt x="658" y="2036"/>
                    <a:pt x="674" y="2040"/>
                    <a:pt x="690" y="2044"/>
                  </a:cubicBezTo>
                  <a:cubicBezTo>
                    <a:pt x="692" y="2044"/>
                    <a:pt x="693" y="2044"/>
                    <a:pt x="694" y="2044"/>
                  </a:cubicBezTo>
                  <a:cubicBezTo>
                    <a:pt x="695" y="2045"/>
                    <a:pt x="697" y="2045"/>
                    <a:pt x="699" y="2045"/>
                  </a:cubicBezTo>
                  <a:cubicBezTo>
                    <a:pt x="700" y="2045"/>
                    <a:pt x="701" y="2045"/>
                    <a:pt x="702" y="2045"/>
                  </a:cubicBezTo>
                  <a:cubicBezTo>
                    <a:pt x="704" y="2044"/>
                    <a:pt x="705" y="2044"/>
                    <a:pt x="706" y="2043"/>
                  </a:cubicBezTo>
                  <a:cubicBezTo>
                    <a:pt x="709" y="2041"/>
                    <a:pt x="710" y="2039"/>
                    <a:pt x="711" y="2038"/>
                  </a:cubicBezTo>
                  <a:cubicBezTo>
                    <a:pt x="713" y="2035"/>
                    <a:pt x="713" y="2034"/>
                    <a:pt x="713" y="2032"/>
                  </a:cubicBezTo>
                  <a:cubicBezTo>
                    <a:pt x="713" y="2031"/>
                    <a:pt x="714" y="2030"/>
                    <a:pt x="714" y="2028"/>
                  </a:cubicBezTo>
                  <a:cubicBezTo>
                    <a:pt x="717" y="2011"/>
                    <a:pt x="721" y="1994"/>
                    <a:pt x="725" y="1977"/>
                  </a:cubicBezTo>
                  <a:cubicBezTo>
                    <a:pt x="725" y="1977"/>
                    <a:pt x="725" y="1977"/>
                    <a:pt x="725" y="1977"/>
                  </a:cubicBezTo>
                  <a:cubicBezTo>
                    <a:pt x="725" y="1976"/>
                    <a:pt x="725" y="1975"/>
                    <a:pt x="725" y="1975"/>
                  </a:cubicBezTo>
                  <a:cubicBezTo>
                    <a:pt x="725" y="1975"/>
                    <a:pt x="725" y="1975"/>
                    <a:pt x="725" y="1975"/>
                  </a:cubicBezTo>
                  <a:cubicBezTo>
                    <a:pt x="725" y="1975"/>
                    <a:pt x="725" y="1975"/>
                    <a:pt x="725" y="1975"/>
                  </a:cubicBezTo>
                  <a:cubicBezTo>
                    <a:pt x="725" y="1975"/>
                    <a:pt x="725" y="1975"/>
                    <a:pt x="725" y="1975"/>
                  </a:cubicBezTo>
                  <a:cubicBezTo>
                    <a:pt x="725" y="1975"/>
                    <a:pt x="725" y="1975"/>
                    <a:pt x="725" y="1975"/>
                  </a:cubicBezTo>
                  <a:cubicBezTo>
                    <a:pt x="725" y="1975"/>
                    <a:pt x="725" y="1975"/>
                    <a:pt x="725" y="1975"/>
                  </a:cubicBezTo>
                  <a:cubicBezTo>
                    <a:pt x="721" y="1974"/>
                    <a:pt x="721" y="1974"/>
                    <a:pt x="721" y="1974"/>
                  </a:cubicBezTo>
                  <a:cubicBezTo>
                    <a:pt x="725" y="1976"/>
                    <a:pt x="725" y="1976"/>
                    <a:pt x="725" y="1976"/>
                  </a:cubicBezTo>
                  <a:cubicBezTo>
                    <a:pt x="725" y="1976"/>
                    <a:pt x="725" y="1975"/>
                    <a:pt x="725" y="1975"/>
                  </a:cubicBezTo>
                  <a:cubicBezTo>
                    <a:pt x="721" y="1974"/>
                    <a:pt x="721" y="1974"/>
                    <a:pt x="721" y="1974"/>
                  </a:cubicBezTo>
                  <a:cubicBezTo>
                    <a:pt x="725" y="1976"/>
                    <a:pt x="725" y="1976"/>
                    <a:pt x="725" y="1976"/>
                  </a:cubicBezTo>
                  <a:cubicBezTo>
                    <a:pt x="719" y="1972"/>
                    <a:pt x="719" y="1972"/>
                    <a:pt x="719" y="1972"/>
                  </a:cubicBezTo>
                  <a:cubicBezTo>
                    <a:pt x="722" y="1978"/>
                    <a:pt x="722" y="1978"/>
                    <a:pt x="722" y="1978"/>
                  </a:cubicBezTo>
                  <a:cubicBezTo>
                    <a:pt x="723" y="1978"/>
                    <a:pt x="724" y="1977"/>
                    <a:pt x="725" y="1976"/>
                  </a:cubicBezTo>
                  <a:cubicBezTo>
                    <a:pt x="719" y="1972"/>
                    <a:pt x="719" y="1972"/>
                    <a:pt x="719" y="1972"/>
                  </a:cubicBezTo>
                  <a:cubicBezTo>
                    <a:pt x="722" y="1978"/>
                    <a:pt x="722" y="1978"/>
                    <a:pt x="722" y="1978"/>
                  </a:cubicBezTo>
                  <a:cubicBezTo>
                    <a:pt x="720" y="1974"/>
                    <a:pt x="720" y="1974"/>
                    <a:pt x="720" y="1974"/>
                  </a:cubicBezTo>
                  <a:cubicBezTo>
                    <a:pt x="720" y="1979"/>
                    <a:pt x="720" y="1979"/>
                    <a:pt x="720" y="1979"/>
                  </a:cubicBezTo>
                  <a:cubicBezTo>
                    <a:pt x="720" y="1979"/>
                    <a:pt x="721" y="1979"/>
                    <a:pt x="722" y="1978"/>
                  </a:cubicBezTo>
                  <a:cubicBezTo>
                    <a:pt x="720" y="1974"/>
                    <a:pt x="720" y="1974"/>
                    <a:pt x="720" y="1974"/>
                  </a:cubicBezTo>
                  <a:cubicBezTo>
                    <a:pt x="720" y="1979"/>
                    <a:pt x="720" y="1979"/>
                    <a:pt x="720" y="1979"/>
                  </a:cubicBezTo>
                  <a:cubicBezTo>
                    <a:pt x="720" y="1979"/>
                    <a:pt x="721" y="1979"/>
                    <a:pt x="721" y="1979"/>
                  </a:cubicBezTo>
                  <a:cubicBezTo>
                    <a:pt x="722" y="1979"/>
                    <a:pt x="722" y="1979"/>
                    <a:pt x="723" y="1979"/>
                  </a:cubicBezTo>
                  <a:cubicBezTo>
                    <a:pt x="723" y="1979"/>
                    <a:pt x="723" y="1979"/>
                    <a:pt x="723" y="1979"/>
                  </a:cubicBezTo>
                  <a:cubicBezTo>
                    <a:pt x="752" y="1986"/>
                    <a:pt x="780" y="1992"/>
                    <a:pt x="809" y="1998"/>
                  </a:cubicBezTo>
                  <a:cubicBezTo>
                    <a:pt x="810" y="1998"/>
                    <a:pt x="811" y="1999"/>
                    <a:pt x="812" y="1999"/>
                  </a:cubicBezTo>
                  <a:cubicBezTo>
                    <a:pt x="813" y="1999"/>
                    <a:pt x="814" y="1999"/>
                    <a:pt x="816" y="1999"/>
                  </a:cubicBezTo>
                  <a:cubicBezTo>
                    <a:pt x="817" y="1999"/>
                    <a:pt x="818" y="1999"/>
                    <a:pt x="819" y="1999"/>
                  </a:cubicBezTo>
                  <a:cubicBezTo>
                    <a:pt x="822" y="1998"/>
                    <a:pt x="824" y="1997"/>
                    <a:pt x="826" y="1995"/>
                  </a:cubicBezTo>
                  <a:cubicBezTo>
                    <a:pt x="828" y="1994"/>
                    <a:pt x="828" y="1992"/>
                    <a:pt x="829" y="1991"/>
                  </a:cubicBezTo>
                  <a:cubicBezTo>
                    <a:pt x="830" y="1989"/>
                    <a:pt x="830" y="1988"/>
                    <a:pt x="830" y="1987"/>
                  </a:cubicBezTo>
                  <a:cubicBezTo>
                    <a:pt x="831" y="1986"/>
                    <a:pt x="831" y="1985"/>
                    <a:pt x="831" y="1984"/>
                  </a:cubicBezTo>
                  <a:cubicBezTo>
                    <a:pt x="835" y="1966"/>
                    <a:pt x="838" y="1949"/>
                    <a:pt x="842" y="1931"/>
                  </a:cubicBezTo>
                  <a:cubicBezTo>
                    <a:pt x="842" y="1931"/>
                    <a:pt x="842" y="1931"/>
                    <a:pt x="842" y="1931"/>
                  </a:cubicBezTo>
                  <a:cubicBezTo>
                    <a:pt x="842" y="1930"/>
                    <a:pt x="842" y="1928"/>
                    <a:pt x="843" y="1928"/>
                  </a:cubicBezTo>
                  <a:cubicBezTo>
                    <a:pt x="843" y="1928"/>
                    <a:pt x="843" y="1928"/>
                    <a:pt x="843" y="1928"/>
                  </a:cubicBezTo>
                  <a:cubicBezTo>
                    <a:pt x="839" y="1926"/>
                    <a:pt x="839" y="1926"/>
                    <a:pt x="839" y="1926"/>
                  </a:cubicBezTo>
                  <a:cubicBezTo>
                    <a:pt x="842" y="1929"/>
                    <a:pt x="842" y="1929"/>
                    <a:pt x="842" y="1929"/>
                  </a:cubicBezTo>
                  <a:cubicBezTo>
                    <a:pt x="843" y="1928"/>
                    <a:pt x="843" y="1928"/>
                    <a:pt x="843" y="1928"/>
                  </a:cubicBezTo>
                  <a:cubicBezTo>
                    <a:pt x="839" y="1926"/>
                    <a:pt x="839" y="1926"/>
                    <a:pt x="839" y="1926"/>
                  </a:cubicBezTo>
                  <a:cubicBezTo>
                    <a:pt x="842" y="1929"/>
                    <a:pt x="842" y="1929"/>
                    <a:pt x="842" y="1929"/>
                  </a:cubicBezTo>
                  <a:cubicBezTo>
                    <a:pt x="837" y="1924"/>
                    <a:pt x="837" y="1924"/>
                    <a:pt x="837" y="1924"/>
                  </a:cubicBezTo>
                  <a:cubicBezTo>
                    <a:pt x="839" y="1931"/>
                    <a:pt x="839" y="1931"/>
                    <a:pt x="839" y="1931"/>
                  </a:cubicBezTo>
                  <a:cubicBezTo>
                    <a:pt x="840" y="1930"/>
                    <a:pt x="842" y="1929"/>
                    <a:pt x="842" y="1929"/>
                  </a:cubicBezTo>
                  <a:cubicBezTo>
                    <a:pt x="837" y="1924"/>
                    <a:pt x="837" y="1924"/>
                    <a:pt x="837" y="1924"/>
                  </a:cubicBezTo>
                  <a:cubicBezTo>
                    <a:pt x="839" y="1931"/>
                    <a:pt x="839" y="1931"/>
                    <a:pt x="839" y="1931"/>
                  </a:cubicBezTo>
                  <a:cubicBezTo>
                    <a:pt x="837" y="1925"/>
                    <a:pt x="837" y="1925"/>
                    <a:pt x="837" y="1925"/>
                  </a:cubicBezTo>
                  <a:cubicBezTo>
                    <a:pt x="838" y="1931"/>
                    <a:pt x="838" y="1931"/>
                    <a:pt x="838" y="1931"/>
                  </a:cubicBezTo>
                  <a:cubicBezTo>
                    <a:pt x="838" y="1931"/>
                    <a:pt x="839" y="1931"/>
                    <a:pt x="839" y="1931"/>
                  </a:cubicBezTo>
                  <a:cubicBezTo>
                    <a:pt x="837" y="1925"/>
                    <a:pt x="837" y="1925"/>
                    <a:pt x="837" y="1925"/>
                  </a:cubicBezTo>
                  <a:cubicBezTo>
                    <a:pt x="838" y="1931"/>
                    <a:pt x="838" y="1931"/>
                    <a:pt x="838" y="1931"/>
                  </a:cubicBezTo>
                  <a:cubicBezTo>
                    <a:pt x="838" y="1928"/>
                    <a:pt x="838" y="1928"/>
                    <a:pt x="838" y="1928"/>
                  </a:cubicBezTo>
                  <a:cubicBezTo>
                    <a:pt x="838" y="1931"/>
                    <a:pt x="838" y="1931"/>
                    <a:pt x="838" y="1931"/>
                  </a:cubicBezTo>
                  <a:cubicBezTo>
                    <a:pt x="838" y="1931"/>
                    <a:pt x="838" y="1931"/>
                    <a:pt x="838" y="1931"/>
                  </a:cubicBezTo>
                  <a:cubicBezTo>
                    <a:pt x="838" y="1928"/>
                    <a:pt x="838" y="1928"/>
                    <a:pt x="838" y="1928"/>
                  </a:cubicBezTo>
                  <a:cubicBezTo>
                    <a:pt x="838" y="1931"/>
                    <a:pt x="838" y="1931"/>
                    <a:pt x="838" y="1931"/>
                  </a:cubicBezTo>
                  <a:cubicBezTo>
                    <a:pt x="838" y="1931"/>
                    <a:pt x="839" y="1931"/>
                    <a:pt x="841" y="1932"/>
                  </a:cubicBezTo>
                  <a:cubicBezTo>
                    <a:pt x="841" y="1932"/>
                    <a:pt x="841" y="1932"/>
                    <a:pt x="841" y="1932"/>
                  </a:cubicBezTo>
                  <a:cubicBezTo>
                    <a:pt x="859" y="1935"/>
                    <a:pt x="879" y="1940"/>
                    <a:pt x="899" y="1943"/>
                  </a:cubicBezTo>
                  <a:cubicBezTo>
                    <a:pt x="899" y="1943"/>
                    <a:pt x="899" y="1943"/>
                    <a:pt x="899" y="1943"/>
                  </a:cubicBezTo>
                  <a:cubicBezTo>
                    <a:pt x="921" y="1946"/>
                    <a:pt x="942" y="1950"/>
                    <a:pt x="963" y="1955"/>
                  </a:cubicBezTo>
                  <a:cubicBezTo>
                    <a:pt x="963" y="1955"/>
                    <a:pt x="963" y="1955"/>
                    <a:pt x="963" y="1955"/>
                  </a:cubicBezTo>
                  <a:cubicBezTo>
                    <a:pt x="969" y="1956"/>
                    <a:pt x="976" y="1958"/>
                    <a:pt x="982" y="1959"/>
                  </a:cubicBezTo>
                  <a:cubicBezTo>
                    <a:pt x="982" y="1959"/>
                    <a:pt x="982" y="1959"/>
                    <a:pt x="982" y="1959"/>
                  </a:cubicBezTo>
                  <a:cubicBezTo>
                    <a:pt x="984" y="1959"/>
                    <a:pt x="986" y="1960"/>
                    <a:pt x="988" y="1960"/>
                  </a:cubicBezTo>
                  <a:cubicBezTo>
                    <a:pt x="990" y="1960"/>
                    <a:pt x="992" y="1959"/>
                    <a:pt x="995" y="1958"/>
                  </a:cubicBezTo>
                  <a:cubicBezTo>
                    <a:pt x="997" y="1957"/>
                    <a:pt x="999" y="1956"/>
                    <a:pt x="1000" y="1954"/>
                  </a:cubicBezTo>
                  <a:cubicBezTo>
                    <a:pt x="1002" y="1952"/>
                    <a:pt x="1003" y="1950"/>
                    <a:pt x="1003" y="1948"/>
                  </a:cubicBezTo>
                  <a:cubicBezTo>
                    <a:pt x="1004" y="1946"/>
                    <a:pt x="1004" y="1945"/>
                    <a:pt x="1004" y="1944"/>
                  </a:cubicBezTo>
                  <a:cubicBezTo>
                    <a:pt x="1004" y="1944"/>
                    <a:pt x="1004" y="1944"/>
                    <a:pt x="1004" y="1944"/>
                  </a:cubicBezTo>
                  <a:cubicBezTo>
                    <a:pt x="1009" y="1919"/>
                    <a:pt x="1014" y="1895"/>
                    <a:pt x="1019" y="1870"/>
                  </a:cubicBezTo>
                  <a:cubicBezTo>
                    <a:pt x="1019" y="1870"/>
                    <a:pt x="1019" y="1870"/>
                    <a:pt x="1019" y="1870"/>
                  </a:cubicBezTo>
                  <a:cubicBezTo>
                    <a:pt x="1022" y="1860"/>
                    <a:pt x="1024" y="1849"/>
                    <a:pt x="1026" y="1839"/>
                  </a:cubicBezTo>
                  <a:cubicBezTo>
                    <a:pt x="1027" y="1838"/>
                    <a:pt x="1027" y="1836"/>
                    <a:pt x="1027" y="1834"/>
                  </a:cubicBezTo>
                  <a:cubicBezTo>
                    <a:pt x="1027" y="1832"/>
                    <a:pt x="1027" y="1830"/>
                    <a:pt x="1026" y="1829"/>
                  </a:cubicBezTo>
                  <a:cubicBezTo>
                    <a:pt x="1025" y="1826"/>
                    <a:pt x="1024" y="1824"/>
                    <a:pt x="1022" y="1822"/>
                  </a:cubicBezTo>
                  <a:cubicBezTo>
                    <a:pt x="1020" y="1821"/>
                    <a:pt x="1019" y="1820"/>
                    <a:pt x="1018" y="1819"/>
                  </a:cubicBezTo>
                  <a:cubicBezTo>
                    <a:pt x="1017" y="1819"/>
                    <a:pt x="1017" y="1819"/>
                    <a:pt x="1017" y="1819"/>
                  </a:cubicBezTo>
                  <a:cubicBezTo>
                    <a:pt x="1018" y="1819"/>
                    <a:pt x="1018" y="1819"/>
                    <a:pt x="1018" y="1819"/>
                  </a:cubicBezTo>
                  <a:cubicBezTo>
                    <a:pt x="1006" y="1813"/>
                    <a:pt x="994" y="1809"/>
                    <a:pt x="980" y="1807"/>
                  </a:cubicBezTo>
                  <a:cubicBezTo>
                    <a:pt x="980" y="1807"/>
                    <a:pt x="980" y="1807"/>
                    <a:pt x="980" y="1807"/>
                  </a:cubicBezTo>
                  <a:cubicBezTo>
                    <a:pt x="978" y="1806"/>
                    <a:pt x="977" y="1806"/>
                    <a:pt x="976" y="1805"/>
                  </a:cubicBezTo>
                  <a:cubicBezTo>
                    <a:pt x="975" y="1804"/>
                    <a:pt x="973" y="1803"/>
                    <a:pt x="972" y="1800"/>
                  </a:cubicBezTo>
                  <a:cubicBezTo>
                    <a:pt x="972" y="1800"/>
                    <a:pt x="972" y="1800"/>
                    <a:pt x="972" y="1800"/>
                  </a:cubicBezTo>
                  <a:cubicBezTo>
                    <a:pt x="953" y="1764"/>
                    <a:pt x="933" y="1728"/>
                    <a:pt x="914" y="1692"/>
                  </a:cubicBezTo>
                  <a:cubicBezTo>
                    <a:pt x="904" y="1674"/>
                    <a:pt x="893" y="1657"/>
                    <a:pt x="883" y="1639"/>
                  </a:cubicBezTo>
                  <a:cubicBezTo>
                    <a:pt x="877" y="1628"/>
                    <a:pt x="871" y="1617"/>
                    <a:pt x="865" y="1606"/>
                  </a:cubicBezTo>
                  <a:cubicBezTo>
                    <a:pt x="865" y="1606"/>
                    <a:pt x="865" y="1606"/>
                    <a:pt x="865" y="1606"/>
                  </a:cubicBezTo>
                  <a:cubicBezTo>
                    <a:pt x="865" y="1605"/>
                    <a:pt x="864" y="1604"/>
                    <a:pt x="863" y="1603"/>
                  </a:cubicBezTo>
                  <a:cubicBezTo>
                    <a:pt x="863" y="1602"/>
                    <a:pt x="862" y="1601"/>
                    <a:pt x="861" y="1599"/>
                  </a:cubicBezTo>
                  <a:cubicBezTo>
                    <a:pt x="860" y="1598"/>
                    <a:pt x="858" y="1596"/>
                    <a:pt x="855" y="1595"/>
                  </a:cubicBezTo>
                  <a:cubicBezTo>
                    <a:pt x="853" y="1593"/>
                    <a:pt x="850" y="1593"/>
                    <a:pt x="847" y="1593"/>
                  </a:cubicBezTo>
                  <a:cubicBezTo>
                    <a:pt x="845" y="1593"/>
                    <a:pt x="842" y="1593"/>
                    <a:pt x="840" y="1594"/>
                  </a:cubicBezTo>
                  <a:cubicBezTo>
                    <a:pt x="840" y="1594"/>
                    <a:pt x="840" y="1594"/>
                    <a:pt x="840" y="1594"/>
                  </a:cubicBezTo>
                  <a:cubicBezTo>
                    <a:pt x="840" y="1594"/>
                    <a:pt x="840" y="1594"/>
                    <a:pt x="840" y="1594"/>
                  </a:cubicBezTo>
                  <a:cubicBezTo>
                    <a:pt x="821" y="1599"/>
                    <a:pt x="802" y="1604"/>
                    <a:pt x="782" y="1609"/>
                  </a:cubicBezTo>
                  <a:cubicBezTo>
                    <a:pt x="782" y="1609"/>
                    <a:pt x="782" y="1609"/>
                    <a:pt x="782" y="1609"/>
                  </a:cubicBezTo>
                  <a:cubicBezTo>
                    <a:pt x="768" y="1612"/>
                    <a:pt x="755" y="1616"/>
                    <a:pt x="741" y="1619"/>
                  </a:cubicBezTo>
                  <a:cubicBezTo>
                    <a:pt x="741" y="1619"/>
                    <a:pt x="741" y="1619"/>
                    <a:pt x="741" y="1619"/>
                  </a:cubicBezTo>
                  <a:cubicBezTo>
                    <a:pt x="740" y="1620"/>
                    <a:pt x="740" y="1620"/>
                    <a:pt x="739" y="1620"/>
                  </a:cubicBezTo>
                  <a:cubicBezTo>
                    <a:pt x="739" y="1620"/>
                    <a:pt x="739" y="1620"/>
                    <a:pt x="739" y="1620"/>
                  </a:cubicBezTo>
                  <a:cubicBezTo>
                    <a:pt x="739" y="1620"/>
                    <a:pt x="739" y="1620"/>
                    <a:pt x="739" y="1620"/>
                  </a:cubicBezTo>
                  <a:cubicBezTo>
                    <a:pt x="739" y="1624"/>
                    <a:pt x="739" y="1624"/>
                    <a:pt x="739" y="1624"/>
                  </a:cubicBezTo>
                  <a:cubicBezTo>
                    <a:pt x="741" y="1620"/>
                    <a:pt x="741" y="1620"/>
                    <a:pt x="741" y="1620"/>
                  </a:cubicBezTo>
                  <a:cubicBezTo>
                    <a:pt x="740" y="1620"/>
                    <a:pt x="739" y="1620"/>
                    <a:pt x="739" y="1620"/>
                  </a:cubicBezTo>
                  <a:cubicBezTo>
                    <a:pt x="739" y="1624"/>
                    <a:pt x="739" y="1624"/>
                    <a:pt x="739" y="1624"/>
                  </a:cubicBezTo>
                  <a:cubicBezTo>
                    <a:pt x="741" y="1620"/>
                    <a:pt x="741" y="1620"/>
                    <a:pt x="741" y="1620"/>
                  </a:cubicBezTo>
                  <a:cubicBezTo>
                    <a:pt x="738" y="1627"/>
                    <a:pt x="738" y="1627"/>
                    <a:pt x="738" y="1627"/>
                  </a:cubicBezTo>
                  <a:cubicBezTo>
                    <a:pt x="743" y="1622"/>
                    <a:pt x="743" y="1622"/>
                    <a:pt x="743" y="1622"/>
                  </a:cubicBezTo>
                  <a:cubicBezTo>
                    <a:pt x="742" y="1621"/>
                    <a:pt x="742" y="1621"/>
                    <a:pt x="741" y="1620"/>
                  </a:cubicBezTo>
                  <a:cubicBezTo>
                    <a:pt x="738" y="1627"/>
                    <a:pt x="738" y="1627"/>
                    <a:pt x="738" y="1627"/>
                  </a:cubicBezTo>
                  <a:cubicBezTo>
                    <a:pt x="743" y="1622"/>
                    <a:pt x="743" y="1622"/>
                    <a:pt x="743" y="1622"/>
                  </a:cubicBezTo>
                  <a:cubicBezTo>
                    <a:pt x="739" y="1626"/>
                    <a:pt x="739" y="1626"/>
                    <a:pt x="739" y="1626"/>
                  </a:cubicBezTo>
                  <a:cubicBezTo>
                    <a:pt x="744" y="1623"/>
                    <a:pt x="744" y="1623"/>
                    <a:pt x="744" y="1623"/>
                  </a:cubicBezTo>
                  <a:cubicBezTo>
                    <a:pt x="744" y="1623"/>
                    <a:pt x="743" y="1622"/>
                    <a:pt x="743" y="1622"/>
                  </a:cubicBezTo>
                  <a:cubicBezTo>
                    <a:pt x="739" y="1626"/>
                    <a:pt x="739" y="1626"/>
                    <a:pt x="739" y="1626"/>
                  </a:cubicBezTo>
                  <a:cubicBezTo>
                    <a:pt x="744" y="1623"/>
                    <a:pt x="744" y="1623"/>
                    <a:pt x="744" y="1623"/>
                  </a:cubicBezTo>
                  <a:cubicBezTo>
                    <a:pt x="741" y="1625"/>
                    <a:pt x="741" y="1625"/>
                    <a:pt x="741" y="1625"/>
                  </a:cubicBezTo>
                  <a:cubicBezTo>
                    <a:pt x="744" y="1624"/>
                    <a:pt x="744" y="1624"/>
                    <a:pt x="744" y="1624"/>
                  </a:cubicBezTo>
                  <a:cubicBezTo>
                    <a:pt x="744" y="1623"/>
                    <a:pt x="744" y="1623"/>
                    <a:pt x="744" y="1623"/>
                  </a:cubicBezTo>
                  <a:cubicBezTo>
                    <a:pt x="741" y="1625"/>
                    <a:pt x="741" y="1625"/>
                    <a:pt x="741" y="1625"/>
                  </a:cubicBezTo>
                  <a:cubicBezTo>
                    <a:pt x="744" y="1624"/>
                    <a:pt x="744" y="1624"/>
                    <a:pt x="744" y="1624"/>
                  </a:cubicBezTo>
                  <a:cubicBezTo>
                    <a:pt x="744" y="1624"/>
                    <a:pt x="744" y="1624"/>
                    <a:pt x="744" y="1624"/>
                  </a:cubicBezTo>
                  <a:cubicBezTo>
                    <a:pt x="744" y="1624"/>
                    <a:pt x="744" y="1624"/>
                    <a:pt x="744" y="1624"/>
                  </a:cubicBezTo>
                  <a:cubicBezTo>
                    <a:pt x="744" y="1624"/>
                    <a:pt x="744" y="1624"/>
                    <a:pt x="744" y="1624"/>
                  </a:cubicBezTo>
                  <a:cubicBezTo>
                    <a:pt x="744" y="1624"/>
                    <a:pt x="744" y="1624"/>
                    <a:pt x="744" y="1624"/>
                  </a:cubicBezTo>
                  <a:cubicBezTo>
                    <a:pt x="744" y="1624"/>
                    <a:pt x="744" y="1624"/>
                    <a:pt x="744" y="1624"/>
                  </a:cubicBezTo>
                  <a:cubicBezTo>
                    <a:pt x="744" y="1624"/>
                    <a:pt x="744" y="1623"/>
                    <a:pt x="744" y="1622"/>
                  </a:cubicBezTo>
                  <a:cubicBezTo>
                    <a:pt x="743" y="1610"/>
                    <a:pt x="743" y="1599"/>
                    <a:pt x="743" y="1588"/>
                  </a:cubicBezTo>
                  <a:cubicBezTo>
                    <a:pt x="742" y="1539"/>
                    <a:pt x="741" y="1491"/>
                    <a:pt x="740" y="1443"/>
                  </a:cubicBezTo>
                  <a:cubicBezTo>
                    <a:pt x="740" y="1443"/>
                    <a:pt x="740" y="1443"/>
                    <a:pt x="740" y="1443"/>
                  </a:cubicBezTo>
                  <a:cubicBezTo>
                    <a:pt x="739" y="1394"/>
                    <a:pt x="737" y="1345"/>
                    <a:pt x="736" y="1297"/>
                  </a:cubicBezTo>
                  <a:cubicBezTo>
                    <a:pt x="735" y="1267"/>
                    <a:pt x="735" y="1237"/>
                    <a:pt x="734" y="1207"/>
                  </a:cubicBezTo>
                  <a:cubicBezTo>
                    <a:pt x="734" y="1207"/>
                    <a:pt x="734" y="1207"/>
                    <a:pt x="734" y="1207"/>
                  </a:cubicBezTo>
                  <a:cubicBezTo>
                    <a:pt x="734" y="1207"/>
                    <a:pt x="734" y="1207"/>
                    <a:pt x="734" y="1207"/>
                  </a:cubicBezTo>
                  <a:cubicBezTo>
                    <a:pt x="734" y="1206"/>
                    <a:pt x="734" y="1206"/>
                    <a:pt x="734" y="1206"/>
                  </a:cubicBezTo>
                  <a:cubicBezTo>
                    <a:pt x="734" y="1205"/>
                    <a:pt x="734" y="1205"/>
                    <a:pt x="734" y="1204"/>
                  </a:cubicBezTo>
                  <a:cubicBezTo>
                    <a:pt x="734" y="1204"/>
                    <a:pt x="734" y="1203"/>
                    <a:pt x="734" y="1203"/>
                  </a:cubicBezTo>
                  <a:cubicBezTo>
                    <a:pt x="735" y="1203"/>
                    <a:pt x="735" y="1202"/>
                    <a:pt x="737" y="1201"/>
                  </a:cubicBezTo>
                  <a:cubicBezTo>
                    <a:pt x="737" y="1201"/>
                    <a:pt x="737" y="1201"/>
                    <a:pt x="737" y="1201"/>
                  </a:cubicBezTo>
                  <a:cubicBezTo>
                    <a:pt x="792" y="1165"/>
                    <a:pt x="846" y="1129"/>
                    <a:pt x="901" y="1093"/>
                  </a:cubicBezTo>
                  <a:cubicBezTo>
                    <a:pt x="935" y="1070"/>
                    <a:pt x="969" y="1047"/>
                    <a:pt x="1003" y="1024"/>
                  </a:cubicBezTo>
                  <a:cubicBezTo>
                    <a:pt x="1031" y="1006"/>
                    <a:pt x="1059" y="989"/>
                    <a:pt x="1088" y="971"/>
                  </a:cubicBezTo>
                  <a:cubicBezTo>
                    <a:pt x="1125" y="947"/>
                    <a:pt x="1162" y="924"/>
                    <a:pt x="1198" y="900"/>
                  </a:cubicBezTo>
                  <a:cubicBezTo>
                    <a:pt x="1208" y="894"/>
                    <a:pt x="1217" y="888"/>
                    <a:pt x="1227" y="883"/>
                  </a:cubicBezTo>
                  <a:cubicBezTo>
                    <a:pt x="1228" y="881"/>
                    <a:pt x="1230" y="880"/>
                    <a:pt x="1232" y="878"/>
                  </a:cubicBezTo>
                  <a:cubicBezTo>
                    <a:pt x="1233" y="876"/>
                    <a:pt x="1234" y="875"/>
                    <a:pt x="1235" y="873"/>
                  </a:cubicBezTo>
                  <a:cubicBezTo>
                    <a:pt x="1235" y="872"/>
                    <a:pt x="1235" y="870"/>
                    <a:pt x="1235" y="868"/>
                  </a:cubicBezTo>
                  <a:cubicBezTo>
                    <a:pt x="1235" y="866"/>
                    <a:pt x="1235" y="864"/>
                    <a:pt x="1234" y="862"/>
                  </a:cubicBezTo>
                  <a:cubicBezTo>
                    <a:pt x="1234" y="860"/>
                    <a:pt x="1233" y="859"/>
                    <a:pt x="1232" y="858"/>
                  </a:cubicBezTo>
                  <a:cubicBezTo>
                    <a:pt x="1232" y="858"/>
                    <a:pt x="1232" y="858"/>
                    <a:pt x="1232" y="858"/>
                  </a:cubicBezTo>
                  <a:cubicBezTo>
                    <a:pt x="1232" y="858"/>
                    <a:pt x="1232" y="858"/>
                    <a:pt x="1232" y="858"/>
                  </a:cubicBezTo>
                  <a:cubicBezTo>
                    <a:pt x="1229" y="853"/>
                    <a:pt x="1226" y="849"/>
                    <a:pt x="1224" y="845"/>
                  </a:cubicBezTo>
                  <a:cubicBezTo>
                    <a:pt x="1224" y="845"/>
                    <a:pt x="1224" y="845"/>
                    <a:pt x="1224" y="845"/>
                  </a:cubicBezTo>
                  <a:cubicBezTo>
                    <a:pt x="1224" y="845"/>
                    <a:pt x="1224" y="845"/>
                    <a:pt x="1224" y="845"/>
                  </a:cubicBezTo>
                  <a:cubicBezTo>
                    <a:pt x="1223" y="844"/>
                    <a:pt x="1223" y="844"/>
                    <a:pt x="1223" y="843"/>
                  </a:cubicBezTo>
                  <a:cubicBezTo>
                    <a:pt x="1223" y="843"/>
                    <a:pt x="1223" y="843"/>
                    <a:pt x="1223" y="843"/>
                  </a:cubicBezTo>
                  <a:cubicBezTo>
                    <a:pt x="1222" y="843"/>
                    <a:pt x="1222" y="843"/>
                    <a:pt x="1222" y="843"/>
                  </a:cubicBezTo>
                  <a:cubicBezTo>
                    <a:pt x="1223" y="843"/>
                    <a:pt x="1223" y="843"/>
                    <a:pt x="1223" y="843"/>
                  </a:cubicBezTo>
                  <a:cubicBezTo>
                    <a:pt x="1223" y="843"/>
                    <a:pt x="1223" y="843"/>
                    <a:pt x="1223" y="843"/>
                  </a:cubicBezTo>
                  <a:cubicBezTo>
                    <a:pt x="1222" y="843"/>
                    <a:pt x="1222" y="843"/>
                    <a:pt x="1222" y="843"/>
                  </a:cubicBezTo>
                  <a:cubicBezTo>
                    <a:pt x="1223" y="843"/>
                    <a:pt x="1223" y="843"/>
                    <a:pt x="1223" y="843"/>
                  </a:cubicBezTo>
                  <a:cubicBezTo>
                    <a:pt x="1220" y="843"/>
                    <a:pt x="1220" y="843"/>
                    <a:pt x="1220" y="843"/>
                  </a:cubicBezTo>
                  <a:cubicBezTo>
                    <a:pt x="1223" y="844"/>
                    <a:pt x="1223" y="844"/>
                    <a:pt x="1223" y="844"/>
                  </a:cubicBezTo>
                  <a:cubicBezTo>
                    <a:pt x="1223" y="844"/>
                    <a:pt x="1223" y="844"/>
                    <a:pt x="1223" y="843"/>
                  </a:cubicBezTo>
                  <a:cubicBezTo>
                    <a:pt x="1220" y="843"/>
                    <a:pt x="1220" y="843"/>
                    <a:pt x="1220" y="843"/>
                  </a:cubicBezTo>
                  <a:cubicBezTo>
                    <a:pt x="1223" y="844"/>
                    <a:pt x="1223" y="844"/>
                    <a:pt x="1223" y="844"/>
                  </a:cubicBezTo>
                  <a:cubicBezTo>
                    <a:pt x="1221" y="844"/>
                    <a:pt x="1221" y="844"/>
                    <a:pt x="1221" y="844"/>
                  </a:cubicBezTo>
                  <a:cubicBezTo>
                    <a:pt x="1222" y="845"/>
                    <a:pt x="1222" y="845"/>
                    <a:pt x="1222" y="845"/>
                  </a:cubicBezTo>
                  <a:cubicBezTo>
                    <a:pt x="1222" y="845"/>
                    <a:pt x="1223" y="845"/>
                    <a:pt x="1223" y="844"/>
                  </a:cubicBezTo>
                  <a:cubicBezTo>
                    <a:pt x="1221" y="844"/>
                    <a:pt x="1221" y="844"/>
                    <a:pt x="1221" y="844"/>
                  </a:cubicBezTo>
                  <a:cubicBezTo>
                    <a:pt x="1222" y="845"/>
                    <a:pt x="1222" y="845"/>
                    <a:pt x="1222" y="845"/>
                  </a:cubicBezTo>
                  <a:cubicBezTo>
                    <a:pt x="1222" y="845"/>
                    <a:pt x="1222" y="845"/>
                    <a:pt x="1222" y="845"/>
                  </a:cubicBezTo>
                  <a:cubicBezTo>
                    <a:pt x="1222" y="845"/>
                    <a:pt x="1222" y="845"/>
                    <a:pt x="1222" y="845"/>
                  </a:cubicBezTo>
                  <a:cubicBezTo>
                    <a:pt x="1226" y="841"/>
                    <a:pt x="1228" y="837"/>
                    <a:pt x="1230" y="833"/>
                  </a:cubicBezTo>
                  <a:cubicBezTo>
                    <a:pt x="1232" y="829"/>
                    <a:pt x="1232" y="824"/>
                    <a:pt x="1232" y="820"/>
                  </a:cubicBezTo>
                  <a:cubicBezTo>
                    <a:pt x="1232" y="813"/>
                    <a:pt x="1231" y="807"/>
                    <a:pt x="1228" y="801"/>
                  </a:cubicBezTo>
                  <a:cubicBezTo>
                    <a:pt x="1228" y="801"/>
                    <a:pt x="1228" y="801"/>
                    <a:pt x="1228" y="801"/>
                  </a:cubicBezTo>
                  <a:cubicBezTo>
                    <a:pt x="1228" y="801"/>
                    <a:pt x="1228" y="801"/>
                    <a:pt x="1228" y="801"/>
                  </a:cubicBezTo>
                  <a:cubicBezTo>
                    <a:pt x="1228" y="800"/>
                    <a:pt x="1228" y="799"/>
                    <a:pt x="1228" y="799"/>
                  </a:cubicBezTo>
                  <a:cubicBezTo>
                    <a:pt x="1228" y="799"/>
                    <a:pt x="1228" y="798"/>
                    <a:pt x="1228" y="797"/>
                  </a:cubicBezTo>
                  <a:cubicBezTo>
                    <a:pt x="1228" y="796"/>
                    <a:pt x="1229" y="795"/>
                    <a:pt x="1230" y="794"/>
                  </a:cubicBezTo>
                  <a:cubicBezTo>
                    <a:pt x="1230" y="794"/>
                    <a:pt x="1230" y="794"/>
                    <a:pt x="1230" y="794"/>
                  </a:cubicBezTo>
                  <a:cubicBezTo>
                    <a:pt x="1230" y="794"/>
                    <a:pt x="1230" y="794"/>
                    <a:pt x="1230" y="794"/>
                  </a:cubicBezTo>
                  <a:cubicBezTo>
                    <a:pt x="1230" y="794"/>
                    <a:pt x="1230" y="793"/>
                    <a:pt x="1230" y="793"/>
                  </a:cubicBezTo>
                  <a:cubicBezTo>
                    <a:pt x="1230" y="793"/>
                    <a:pt x="1230" y="793"/>
                    <a:pt x="1230" y="793"/>
                  </a:cubicBezTo>
                  <a:cubicBezTo>
                    <a:pt x="1230" y="793"/>
                    <a:pt x="1230" y="793"/>
                    <a:pt x="1230" y="793"/>
                  </a:cubicBezTo>
                  <a:cubicBezTo>
                    <a:pt x="1229" y="791"/>
                    <a:pt x="1229" y="791"/>
                    <a:pt x="1229" y="791"/>
                  </a:cubicBezTo>
                  <a:cubicBezTo>
                    <a:pt x="1230" y="793"/>
                    <a:pt x="1230" y="793"/>
                    <a:pt x="1230" y="793"/>
                  </a:cubicBezTo>
                  <a:cubicBezTo>
                    <a:pt x="1230" y="793"/>
                    <a:pt x="1230" y="793"/>
                    <a:pt x="1230" y="793"/>
                  </a:cubicBezTo>
                  <a:cubicBezTo>
                    <a:pt x="1229" y="791"/>
                    <a:pt x="1229" y="791"/>
                    <a:pt x="1229" y="791"/>
                  </a:cubicBezTo>
                  <a:cubicBezTo>
                    <a:pt x="1230" y="793"/>
                    <a:pt x="1230" y="793"/>
                    <a:pt x="1230" y="793"/>
                  </a:cubicBezTo>
                  <a:cubicBezTo>
                    <a:pt x="1229" y="791"/>
                    <a:pt x="1229" y="791"/>
                    <a:pt x="1229" y="791"/>
                  </a:cubicBezTo>
                  <a:cubicBezTo>
                    <a:pt x="1229" y="793"/>
                    <a:pt x="1229" y="793"/>
                    <a:pt x="1229" y="793"/>
                  </a:cubicBezTo>
                  <a:cubicBezTo>
                    <a:pt x="1230" y="793"/>
                    <a:pt x="1230" y="793"/>
                    <a:pt x="1230" y="793"/>
                  </a:cubicBezTo>
                  <a:cubicBezTo>
                    <a:pt x="1229" y="791"/>
                    <a:pt x="1229" y="791"/>
                    <a:pt x="1229" y="791"/>
                  </a:cubicBezTo>
                  <a:cubicBezTo>
                    <a:pt x="1229" y="793"/>
                    <a:pt x="1229" y="793"/>
                    <a:pt x="1229" y="793"/>
                  </a:cubicBezTo>
                  <a:cubicBezTo>
                    <a:pt x="1229" y="793"/>
                    <a:pt x="1229" y="793"/>
                    <a:pt x="1229" y="793"/>
                  </a:cubicBezTo>
                  <a:cubicBezTo>
                    <a:pt x="1229" y="793"/>
                    <a:pt x="1229" y="793"/>
                    <a:pt x="1229" y="793"/>
                  </a:cubicBezTo>
                  <a:cubicBezTo>
                    <a:pt x="1229" y="793"/>
                    <a:pt x="1229" y="793"/>
                    <a:pt x="1229" y="793"/>
                  </a:cubicBezTo>
                  <a:cubicBezTo>
                    <a:pt x="1229" y="793"/>
                    <a:pt x="1229" y="793"/>
                    <a:pt x="1229" y="793"/>
                  </a:cubicBezTo>
                  <a:cubicBezTo>
                    <a:pt x="1229" y="793"/>
                    <a:pt x="1229" y="793"/>
                    <a:pt x="1229" y="793"/>
                  </a:cubicBezTo>
                  <a:cubicBezTo>
                    <a:pt x="1229" y="793"/>
                    <a:pt x="1229" y="793"/>
                    <a:pt x="1229" y="793"/>
                  </a:cubicBezTo>
                  <a:cubicBezTo>
                    <a:pt x="1229" y="793"/>
                    <a:pt x="1229" y="793"/>
                    <a:pt x="1229" y="793"/>
                  </a:cubicBezTo>
                  <a:cubicBezTo>
                    <a:pt x="1229" y="793"/>
                    <a:pt x="1230" y="794"/>
                    <a:pt x="1231" y="794"/>
                  </a:cubicBezTo>
                  <a:cubicBezTo>
                    <a:pt x="1233" y="794"/>
                    <a:pt x="1235" y="793"/>
                    <a:pt x="1237" y="792"/>
                  </a:cubicBezTo>
                  <a:cubicBezTo>
                    <a:pt x="1237" y="792"/>
                    <a:pt x="1237" y="792"/>
                    <a:pt x="1237" y="792"/>
                  </a:cubicBezTo>
                  <a:cubicBezTo>
                    <a:pt x="1239" y="792"/>
                    <a:pt x="1239" y="792"/>
                    <a:pt x="1240" y="792"/>
                  </a:cubicBezTo>
                  <a:cubicBezTo>
                    <a:pt x="1241" y="792"/>
                    <a:pt x="1243" y="792"/>
                    <a:pt x="1245" y="793"/>
                  </a:cubicBezTo>
                  <a:cubicBezTo>
                    <a:pt x="1247" y="794"/>
                    <a:pt x="1250" y="796"/>
                    <a:pt x="1253" y="799"/>
                  </a:cubicBezTo>
                  <a:cubicBezTo>
                    <a:pt x="1253" y="799"/>
                    <a:pt x="1253" y="799"/>
                    <a:pt x="1253" y="799"/>
                  </a:cubicBezTo>
                  <a:cubicBezTo>
                    <a:pt x="1255" y="801"/>
                    <a:pt x="1257" y="801"/>
                    <a:pt x="1257" y="802"/>
                  </a:cubicBezTo>
                  <a:cubicBezTo>
                    <a:pt x="1270" y="809"/>
                    <a:pt x="1270" y="809"/>
                    <a:pt x="1270" y="809"/>
                  </a:cubicBezTo>
                  <a:cubicBezTo>
                    <a:pt x="1275" y="795"/>
                    <a:pt x="1275" y="795"/>
                    <a:pt x="1275" y="795"/>
                  </a:cubicBezTo>
                  <a:cubicBezTo>
                    <a:pt x="1275" y="795"/>
                    <a:pt x="1275" y="795"/>
                    <a:pt x="1276" y="794"/>
                  </a:cubicBezTo>
                  <a:cubicBezTo>
                    <a:pt x="1276" y="792"/>
                    <a:pt x="1277" y="791"/>
                    <a:pt x="1277" y="788"/>
                  </a:cubicBezTo>
                  <a:cubicBezTo>
                    <a:pt x="1277" y="788"/>
                    <a:pt x="1277" y="788"/>
                    <a:pt x="1277" y="788"/>
                  </a:cubicBezTo>
                  <a:cubicBezTo>
                    <a:pt x="1277" y="788"/>
                    <a:pt x="1277" y="788"/>
                    <a:pt x="1277" y="788"/>
                  </a:cubicBezTo>
                  <a:cubicBezTo>
                    <a:pt x="1277" y="787"/>
                    <a:pt x="1278" y="785"/>
                    <a:pt x="1278" y="785"/>
                  </a:cubicBezTo>
                  <a:cubicBezTo>
                    <a:pt x="1278" y="785"/>
                    <a:pt x="1278" y="785"/>
                    <a:pt x="1278" y="785"/>
                  </a:cubicBezTo>
                  <a:cubicBezTo>
                    <a:pt x="1278" y="785"/>
                    <a:pt x="1278" y="785"/>
                    <a:pt x="1278" y="785"/>
                  </a:cubicBezTo>
                  <a:cubicBezTo>
                    <a:pt x="1274" y="784"/>
                    <a:pt x="1274" y="784"/>
                    <a:pt x="1274" y="784"/>
                  </a:cubicBezTo>
                  <a:cubicBezTo>
                    <a:pt x="1277" y="786"/>
                    <a:pt x="1277" y="786"/>
                    <a:pt x="1277" y="786"/>
                  </a:cubicBezTo>
                  <a:cubicBezTo>
                    <a:pt x="1278" y="785"/>
                    <a:pt x="1278" y="785"/>
                    <a:pt x="1278" y="785"/>
                  </a:cubicBezTo>
                  <a:cubicBezTo>
                    <a:pt x="1274" y="784"/>
                    <a:pt x="1274" y="784"/>
                    <a:pt x="1274" y="784"/>
                  </a:cubicBezTo>
                  <a:cubicBezTo>
                    <a:pt x="1277" y="786"/>
                    <a:pt x="1277" y="786"/>
                    <a:pt x="1277" y="786"/>
                  </a:cubicBezTo>
                  <a:cubicBezTo>
                    <a:pt x="1273" y="783"/>
                    <a:pt x="1273" y="783"/>
                    <a:pt x="1273" y="783"/>
                  </a:cubicBezTo>
                  <a:cubicBezTo>
                    <a:pt x="1275" y="787"/>
                    <a:pt x="1275" y="787"/>
                    <a:pt x="1275" y="787"/>
                  </a:cubicBezTo>
                  <a:cubicBezTo>
                    <a:pt x="1276" y="787"/>
                    <a:pt x="1277" y="787"/>
                    <a:pt x="1277" y="786"/>
                  </a:cubicBezTo>
                  <a:cubicBezTo>
                    <a:pt x="1273" y="783"/>
                    <a:pt x="1273" y="783"/>
                    <a:pt x="1273" y="783"/>
                  </a:cubicBezTo>
                  <a:cubicBezTo>
                    <a:pt x="1275" y="787"/>
                    <a:pt x="1275" y="787"/>
                    <a:pt x="1275" y="787"/>
                  </a:cubicBezTo>
                  <a:cubicBezTo>
                    <a:pt x="1275" y="786"/>
                    <a:pt x="1275" y="786"/>
                    <a:pt x="1275" y="786"/>
                  </a:cubicBezTo>
                  <a:cubicBezTo>
                    <a:pt x="1275" y="787"/>
                    <a:pt x="1275" y="787"/>
                    <a:pt x="1275" y="787"/>
                  </a:cubicBezTo>
                  <a:cubicBezTo>
                    <a:pt x="1275" y="787"/>
                    <a:pt x="1275" y="787"/>
                    <a:pt x="1275" y="787"/>
                  </a:cubicBezTo>
                  <a:cubicBezTo>
                    <a:pt x="1275" y="786"/>
                    <a:pt x="1275" y="786"/>
                    <a:pt x="1275" y="786"/>
                  </a:cubicBezTo>
                  <a:cubicBezTo>
                    <a:pt x="1275" y="787"/>
                    <a:pt x="1275" y="787"/>
                    <a:pt x="1275" y="787"/>
                  </a:cubicBezTo>
                  <a:cubicBezTo>
                    <a:pt x="1275" y="787"/>
                    <a:pt x="1275" y="787"/>
                    <a:pt x="1275" y="787"/>
                  </a:cubicBezTo>
                  <a:cubicBezTo>
                    <a:pt x="1276" y="787"/>
                    <a:pt x="1276" y="787"/>
                    <a:pt x="1277" y="787"/>
                  </a:cubicBezTo>
                  <a:cubicBezTo>
                    <a:pt x="1277" y="787"/>
                    <a:pt x="1277" y="787"/>
                    <a:pt x="1277" y="787"/>
                  </a:cubicBezTo>
                  <a:cubicBezTo>
                    <a:pt x="1279" y="787"/>
                    <a:pt x="1281" y="786"/>
                    <a:pt x="1283" y="785"/>
                  </a:cubicBezTo>
                  <a:cubicBezTo>
                    <a:pt x="1284" y="785"/>
                    <a:pt x="1286" y="784"/>
                    <a:pt x="1287" y="783"/>
                  </a:cubicBezTo>
                  <a:cubicBezTo>
                    <a:pt x="1289" y="781"/>
                    <a:pt x="1291" y="779"/>
                    <a:pt x="1292" y="776"/>
                  </a:cubicBezTo>
                  <a:cubicBezTo>
                    <a:pt x="1293" y="774"/>
                    <a:pt x="1293" y="772"/>
                    <a:pt x="1293" y="770"/>
                  </a:cubicBezTo>
                  <a:cubicBezTo>
                    <a:pt x="1293" y="767"/>
                    <a:pt x="1293" y="765"/>
                    <a:pt x="1292" y="764"/>
                  </a:cubicBezTo>
                  <a:cubicBezTo>
                    <a:pt x="1292" y="764"/>
                    <a:pt x="1292" y="764"/>
                    <a:pt x="1292" y="764"/>
                  </a:cubicBezTo>
                  <a:cubicBezTo>
                    <a:pt x="1292" y="762"/>
                    <a:pt x="1291" y="760"/>
                    <a:pt x="1291" y="759"/>
                  </a:cubicBezTo>
                  <a:cubicBezTo>
                    <a:pt x="1291" y="759"/>
                    <a:pt x="1291" y="759"/>
                    <a:pt x="1291" y="759"/>
                  </a:cubicBezTo>
                  <a:cubicBezTo>
                    <a:pt x="1291" y="759"/>
                    <a:pt x="1291" y="759"/>
                    <a:pt x="1291" y="759"/>
                  </a:cubicBezTo>
                  <a:cubicBezTo>
                    <a:pt x="1289" y="759"/>
                    <a:pt x="1289" y="759"/>
                    <a:pt x="1289" y="759"/>
                  </a:cubicBezTo>
                  <a:cubicBezTo>
                    <a:pt x="1291" y="759"/>
                    <a:pt x="1291" y="759"/>
                    <a:pt x="1291" y="759"/>
                  </a:cubicBezTo>
                  <a:cubicBezTo>
                    <a:pt x="1291" y="759"/>
                    <a:pt x="1291" y="759"/>
                    <a:pt x="1291" y="759"/>
                  </a:cubicBezTo>
                  <a:cubicBezTo>
                    <a:pt x="1289" y="759"/>
                    <a:pt x="1289" y="759"/>
                    <a:pt x="1289" y="759"/>
                  </a:cubicBezTo>
                  <a:cubicBezTo>
                    <a:pt x="1291" y="759"/>
                    <a:pt x="1291" y="759"/>
                    <a:pt x="1291" y="759"/>
                  </a:cubicBezTo>
                  <a:cubicBezTo>
                    <a:pt x="1286" y="760"/>
                    <a:pt x="1286" y="760"/>
                    <a:pt x="1286" y="760"/>
                  </a:cubicBezTo>
                  <a:cubicBezTo>
                    <a:pt x="1291" y="760"/>
                    <a:pt x="1291" y="760"/>
                    <a:pt x="1291" y="760"/>
                  </a:cubicBezTo>
                  <a:cubicBezTo>
                    <a:pt x="1291" y="759"/>
                    <a:pt x="1291" y="759"/>
                    <a:pt x="1291" y="759"/>
                  </a:cubicBezTo>
                  <a:cubicBezTo>
                    <a:pt x="1286" y="760"/>
                    <a:pt x="1286" y="760"/>
                    <a:pt x="1286" y="760"/>
                  </a:cubicBezTo>
                  <a:cubicBezTo>
                    <a:pt x="1291" y="760"/>
                    <a:pt x="1291" y="760"/>
                    <a:pt x="1291" y="760"/>
                  </a:cubicBezTo>
                  <a:cubicBezTo>
                    <a:pt x="1284" y="760"/>
                    <a:pt x="1284" y="760"/>
                    <a:pt x="1284" y="760"/>
                  </a:cubicBezTo>
                  <a:cubicBezTo>
                    <a:pt x="1290" y="763"/>
                    <a:pt x="1290" y="763"/>
                    <a:pt x="1290" y="763"/>
                  </a:cubicBezTo>
                  <a:cubicBezTo>
                    <a:pt x="1291" y="762"/>
                    <a:pt x="1291" y="761"/>
                    <a:pt x="1291" y="760"/>
                  </a:cubicBezTo>
                  <a:cubicBezTo>
                    <a:pt x="1284" y="760"/>
                    <a:pt x="1284" y="760"/>
                    <a:pt x="1284" y="760"/>
                  </a:cubicBezTo>
                  <a:cubicBezTo>
                    <a:pt x="1290" y="763"/>
                    <a:pt x="1290" y="763"/>
                    <a:pt x="1290" y="763"/>
                  </a:cubicBezTo>
                  <a:cubicBezTo>
                    <a:pt x="1285" y="760"/>
                    <a:pt x="1285" y="760"/>
                    <a:pt x="1285" y="760"/>
                  </a:cubicBezTo>
                  <a:cubicBezTo>
                    <a:pt x="1289" y="765"/>
                    <a:pt x="1289" y="765"/>
                    <a:pt x="1289" y="765"/>
                  </a:cubicBezTo>
                  <a:cubicBezTo>
                    <a:pt x="1289" y="765"/>
                    <a:pt x="1290" y="764"/>
                    <a:pt x="1290" y="763"/>
                  </a:cubicBezTo>
                  <a:cubicBezTo>
                    <a:pt x="1285" y="760"/>
                    <a:pt x="1285" y="760"/>
                    <a:pt x="1285" y="760"/>
                  </a:cubicBezTo>
                  <a:cubicBezTo>
                    <a:pt x="1289" y="765"/>
                    <a:pt x="1289" y="765"/>
                    <a:pt x="1289" y="765"/>
                  </a:cubicBezTo>
                  <a:cubicBezTo>
                    <a:pt x="1289" y="765"/>
                    <a:pt x="1289" y="765"/>
                    <a:pt x="1289" y="765"/>
                  </a:cubicBezTo>
                  <a:cubicBezTo>
                    <a:pt x="1290" y="764"/>
                    <a:pt x="1291" y="764"/>
                    <a:pt x="1291" y="763"/>
                  </a:cubicBezTo>
                  <a:cubicBezTo>
                    <a:pt x="1292" y="763"/>
                    <a:pt x="1292" y="763"/>
                    <a:pt x="1292" y="763"/>
                  </a:cubicBezTo>
                  <a:cubicBezTo>
                    <a:pt x="1292" y="763"/>
                    <a:pt x="1292" y="763"/>
                    <a:pt x="1292" y="763"/>
                  </a:cubicBezTo>
                  <a:cubicBezTo>
                    <a:pt x="1291" y="761"/>
                    <a:pt x="1291" y="761"/>
                    <a:pt x="1291" y="761"/>
                  </a:cubicBezTo>
                  <a:cubicBezTo>
                    <a:pt x="1291" y="763"/>
                    <a:pt x="1291" y="763"/>
                    <a:pt x="1291" y="763"/>
                  </a:cubicBezTo>
                  <a:cubicBezTo>
                    <a:pt x="1291" y="763"/>
                    <a:pt x="1292" y="763"/>
                    <a:pt x="1292" y="763"/>
                  </a:cubicBezTo>
                  <a:cubicBezTo>
                    <a:pt x="1291" y="761"/>
                    <a:pt x="1291" y="761"/>
                    <a:pt x="1291" y="761"/>
                  </a:cubicBezTo>
                  <a:cubicBezTo>
                    <a:pt x="1291" y="763"/>
                    <a:pt x="1291" y="763"/>
                    <a:pt x="1291" y="763"/>
                  </a:cubicBezTo>
                  <a:cubicBezTo>
                    <a:pt x="1291" y="760"/>
                    <a:pt x="1291" y="760"/>
                    <a:pt x="1291" y="760"/>
                  </a:cubicBezTo>
                  <a:cubicBezTo>
                    <a:pt x="1290" y="763"/>
                    <a:pt x="1290" y="763"/>
                    <a:pt x="1290" y="763"/>
                  </a:cubicBezTo>
                  <a:cubicBezTo>
                    <a:pt x="1290" y="763"/>
                    <a:pt x="1290" y="763"/>
                    <a:pt x="1291" y="763"/>
                  </a:cubicBezTo>
                  <a:cubicBezTo>
                    <a:pt x="1291" y="760"/>
                    <a:pt x="1291" y="760"/>
                    <a:pt x="1291" y="760"/>
                  </a:cubicBezTo>
                  <a:cubicBezTo>
                    <a:pt x="1290" y="763"/>
                    <a:pt x="1290" y="763"/>
                    <a:pt x="1290" y="763"/>
                  </a:cubicBezTo>
                  <a:cubicBezTo>
                    <a:pt x="1290" y="763"/>
                    <a:pt x="1290" y="763"/>
                    <a:pt x="1290" y="763"/>
                  </a:cubicBezTo>
                  <a:cubicBezTo>
                    <a:pt x="1292" y="764"/>
                    <a:pt x="1294" y="765"/>
                    <a:pt x="1297" y="765"/>
                  </a:cubicBezTo>
                  <a:cubicBezTo>
                    <a:pt x="1299" y="765"/>
                    <a:pt x="1301" y="764"/>
                    <a:pt x="1303" y="764"/>
                  </a:cubicBezTo>
                  <a:cubicBezTo>
                    <a:pt x="1305" y="763"/>
                    <a:pt x="1307" y="761"/>
                    <a:pt x="1309" y="760"/>
                  </a:cubicBezTo>
                  <a:cubicBezTo>
                    <a:pt x="1310" y="758"/>
                    <a:pt x="1311" y="757"/>
                    <a:pt x="1311" y="756"/>
                  </a:cubicBezTo>
                  <a:cubicBezTo>
                    <a:pt x="1311" y="756"/>
                    <a:pt x="1311" y="756"/>
                    <a:pt x="1311" y="756"/>
                  </a:cubicBezTo>
                  <a:cubicBezTo>
                    <a:pt x="1312" y="755"/>
                    <a:pt x="1314" y="753"/>
                    <a:pt x="1316" y="752"/>
                  </a:cubicBezTo>
                  <a:cubicBezTo>
                    <a:pt x="1316" y="752"/>
                    <a:pt x="1316" y="752"/>
                    <a:pt x="1316" y="752"/>
                  </a:cubicBezTo>
                  <a:cubicBezTo>
                    <a:pt x="1318" y="750"/>
                    <a:pt x="1320" y="748"/>
                    <a:pt x="1323" y="746"/>
                  </a:cubicBezTo>
                  <a:cubicBezTo>
                    <a:pt x="1326" y="743"/>
                    <a:pt x="1329" y="740"/>
                    <a:pt x="1331" y="737"/>
                  </a:cubicBezTo>
                  <a:cubicBezTo>
                    <a:pt x="1331" y="737"/>
                    <a:pt x="1331" y="737"/>
                    <a:pt x="1331" y="737"/>
                  </a:cubicBezTo>
                  <a:cubicBezTo>
                    <a:pt x="1333" y="733"/>
                    <a:pt x="1336" y="730"/>
                    <a:pt x="1340" y="726"/>
                  </a:cubicBezTo>
                  <a:cubicBezTo>
                    <a:pt x="1344" y="723"/>
                    <a:pt x="1348" y="719"/>
                    <a:pt x="1352" y="715"/>
                  </a:cubicBezTo>
                  <a:cubicBezTo>
                    <a:pt x="1352" y="715"/>
                    <a:pt x="1352" y="715"/>
                    <a:pt x="1352" y="715"/>
                  </a:cubicBezTo>
                  <a:cubicBezTo>
                    <a:pt x="1350" y="712"/>
                    <a:pt x="1350" y="712"/>
                    <a:pt x="1350" y="712"/>
                  </a:cubicBezTo>
                  <a:cubicBezTo>
                    <a:pt x="1351" y="716"/>
                    <a:pt x="1351" y="716"/>
                    <a:pt x="1351" y="716"/>
                  </a:cubicBezTo>
                  <a:cubicBezTo>
                    <a:pt x="1351" y="716"/>
                    <a:pt x="1351" y="716"/>
                    <a:pt x="1352" y="715"/>
                  </a:cubicBezTo>
                  <a:cubicBezTo>
                    <a:pt x="1350" y="712"/>
                    <a:pt x="1350" y="712"/>
                    <a:pt x="1350" y="712"/>
                  </a:cubicBezTo>
                  <a:cubicBezTo>
                    <a:pt x="1351" y="716"/>
                    <a:pt x="1351" y="716"/>
                    <a:pt x="1351" y="716"/>
                  </a:cubicBezTo>
                  <a:cubicBezTo>
                    <a:pt x="1350" y="714"/>
                    <a:pt x="1350" y="714"/>
                    <a:pt x="1350" y="714"/>
                  </a:cubicBezTo>
                  <a:cubicBezTo>
                    <a:pt x="1350" y="716"/>
                    <a:pt x="1350" y="716"/>
                    <a:pt x="1350" y="716"/>
                  </a:cubicBezTo>
                  <a:cubicBezTo>
                    <a:pt x="1351" y="716"/>
                    <a:pt x="1351" y="716"/>
                    <a:pt x="1351" y="716"/>
                  </a:cubicBezTo>
                  <a:cubicBezTo>
                    <a:pt x="1350" y="714"/>
                    <a:pt x="1350" y="714"/>
                    <a:pt x="1350" y="714"/>
                  </a:cubicBezTo>
                  <a:cubicBezTo>
                    <a:pt x="1350" y="716"/>
                    <a:pt x="1350" y="716"/>
                    <a:pt x="1350" y="716"/>
                  </a:cubicBezTo>
                  <a:cubicBezTo>
                    <a:pt x="1350" y="711"/>
                    <a:pt x="1350" y="711"/>
                    <a:pt x="1350" y="711"/>
                  </a:cubicBezTo>
                  <a:cubicBezTo>
                    <a:pt x="1350" y="716"/>
                    <a:pt x="1350" y="716"/>
                    <a:pt x="1350" y="716"/>
                  </a:cubicBezTo>
                  <a:cubicBezTo>
                    <a:pt x="1350" y="716"/>
                    <a:pt x="1350" y="716"/>
                    <a:pt x="1350" y="716"/>
                  </a:cubicBezTo>
                  <a:cubicBezTo>
                    <a:pt x="1350" y="711"/>
                    <a:pt x="1350" y="711"/>
                    <a:pt x="1350" y="711"/>
                  </a:cubicBezTo>
                  <a:cubicBezTo>
                    <a:pt x="1350" y="716"/>
                    <a:pt x="1350" y="716"/>
                    <a:pt x="1350" y="716"/>
                  </a:cubicBezTo>
                  <a:cubicBezTo>
                    <a:pt x="1350" y="716"/>
                    <a:pt x="1350" y="716"/>
                    <a:pt x="1350" y="716"/>
                  </a:cubicBezTo>
                  <a:cubicBezTo>
                    <a:pt x="1361" y="717"/>
                    <a:pt x="1373" y="719"/>
                    <a:pt x="1385" y="721"/>
                  </a:cubicBezTo>
                  <a:cubicBezTo>
                    <a:pt x="1398" y="723"/>
                    <a:pt x="1410" y="724"/>
                    <a:pt x="1422" y="726"/>
                  </a:cubicBezTo>
                  <a:cubicBezTo>
                    <a:pt x="1422" y="726"/>
                    <a:pt x="1422" y="726"/>
                    <a:pt x="1422" y="726"/>
                  </a:cubicBezTo>
                  <a:cubicBezTo>
                    <a:pt x="1435" y="728"/>
                    <a:pt x="1448" y="730"/>
                    <a:pt x="1461" y="732"/>
                  </a:cubicBezTo>
                  <a:cubicBezTo>
                    <a:pt x="1461" y="732"/>
                    <a:pt x="1461" y="732"/>
                    <a:pt x="1461" y="732"/>
                  </a:cubicBezTo>
                  <a:cubicBezTo>
                    <a:pt x="1477" y="735"/>
                    <a:pt x="1494" y="737"/>
                    <a:pt x="1510" y="739"/>
                  </a:cubicBezTo>
                  <a:cubicBezTo>
                    <a:pt x="1510" y="739"/>
                    <a:pt x="1510" y="739"/>
                    <a:pt x="1510" y="739"/>
                  </a:cubicBezTo>
                  <a:cubicBezTo>
                    <a:pt x="1534" y="743"/>
                    <a:pt x="1557" y="746"/>
                    <a:pt x="1580" y="750"/>
                  </a:cubicBezTo>
                  <a:cubicBezTo>
                    <a:pt x="1580" y="750"/>
                    <a:pt x="1580" y="750"/>
                    <a:pt x="1580" y="750"/>
                  </a:cubicBezTo>
                  <a:cubicBezTo>
                    <a:pt x="1601" y="753"/>
                    <a:pt x="1621" y="756"/>
                    <a:pt x="1641" y="759"/>
                  </a:cubicBezTo>
                  <a:cubicBezTo>
                    <a:pt x="1641" y="759"/>
                    <a:pt x="1641" y="759"/>
                    <a:pt x="1641" y="759"/>
                  </a:cubicBezTo>
                  <a:cubicBezTo>
                    <a:pt x="1654" y="761"/>
                    <a:pt x="1667" y="763"/>
                    <a:pt x="1680" y="765"/>
                  </a:cubicBezTo>
                  <a:cubicBezTo>
                    <a:pt x="1680" y="765"/>
                    <a:pt x="1680" y="765"/>
                    <a:pt x="1680" y="765"/>
                  </a:cubicBezTo>
                  <a:cubicBezTo>
                    <a:pt x="1680" y="765"/>
                    <a:pt x="1680" y="765"/>
                    <a:pt x="1680" y="765"/>
                  </a:cubicBezTo>
                  <a:cubicBezTo>
                    <a:pt x="1686" y="765"/>
                    <a:pt x="1692" y="765"/>
                    <a:pt x="1697" y="765"/>
                  </a:cubicBezTo>
                  <a:cubicBezTo>
                    <a:pt x="1697" y="765"/>
                    <a:pt x="1697" y="765"/>
                    <a:pt x="1697" y="765"/>
                  </a:cubicBezTo>
                  <a:cubicBezTo>
                    <a:pt x="1769" y="766"/>
                    <a:pt x="1842" y="766"/>
                    <a:pt x="1915" y="766"/>
                  </a:cubicBezTo>
                  <a:cubicBezTo>
                    <a:pt x="1994" y="766"/>
                    <a:pt x="2074" y="765"/>
                    <a:pt x="2154" y="765"/>
                  </a:cubicBezTo>
                  <a:cubicBezTo>
                    <a:pt x="2156" y="765"/>
                    <a:pt x="2158" y="765"/>
                    <a:pt x="2159" y="765"/>
                  </a:cubicBezTo>
                  <a:cubicBezTo>
                    <a:pt x="2230" y="765"/>
                    <a:pt x="2300" y="766"/>
                    <a:pt x="2371" y="766"/>
                  </a:cubicBezTo>
                  <a:cubicBezTo>
                    <a:pt x="2382" y="766"/>
                    <a:pt x="2394" y="766"/>
                    <a:pt x="2405" y="766"/>
                  </a:cubicBezTo>
                  <a:cubicBezTo>
                    <a:pt x="2484" y="766"/>
                    <a:pt x="2563" y="766"/>
                    <a:pt x="2642" y="766"/>
                  </a:cubicBezTo>
                  <a:cubicBezTo>
                    <a:pt x="2720" y="766"/>
                    <a:pt x="2798" y="766"/>
                    <a:pt x="2877" y="766"/>
                  </a:cubicBezTo>
                  <a:cubicBezTo>
                    <a:pt x="2878" y="766"/>
                    <a:pt x="2879" y="766"/>
                    <a:pt x="2880" y="766"/>
                  </a:cubicBezTo>
                  <a:cubicBezTo>
                    <a:pt x="2881" y="766"/>
                    <a:pt x="2882" y="766"/>
                    <a:pt x="2883" y="766"/>
                  </a:cubicBezTo>
                  <a:cubicBezTo>
                    <a:pt x="2883" y="766"/>
                    <a:pt x="2883" y="766"/>
                    <a:pt x="2883" y="766"/>
                  </a:cubicBezTo>
                  <a:cubicBezTo>
                    <a:pt x="2884" y="766"/>
                    <a:pt x="2884" y="766"/>
                    <a:pt x="2884" y="766"/>
                  </a:cubicBezTo>
                  <a:cubicBezTo>
                    <a:pt x="2884" y="766"/>
                    <a:pt x="2884" y="766"/>
                    <a:pt x="2884" y="766"/>
                  </a:cubicBezTo>
                  <a:cubicBezTo>
                    <a:pt x="2885" y="764"/>
                    <a:pt x="2885" y="764"/>
                    <a:pt x="2885" y="764"/>
                  </a:cubicBezTo>
                  <a:cubicBezTo>
                    <a:pt x="2883" y="766"/>
                    <a:pt x="2883" y="766"/>
                    <a:pt x="2883" y="766"/>
                  </a:cubicBezTo>
                  <a:cubicBezTo>
                    <a:pt x="2884" y="766"/>
                    <a:pt x="2884" y="766"/>
                    <a:pt x="2884" y="766"/>
                  </a:cubicBezTo>
                  <a:cubicBezTo>
                    <a:pt x="2885" y="764"/>
                    <a:pt x="2885" y="764"/>
                    <a:pt x="2885" y="764"/>
                  </a:cubicBezTo>
                  <a:cubicBezTo>
                    <a:pt x="2883" y="766"/>
                    <a:pt x="2883" y="766"/>
                    <a:pt x="2883" y="766"/>
                  </a:cubicBezTo>
                  <a:cubicBezTo>
                    <a:pt x="2886" y="762"/>
                    <a:pt x="2886" y="762"/>
                    <a:pt x="2886" y="762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2" y="765"/>
                    <a:pt x="2883" y="766"/>
                    <a:pt x="2883" y="766"/>
                  </a:cubicBezTo>
                  <a:cubicBezTo>
                    <a:pt x="2886" y="762"/>
                    <a:pt x="2886" y="762"/>
                    <a:pt x="2886" y="762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4" y="763"/>
                    <a:pt x="2884" y="763"/>
                    <a:pt x="2884" y="763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4" y="763"/>
                    <a:pt x="2884" y="763"/>
                    <a:pt x="2884" y="763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2" y="764"/>
                    <a:pt x="2882" y="764"/>
                    <a:pt x="2882" y="764"/>
                  </a:cubicBezTo>
                  <a:cubicBezTo>
                    <a:pt x="2882" y="764"/>
                    <a:pt x="2882" y="765"/>
                    <a:pt x="2882" y="766"/>
                  </a:cubicBezTo>
                  <a:cubicBezTo>
                    <a:pt x="2882" y="767"/>
                    <a:pt x="2882" y="769"/>
                    <a:pt x="2882" y="770"/>
                  </a:cubicBezTo>
                  <a:cubicBezTo>
                    <a:pt x="2883" y="772"/>
                    <a:pt x="2883" y="773"/>
                    <a:pt x="2884" y="775"/>
                  </a:cubicBezTo>
                  <a:cubicBezTo>
                    <a:pt x="2885" y="777"/>
                    <a:pt x="2886" y="779"/>
                    <a:pt x="2889" y="781"/>
                  </a:cubicBezTo>
                  <a:cubicBezTo>
                    <a:pt x="2892" y="783"/>
                    <a:pt x="2895" y="784"/>
                    <a:pt x="2897" y="785"/>
                  </a:cubicBezTo>
                  <a:cubicBezTo>
                    <a:pt x="2897" y="785"/>
                    <a:pt x="2897" y="785"/>
                    <a:pt x="2897" y="785"/>
                  </a:cubicBezTo>
                  <a:cubicBezTo>
                    <a:pt x="2898" y="785"/>
                    <a:pt x="2899" y="785"/>
                    <a:pt x="2901" y="785"/>
                  </a:cubicBezTo>
                  <a:cubicBezTo>
                    <a:pt x="2904" y="785"/>
                    <a:pt x="2907" y="784"/>
                    <a:pt x="2910" y="783"/>
                  </a:cubicBezTo>
                  <a:cubicBezTo>
                    <a:pt x="2912" y="781"/>
                    <a:pt x="2913" y="780"/>
                    <a:pt x="2914" y="779"/>
                  </a:cubicBezTo>
                  <a:cubicBezTo>
                    <a:pt x="2916" y="777"/>
                    <a:pt x="2917" y="775"/>
                    <a:pt x="2918" y="773"/>
                  </a:cubicBezTo>
                  <a:cubicBezTo>
                    <a:pt x="2919" y="771"/>
                    <a:pt x="2920" y="770"/>
                    <a:pt x="2920" y="769"/>
                  </a:cubicBezTo>
                  <a:cubicBezTo>
                    <a:pt x="2920" y="769"/>
                    <a:pt x="2920" y="769"/>
                    <a:pt x="2920" y="769"/>
                  </a:cubicBezTo>
                  <a:cubicBezTo>
                    <a:pt x="2920" y="768"/>
                    <a:pt x="2921" y="768"/>
                    <a:pt x="2921" y="767"/>
                  </a:cubicBezTo>
                  <a:cubicBezTo>
                    <a:pt x="2922" y="767"/>
                    <a:pt x="2922" y="766"/>
                    <a:pt x="2923" y="766"/>
                  </a:cubicBezTo>
                  <a:cubicBezTo>
                    <a:pt x="2923" y="766"/>
                    <a:pt x="2925" y="766"/>
                    <a:pt x="2927" y="766"/>
                  </a:cubicBezTo>
                  <a:cubicBezTo>
                    <a:pt x="2927" y="766"/>
                    <a:pt x="2927" y="766"/>
                    <a:pt x="2927" y="766"/>
                  </a:cubicBezTo>
                  <a:cubicBezTo>
                    <a:pt x="2927" y="766"/>
                    <a:pt x="2927" y="766"/>
                    <a:pt x="2927" y="766"/>
                  </a:cubicBezTo>
                  <a:cubicBezTo>
                    <a:pt x="2927" y="766"/>
                    <a:pt x="2927" y="766"/>
                    <a:pt x="2927" y="766"/>
                  </a:cubicBezTo>
                  <a:cubicBezTo>
                    <a:pt x="2986" y="766"/>
                    <a:pt x="3045" y="766"/>
                    <a:pt x="3104" y="766"/>
                  </a:cubicBezTo>
                  <a:cubicBezTo>
                    <a:pt x="3118" y="766"/>
                    <a:pt x="3133" y="766"/>
                    <a:pt x="3148" y="766"/>
                  </a:cubicBezTo>
                  <a:cubicBezTo>
                    <a:pt x="3152" y="766"/>
                    <a:pt x="3155" y="766"/>
                    <a:pt x="3157" y="767"/>
                  </a:cubicBezTo>
                  <a:cubicBezTo>
                    <a:pt x="3158" y="767"/>
                    <a:pt x="3159" y="767"/>
                    <a:pt x="3160" y="768"/>
                  </a:cubicBezTo>
                  <a:cubicBezTo>
                    <a:pt x="3160" y="768"/>
                    <a:pt x="3161" y="768"/>
                    <a:pt x="3162" y="769"/>
                  </a:cubicBezTo>
                  <a:cubicBezTo>
                    <a:pt x="3162" y="769"/>
                    <a:pt x="3162" y="769"/>
                    <a:pt x="3162" y="769"/>
                  </a:cubicBezTo>
                  <a:cubicBezTo>
                    <a:pt x="3162" y="770"/>
                    <a:pt x="3164" y="772"/>
                    <a:pt x="3165" y="773"/>
                  </a:cubicBezTo>
                  <a:cubicBezTo>
                    <a:pt x="3166" y="773"/>
                    <a:pt x="3167" y="774"/>
                    <a:pt x="3169" y="775"/>
                  </a:cubicBezTo>
                  <a:cubicBezTo>
                    <a:pt x="3170" y="775"/>
                    <a:pt x="3171" y="775"/>
                    <a:pt x="3173" y="775"/>
                  </a:cubicBezTo>
                  <a:cubicBezTo>
                    <a:pt x="3175" y="775"/>
                    <a:pt x="3177" y="775"/>
                    <a:pt x="3179" y="774"/>
                  </a:cubicBezTo>
                  <a:cubicBezTo>
                    <a:pt x="3182" y="773"/>
                    <a:pt x="3183" y="771"/>
                    <a:pt x="3184" y="770"/>
                  </a:cubicBezTo>
                  <a:cubicBezTo>
                    <a:pt x="3185" y="768"/>
                    <a:pt x="3186" y="767"/>
                    <a:pt x="3186" y="766"/>
                  </a:cubicBezTo>
                  <a:cubicBezTo>
                    <a:pt x="3186" y="766"/>
                    <a:pt x="3186" y="766"/>
                    <a:pt x="3186" y="766"/>
                  </a:cubicBezTo>
                  <a:cubicBezTo>
                    <a:pt x="3186" y="766"/>
                    <a:pt x="3186" y="766"/>
                    <a:pt x="3186" y="766"/>
                  </a:cubicBezTo>
                  <a:cubicBezTo>
                    <a:pt x="3187" y="764"/>
                    <a:pt x="3188" y="763"/>
                    <a:pt x="3188" y="762"/>
                  </a:cubicBezTo>
                  <a:cubicBezTo>
                    <a:pt x="3189" y="761"/>
                    <a:pt x="3189" y="761"/>
                    <a:pt x="3189" y="761"/>
                  </a:cubicBezTo>
                  <a:cubicBezTo>
                    <a:pt x="3188" y="760"/>
                    <a:pt x="3188" y="760"/>
                    <a:pt x="3188" y="760"/>
                  </a:cubicBezTo>
                  <a:cubicBezTo>
                    <a:pt x="3189" y="761"/>
                    <a:pt x="3189" y="761"/>
                    <a:pt x="3189" y="761"/>
                  </a:cubicBezTo>
                  <a:cubicBezTo>
                    <a:pt x="3189" y="761"/>
                    <a:pt x="3189" y="761"/>
                    <a:pt x="3189" y="761"/>
                  </a:cubicBezTo>
                  <a:cubicBezTo>
                    <a:pt x="3188" y="760"/>
                    <a:pt x="3188" y="760"/>
                    <a:pt x="3188" y="760"/>
                  </a:cubicBezTo>
                  <a:cubicBezTo>
                    <a:pt x="3189" y="761"/>
                    <a:pt x="3189" y="761"/>
                    <a:pt x="3189" y="761"/>
                  </a:cubicBezTo>
                  <a:cubicBezTo>
                    <a:pt x="3186" y="758"/>
                    <a:pt x="3186" y="758"/>
                    <a:pt x="3186" y="758"/>
                  </a:cubicBezTo>
                  <a:cubicBezTo>
                    <a:pt x="3188" y="762"/>
                    <a:pt x="3188" y="762"/>
                    <a:pt x="3188" y="762"/>
                  </a:cubicBezTo>
                  <a:cubicBezTo>
                    <a:pt x="3188" y="762"/>
                    <a:pt x="3189" y="761"/>
                    <a:pt x="3189" y="761"/>
                  </a:cubicBezTo>
                  <a:cubicBezTo>
                    <a:pt x="3186" y="758"/>
                    <a:pt x="3186" y="758"/>
                    <a:pt x="3186" y="758"/>
                  </a:cubicBezTo>
                  <a:cubicBezTo>
                    <a:pt x="3188" y="762"/>
                    <a:pt x="3188" y="762"/>
                    <a:pt x="3188" y="762"/>
                  </a:cubicBezTo>
                  <a:cubicBezTo>
                    <a:pt x="3187" y="759"/>
                    <a:pt x="3187" y="759"/>
                    <a:pt x="3187" y="759"/>
                  </a:cubicBezTo>
                  <a:cubicBezTo>
                    <a:pt x="3187" y="762"/>
                    <a:pt x="3187" y="762"/>
                    <a:pt x="3187" y="762"/>
                  </a:cubicBezTo>
                  <a:cubicBezTo>
                    <a:pt x="3188" y="762"/>
                    <a:pt x="3188" y="762"/>
                    <a:pt x="3188" y="762"/>
                  </a:cubicBezTo>
                  <a:cubicBezTo>
                    <a:pt x="3187" y="759"/>
                    <a:pt x="3187" y="759"/>
                    <a:pt x="3187" y="759"/>
                  </a:cubicBezTo>
                  <a:cubicBezTo>
                    <a:pt x="3187" y="762"/>
                    <a:pt x="3187" y="762"/>
                    <a:pt x="3187" y="762"/>
                  </a:cubicBezTo>
                  <a:cubicBezTo>
                    <a:pt x="3187" y="762"/>
                    <a:pt x="3187" y="762"/>
                    <a:pt x="3187" y="762"/>
                  </a:cubicBezTo>
                  <a:cubicBezTo>
                    <a:pt x="3187" y="762"/>
                    <a:pt x="3187" y="762"/>
                    <a:pt x="3187" y="762"/>
                  </a:cubicBezTo>
                  <a:cubicBezTo>
                    <a:pt x="3187" y="762"/>
                    <a:pt x="3187" y="762"/>
                    <a:pt x="3187" y="762"/>
                  </a:cubicBezTo>
                  <a:cubicBezTo>
                    <a:pt x="3187" y="762"/>
                    <a:pt x="3187" y="762"/>
                    <a:pt x="3187" y="762"/>
                  </a:cubicBezTo>
                  <a:cubicBezTo>
                    <a:pt x="3187" y="762"/>
                    <a:pt x="3187" y="762"/>
                    <a:pt x="3187" y="762"/>
                  </a:cubicBezTo>
                  <a:cubicBezTo>
                    <a:pt x="3187" y="762"/>
                    <a:pt x="3187" y="762"/>
                    <a:pt x="3187" y="762"/>
                  </a:cubicBezTo>
                  <a:cubicBezTo>
                    <a:pt x="3188" y="762"/>
                    <a:pt x="3190" y="762"/>
                    <a:pt x="3193" y="763"/>
                  </a:cubicBezTo>
                  <a:cubicBezTo>
                    <a:pt x="3196" y="764"/>
                    <a:pt x="3200" y="765"/>
                    <a:pt x="3205" y="765"/>
                  </a:cubicBezTo>
                  <a:cubicBezTo>
                    <a:pt x="3209" y="765"/>
                    <a:pt x="3212" y="764"/>
                    <a:pt x="3216" y="763"/>
                  </a:cubicBezTo>
                  <a:cubicBezTo>
                    <a:pt x="3219" y="761"/>
                    <a:pt x="3223" y="759"/>
                    <a:pt x="3226" y="756"/>
                  </a:cubicBezTo>
                  <a:cubicBezTo>
                    <a:pt x="3226" y="756"/>
                    <a:pt x="3226" y="756"/>
                    <a:pt x="3226" y="756"/>
                  </a:cubicBezTo>
                  <a:cubicBezTo>
                    <a:pt x="3226" y="756"/>
                    <a:pt x="3226" y="756"/>
                    <a:pt x="3226" y="756"/>
                  </a:cubicBezTo>
                  <a:cubicBezTo>
                    <a:pt x="3218" y="749"/>
                    <a:pt x="3218" y="749"/>
                    <a:pt x="3218" y="749"/>
                  </a:cubicBezTo>
                  <a:cubicBezTo>
                    <a:pt x="3222" y="758"/>
                    <a:pt x="3222" y="758"/>
                    <a:pt x="3222" y="758"/>
                  </a:cubicBezTo>
                  <a:cubicBezTo>
                    <a:pt x="3223" y="758"/>
                    <a:pt x="3225" y="757"/>
                    <a:pt x="3226" y="756"/>
                  </a:cubicBezTo>
                  <a:cubicBezTo>
                    <a:pt x="3218" y="749"/>
                    <a:pt x="3218" y="749"/>
                    <a:pt x="3218" y="749"/>
                  </a:cubicBezTo>
                  <a:cubicBezTo>
                    <a:pt x="3222" y="758"/>
                    <a:pt x="3222" y="758"/>
                    <a:pt x="3222" y="758"/>
                  </a:cubicBezTo>
                  <a:cubicBezTo>
                    <a:pt x="3219" y="751"/>
                    <a:pt x="3219" y="751"/>
                    <a:pt x="3219" y="751"/>
                  </a:cubicBezTo>
                  <a:cubicBezTo>
                    <a:pt x="3220" y="759"/>
                    <a:pt x="3220" y="759"/>
                    <a:pt x="3220" y="759"/>
                  </a:cubicBezTo>
                  <a:cubicBezTo>
                    <a:pt x="3220" y="759"/>
                    <a:pt x="3221" y="759"/>
                    <a:pt x="3222" y="758"/>
                  </a:cubicBezTo>
                  <a:cubicBezTo>
                    <a:pt x="3219" y="751"/>
                    <a:pt x="3219" y="751"/>
                    <a:pt x="3219" y="751"/>
                  </a:cubicBezTo>
                  <a:cubicBezTo>
                    <a:pt x="3220" y="759"/>
                    <a:pt x="3220" y="759"/>
                    <a:pt x="3220" y="759"/>
                  </a:cubicBezTo>
                  <a:cubicBezTo>
                    <a:pt x="3219" y="756"/>
                    <a:pt x="3219" y="756"/>
                    <a:pt x="3219" y="756"/>
                  </a:cubicBezTo>
                  <a:cubicBezTo>
                    <a:pt x="3220" y="759"/>
                    <a:pt x="3220" y="759"/>
                    <a:pt x="3220" y="759"/>
                  </a:cubicBezTo>
                  <a:cubicBezTo>
                    <a:pt x="3220" y="759"/>
                    <a:pt x="3220" y="759"/>
                    <a:pt x="3220" y="759"/>
                  </a:cubicBezTo>
                  <a:cubicBezTo>
                    <a:pt x="3219" y="756"/>
                    <a:pt x="3219" y="756"/>
                    <a:pt x="3219" y="756"/>
                  </a:cubicBezTo>
                  <a:cubicBezTo>
                    <a:pt x="3220" y="759"/>
                    <a:pt x="3220" y="759"/>
                    <a:pt x="3220" y="759"/>
                  </a:cubicBezTo>
                  <a:cubicBezTo>
                    <a:pt x="3220" y="759"/>
                    <a:pt x="3220" y="759"/>
                    <a:pt x="3220" y="759"/>
                  </a:cubicBezTo>
                  <a:cubicBezTo>
                    <a:pt x="3220" y="759"/>
                    <a:pt x="3221" y="759"/>
                    <a:pt x="3222" y="759"/>
                  </a:cubicBezTo>
                  <a:cubicBezTo>
                    <a:pt x="3223" y="759"/>
                    <a:pt x="3224" y="759"/>
                    <a:pt x="3225" y="758"/>
                  </a:cubicBezTo>
                  <a:cubicBezTo>
                    <a:pt x="3226" y="758"/>
                    <a:pt x="3228" y="757"/>
                    <a:pt x="3229" y="756"/>
                  </a:cubicBezTo>
                  <a:cubicBezTo>
                    <a:pt x="3229" y="756"/>
                    <a:pt x="3229" y="756"/>
                    <a:pt x="3229" y="756"/>
                  </a:cubicBezTo>
                  <a:cubicBezTo>
                    <a:pt x="3229" y="756"/>
                    <a:pt x="3229" y="756"/>
                    <a:pt x="3229" y="756"/>
                  </a:cubicBezTo>
                  <a:cubicBezTo>
                    <a:pt x="3231" y="755"/>
                    <a:pt x="3232" y="754"/>
                    <a:pt x="3234" y="752"/>
                  </a:cubicBezTo>
                  <a:cubicBezTo>
                    <a:pt x="3235" y="751"/>
                    <a:pt x="3236" y="750"/>
                    <a:pt x="3237" y="749"/>
                  </a:cubicBezTo>
                  <a:cubicBezTo>
                    <a:pt x="3238" y="747"/>
                    <a:pt x="3238" y="745"/>
                    <a:pt x="3239" y="743"/>
                  </a:cubicBezTo>
                  <a:cubicBezTo>
                    <a:pt x="3239" y="743"/>
                    <a:pt x="3239" y="743"/>
                    <a:pt x="3239" y="743"/>
                  </a:cubicBezTo>
                  <a:cubicBezTo>
                    <a:pt x="3241" y="736"/>
                    <a:pt x="3242" y="728"/>
                    <a:pt x="3242" y="720"/>
                  </a:cubicBezTo>
                  <a:cubicBezTo>
                    <a:pt x="3242" y="720"/>
                    <a:pt x="3242" y="720"/>
                    <a:pt x="3242" y="720"/>
                  </a:cubicBezTo>
                  <a:cubicBezTo>
                    <a:pt x="3242" y="719"/>
                    <a:pt x="3243" y="718"/>
                    <a:pt x="3243" y="718"/>
                  </a:cubicBezTo>
                  <a:cubicBezTo>
                    <a:pt x="3243" y="717"/>
                    <a:pt x="3243" y="717"/>
                    <a:pt x="3244" y="716"/>
                  </a:cubicBezTo>
                  <a:cubicBezTo>
                    <a:pt x="3244" y="716"/>
                    <a:pt x="3246" y="715"/>
                    <a:pt x="3248" y="714"/>
                  </a:cubicBezTo>
                  <a:cubicBezTo>
                    <a:pt x="3249" y="712"/>
                    <a:pt x="3252" y="711"/>
                    <a:pt x="3254" y="710"/>
                  </a:cubicBezTo>
                  <a:cubicBezTo>
                    <a:pt x="3254" y="710"/>
                    <a:pt x="3254" y="710"/>
                    <a:pt x="3254" y="710"/>
                  </a:cubicBezTo>
                  <a:cubicBezTo>
                    <a:pt x="3257" y="707"/>
                    <a:pt x="3261" y="705"/>
                    <a:pt x="3265" y="703"/>
                  </a:cubicBezTo>
                  <a:cubicBezTo>
                    <a:pt x="3265" y="703"/>
                    <a:pt x="3265" y="703"/>
                    <a:pt x="3265" y="703"/>
                  </a:cubicBezTo>
                  <a:cubicBezTo>
                    <a:pt x="3271" y="699"/>
                    <a:pt x="3277" y="695"/>
                    <a:pt x="3284" y="691"/>
                  </a:cubicBezTo>
                  <a:cubicBezTo>
                    <a:pt x="3284" y="691"/>
                    <a:pt x="3284" y="691"/>
                    <a:pt x="3284" y="691"/>
                  </a:cubicBezTo>
                  <a:cubicBezTo>
                    <a:pt x="3322" y="667"/>
                    <a:pt x="3359" y="642"/>
                    <a:pt x="3397" y="618"/>
                  </a:cubicBezTo>
                  <a:cubicBezTo>
                    <a:pt x="3397" y="618"/>
                    <a:pt x="3397" y="618"/>
                    <a:pt x="3397" y="618"/>
                  </a:cubicBezTo>
                  <a:cubicBezTo>
                    <a:pt x="3415" y="607"/>
                    <a:pt x="3433" y="596"/>
                    <a:pt x="3452" y="585"/>
                  </a:cubicBezTo>
                  <a:cubicBezTo>
                    <a:pt x="3452" y="585"/>
                    <a:pt x="3452" y="585"/>
                    <a:pt x="3452" y="585"/>
                  </a:cubicBezTo>
                  <a:cubicBezTo>
                    <a:pt x="3452" y="585"/>
                    <a:pt x="3452" y="585"/>
                    <a:pt x="3452" y="585"/>
                  </a:cubicBezTo>
                  <a:cubicBezTo>
                    <a:pt x="3453" y="584"/>
                    <a:pt x="3455" y="583"/>
                    <a:pt x="3457" y="581"/>
                  </a:cubicBezTo>
                  <a:cubicBezTo>
                    <a:pt x="3458" y="580"/>
                    <a:pt x="3459" y="579"/>
                    <a:pt x="3460" y="577"/>
                  </a:cubicBezTo>
                  <a:cubicBezTo>
                    <a:pt x="3460" y="577"/>
                    <a:pt x="3461" y="576"/>
                    <a:pt x="3461" y="574"/>
                  </a:cubicBezTo>
                  <a:cubicBezTo>
                    <a:pt x="3462" y="573"/>
                    <a:pt x="3462" y="572"/>
                    <a:pt x="3462" y="570"/>
                  </a:cubicBezTo>
                  <a:cubicBezTo>
                    <a:pt x="3462" y="570"/>
                    <a:pt x="3462" y="570"/>
                    <a:pt x="3462" y="570"/>
                  </a:cubicBezTo>
                  <a:cubicBezTo>
                    <a:pt x="3462" y="569"/>
                    <a:pt x="3462" y="569"/>
                    <a:pt x="3462" y="569"/>
                  </a:cubicBezTo>
                  <a:cubicBezTo>
                    <a:pt x="3462" y="569"/>
                    <a:pt x="3462" y="569"/>
                    <a:pt x="3463" y="568"/>
                  </a:cubicBezTo>
                  <a:cubicBezTo>
                    <a:pt x="3464" y="567"/>
                    <a:pt x="3465" y="566"/>
                    <a:pt x="3466" y="565"/>
                  </a:cubicBezTo>
                  <a:cubicBezTo>
                    <a:pt x="3466" y="565"/>
                    <a:pt x="3466" y="565"/>
                    <a:pt x="3466" y="565"/>
                  </a:cubicBezTo>
                  <a:cubicBezTo>
                    <a:pt x="3467" y="564"/>
                    <a:pt x="3468" y="563"/>
                    <a:pt x="3469" y="562"/>
                  </a:cubicBezTo>
                  <a:cubicBezTo>
                    <a:pt x="3470" y="561"/>
                    <a:pt x="3470" y="560"/>
                    <a:pt x="3471" y="559"/>
                  </a:cubicBezTo>
                  <a:cubicBezTo>
                    <a:pt x="3471" y="558"/>
                    <a:pt x="3472" y="557"/>
                    <a:pt x="3472" y="556"/>
                  </a:cubicBezTo>
                  <a:cubicBezTo>
                    <a:pt x="3473" y="555"/>
                    <a:pt x="3473" y="554"/>
                    <a:pt x="3473" y="552"/>
                  </a:cubicBezTo>
                  <a:cubicBezTo>
                    <a:pt x="3473" y="551"/>
                    <a:pt x="3473" y="550"/>
                    <a:pt x="3473" y="549"/>
                  </a:cubicBezTo>
                  <a:cubicBezTo>
                    <a:pt x="3473" y="549"/>
                    <a:pt x="3473" y="549"/>
                    <a:pt x="3473" y="549"/>
                  </a:cubicBezTo>
                  <a:cubicBezTo>
                    <a:pt x="3472" y="548"/>
                    <a:pt x="3472" y="546"/>
                    <a:pt x="3472" y="543"/>
                  </a:cubicBezTo>
                  <a:cubicBezTo>
                    <a:pt x="3472" y="541"/>
                    <a:pt x="3472" y="538"/>
                    <a:pt x="3472" y="536"/>
                  </a:cubicBezTo>
                  <a:cubicBezTo>
                    <a:pt x="3472" y="532"/>
                    <a:pt x="3472" y="527"/>
                    <a:pt x="3471" y="522"/>
                  </a:cubicBezTo>
                  <a:cubicBezTo>
                    <a:pt x="3469" y="517"/>
                    <a:pt x="3466" y="511"/>
                    <a:pt x="3462" y="507"/>
                  </a:cubicBezTo>
                  <a:cubicBezTo>
                    <a:pt x="3462" y="507"/>
                    <a:pt x="3462" y="507"/>
                    <a:pt x="3462" y="507"/>
                  </a:cubicBezTo>
                  <a:cubicBezTo>
                    <a:pt x="3460" y="508"/>
                    <a:pt x="3460" y="508"/>
                    <a:pt x="3460" y="508"/>
                  </a:cubicBezTo>
                  <a:cubicBezTo>
                    <a:pt x="3462" y="507"/>
                    <a:pt x="3462" y="507"/>
                    <a:pt x="3462" y="507"/>
                  </a:cubicBezTo>
                  <a:cubicBezTo>
                    <a:pt x="3462" y="507"/>
                    <a:pt x="3462" y="507"/>
                    <a:pt x="3462" y="507"/>
                  </a:cubicBezTo>
                  <a:cubicBezTo>
                    <a:pt x="3460" y="508"/>
                    <a:pt x="3460" y="508"/>
                    <a:pt x="3460" y="508"/>
                  </a:cubicBezTo>
                  <a:cubicBezTo>
                    <a:pt x="3462" y="507"/>
                    <a:pt x="3462" y="507"/>
                    <a:pt x="3462" y="507"/>
                  </a:cubicBezTo>
                  <a:cubicBezTo>
                    <a:pt x="3462" y="507"/>
                    <a:pt x="3462" y="507"/>
                    <a:pt x="3462" y="507"/>
                  </a:cubicBezTo>
                  <a:cubicBezTo>
                    <a:pt x="3462" y="507"/>
                    <a:pt x="3462" y="507"/>
                    <a:pt x="3462" y="507"/>
                  </a:cubicBezTo>
                  <a:cubicBezTo>
                    <a:pt x="3462" y="507"/>
                    <a:pt x="3462" y="507"/>
                    <a:pt x="3462" y="507"/>
                  </a:cubicBezTo>
                  <a:cubicBezTo>
                    <a:pt x="3462" y="507"/>
                    <a:pt x="3462" y="507"/>
                    <a:pt x="3462" y="507"/>
                  </a:cubicBezTo>
                  <a:cubicBezTo>
                    <a:pt x="3462" y="507"/>
                    <a:pt x="3462" y="507"/>
                    <a:pt x="3462" y="507"/>
                  </a:cubicBezTo>
                  <a:cubicBezTo>
                    <a:pt x="3462" y="507"/>
                    <a:pt x="3461" y="506"/>
                    <a:pt x="3461" y="505"/>
                  </a:cubicBezTo>
                  <a:cubicBezTo>
                    <a:pt x="3461" y="504"/>
                    <a:pt x="3460" y="502"/>
                    <a:pt x="3460" y="501"/>
                  </a:cubicBezTo>
                  <a:cubicBezTo>
                    <a:pt x="3460" y="501"/>
                    <a:pt x="3460" y="501"/>
                    <a:pt x="3460" y="501"/>
                  </a:cubicBezTo>
                  <a:cubicBezTo>
                    <a:pt x="3460" y="501"/>
                    <a:pt x="3460" y="501"/>
                    <a:pt x="3460" y="501"/>
                  </a:cubicBezTo>
                  <a:cubicBezTo>
                    <a:pt x="3460" y="500"/>
                    <a:pt x="3460" y="500"/>
                    <a:pt x="3460" y="499"/>
                  </a:cubicBezTo>
                  <a:cubicBezTo>
                    <a:pt x="3460" y="499"/>
                    <a:pt x="3460" y="499"/>
                    <a:pt x="3460" y="499"/>
                  </a:cubicBezTo>
                  <a:cubicBezTo>
                    <a:pt x="3460" y="499"/>
                    <a:pt x="3460" y="499"/>
                    <a:pt x="3460" y="499"/>
                  </a:cubicBezTo>
                  <a:cubicBezTo>
                    <a:pt x="3458" y="499"/>
                    <a:pt x="3458" y="499"/>
                    <a:pt x="3458" y="499"/>
                  </a:cubicBezTo>
                  <a:cubicBezTo>
                    <a:pt x="3459" y="500"/>
                    <a:pt x="3459" y="500"/>
                    <a:pt x="3459" y="500"/>
                  </a:cubicBezTo>
                  <a:cubicBezTo>
                    <a:pt x="3460" y="500"/>
                    <a:pt x="3460" y="499"/>
                    <a:pt x="3460" y="499"/>
                  </a:cubicBezTo>
                  <a:cubicBezTo>
                    <a:pt x="3458" y="499"/>
                    <a:pt x="3458" y="499"/>
                    <a:pt x="3458" y="499"/>
                  </a:cubicBezTo>
                  <a:cubicBezTo>
                    <a:pt x="3459" y="500"/>
                    <a:pt x="3459" y="500"/>
                    <a:pt x="3459" y="500"/>
                  </a:cubicBezTo>
                  <a:cubicBezTo>
                    <a:pt x="3458" y="499"/>
                    <a:pt x="3458" y="499"/>
                    <a:pt x="3458" y="499"/>
                  </a:cubicBezTo>
                  <a:cubicBezTo>
                    <a:pt x="3459" y="500"/>
                    <a:pt x="3459" y="500"/>
                    <a:pt x="3459" y="500"/>
                  </a:cubicBezTo>
                  <a:cubicBezTo>
                    <a:pt x="3459" y="500"/>
                    <a:pt x="3459" y="500"/>
                    <a:pt x="3459" y="500"/>
                  </a:cubicBezTo>
                  <a:cubicBezTo>
                    <a:pt x="3458" y="499"/>
                    <a:pt x="3458" y="499"/>
                    <a:pt x="3458" y="499"/>
                  </a:cubicBezTo>
                  <a:cubicBezTo>
                    <a:pt x="3459" y="500"/>
                    <a:pt x="3459" y="500"/>
                    <a:pt x="3459" y="500"/>
                  </a:cubicBezTo>
                  <a:cubicBezTo>
                    <a:pt x="3459" y="500"/>
                    <a:pt x="3459" y="500"/>
                    <a:pt x="3460" y="500"/>
                  </a:cubicBezTo>
                  <a:cubicBezTo>
                    <a:pt x="3462" y="500"/>
                    <a:pt x="3464" y="499"/>
                    <a:pt x="3466" y="497"/>
                  </a:cubicBezTo>
                  <a:cubicBezTo>
                    <a:pt x="3468" y="495"/>
                    <a:pt x="3471" y="492"/>
                    <a:pt x="3472" y="489"/>
                  </a:cubicBezTo>
                  <a:cubicBezTo>
                    <a:pt x="3473" y="486"/>
                    <a:pt x="3474" y="483"/>
                    <a:pt x="3474" y="480"/>
                  </a:cubicBezTo>
                  <a:cubicBezTo>
                    <a:pt x="3474" y="479"/>
                    <a:pt x="3474" y="478"/>
                    <a:pt x="3474" y="477"/>
                  </a:cubicBezTo>
                  <a:cubicBezTo>
                    <a:pt x="3474" y="477"/>
                    <a:pt x="3474" y="477"/>
                    <a:pt x="3474" y="477"/>
                  </a:cubicBezTo>
                  <a:cubicBezTo>
                    <a:pt x="3474" y="475"/>
                    <a:pt x="3474" y="473"/>
                    <a:pt x="3474" y="471"/>
                  </a:cubicBezTo>
                  <a:cubicBezTo>
                    <a:pt x="3474" y="467"/>
                    <a:pt x="3474" y="464"/>
                    <a:pt x="3475" y="461"/>
                  </a:cubicBezTo>
                  <a:cubicBezTo>
                    <a:pt x="3475" y="460"/>
                    <a:pt x="3475" y="460"/>
                    <a:pt x="3475" y="460"/>
                  </a:cubicBezTo>
                  <a:cubicBezTo>
                    <a:pt x="3475" y="461"/>
                    <a:pt x="3475" y="461"/>
                    <a:pt x="3475" y="461"/>
                  </a:cubicBezTo>
                  <a:cubicBezTo>
                    <a:pt x="3472" y="460"/>
                    <a:pt x="3472" y="460"/>
                    <a:pt x="3472" y="460"/>
                  </a:cubicBezTo>
                  <a:cubicBezTo>
                    <a:pt x="3474" y="461"/>
                    <a:pt x="3474" y="461"/>
                    <a:pt x="3474" y="461"/>
                  </a:cubicBezTo>
                  <a:cubicBezTo>
                    <a:pt x="3474" y="461"/>
                    <a:pt x="3474" y="461"/>
                    <a:pt x="3475" y="461"/>
                  </a:cubicBezTo>
                  <a:cubicBezTo>
                    <a:pt x="3472" y="460"/>
                    <a:pt x="3472" y="460"/>
                    <a:pt x="3472" y="460"/>
                  </a:cubicBezTo>
                  <a:cubicBezTo>
                    <a:pt x="3474" y="461"/>
                    <a:pt x="3474" y="461"/>
                    <a:pt x="3474" y="461"/>
                  </a:cubicBezTo>
                  <a:cubicBezTo>
                    <a:pt x="3474" y="461"/>
                    <a:pt x="3475" y="461"/>
                    <a:pt x="3475" y="460"/>
                  </a:cubicBezTo>
                  <a:cubicBezTo>
                    <a:pt x="3476" y="460"/>
                    <a:pt x="3476" y="459"/>
                    <a:pt x="3477" y="459"/>
                  </a:cubicBezTo>
                  <a:cubicBezTo>
                    <a:pt x="3477" y="459"/>
                    <a:pt x="3477" y="459"/>
                    <a:pt x="3477" y="459"/>
                  </a:cubicBezTo>
                  <a:cubicBezTo>
                    <a:pt x="3484" y="454"/>
                    <a:pt x="3492" y="450"/>
                    <a:pt x="3499" y="446"/>
                  </a:cubicBezTo>
                  <a:cubicBezTo>
                    <a:pt x="3499" y="446"/>
                    <a:pt x="3499" y="446"/>
                    <a:pt x="3499" y="446"/>
                  </a:cubicBezTo>
                  <a:cubicBezTo>
                    <a:pt x="3502" y="445"/>
                    <a:pt x="3506" y="443"/>
                    <a:pt x="3509" y="440"/>
                  </a:cubicBezTo>
                  <a:cubicBezTo>
                    <a:pt x="3511" y="438"/>
                    <a:pt x="3513" y="436"/>
                    <a:pt x="3514" y="434"/>
                  </a:cubicBezTo>
                  <a:cubicBezTo>
                    <a:pt x="3515" y="432"/>
                    <a:pt x="3516" y="429"/>
                    <a:pt x="3516" y="427"/>
                  </a:cubicBezTo>
                  <a:cubicBezTo>
                    <a:pt x="3516" y="427"/>
                    <a:pt x="3516" y="427"/>
                    <a:pt x="3516" y="427"/>
                  </a:cubicBezTo>
                  <a:cubicBezTo>
                    <a:pt x="3517" y="424"/>
                    <a:pt x="3517" y="422"/>
                    <a:pt x="3518" y="420"/>
                  </a:cubicBezTo>
                  <a:cubicBezTo>
                    <a:pt x="3518" y="420"/>
                    <a:pt x="3518" y="420"/>
                    <a:pt x="3518" y="420"/>
                  </a:cubicBezTo>
                  <a:cubicBezTo>
                    <a:pt x="3519" y="418"/>
                    <a:pt x="3520" y="416"/>
                    <a:pt x="3521" y="415"/>
                  </a:cubicBezTo>
                  <a:cubicBezTo>
                    <a:pt x="3522" y="413"/>
                    <a:pt x="3524" y="412"/>
                    <a:pt x="3526" y="411"/>
                  </a:cubicBezTo>
                  <a:cubicBezTo>
                    <a:pt x="3531" y="409"/>
                    <a:pt x="3537" y="407"/>
                    <a:pt x="3542" y="403"/>
                  </a:cubicBezTo>
                  <a:cubicBezTo>
                    <a:pt x="3545" y="401"/>
                    <a:pt x="3548" y="398"/>
                    <a:pt x="3550" y="395"/>
                  </a:cubicBezTo>
                  <a:cubicBezTo>
                    <a:pt x="3553" y="392"/>
                    <a:pt x="3555" y="389"/>
                    <a:pt x="3556" y="384"/>
                  </a:cubicBezTo>
                  <a:cubicBezTo>
                    <a:pt x="3556" y="384"/>
                    <a:pt x="3556" y="384"/>
                    <a:pt x="3556" y="384"/>
                  </a:cubicBezTo>
                  <a:cubicBezTo>
                    <a:pt x="3557" y="383"/>
                    <a:pt x="3557" y="383"/>
                    <a:pt x="3557" y="383"/>
                  </a:cubicBezTo>
                  <a:cubicBezTo>
                    <a:pt x="3557" y="383"/>
                    <a:pt x="3557" y="383"/>
                    <a:pt x="3557" y="383"/>
                  </a:cubicBezTo>
                  <a:cubicBezTo>
                    <a:pt x="3557" y="383"/>
                    <a:pt x="3557" y="383"/>
                    <a:pt x="3557" y="383"/>
                  </a:cubicBezTo>
                  <a:cubicBezTo>
                    <a:pt x="3557" y="383"/>
                    <a:pt x="3557" y="383"/>
                    <a:pt x="3557" y="383"/>
                  </a:cubicBezTo>
                  <a:cubicBezTo>
                    <a:pt x="3557" y="383"/>
                    <a:pt x="3557" y="383"/>
                    <a:pt x="3557" y="383"/>
                  </a:cubicBezTo>
                  <a:cubicBezTo>
                    <a:pt x="3557" y="383"/>
                    <a:pt x="3557" y="383"/>
                    <a:pt x="3557" y="383"/>
                  </a:cubicBezTo>
                  <a:cubicBezTo>
                    <a:pt x="3557" y="383"/>
                    <a:pt x="3557" y="383"/>
                    <a:pt x="3557" y="383"/>
                  </a:cubicBezTo>
                  <a:cubicBezTo>
                    <a:pt x="3557" y="383"/>
                    <a:pt x="3557" y="383"/>
                    <a:pt x="3557" y="383"/>
                  </a:cubicBezTo>
                  <a:cubicBezTo>
                    <a:pt x="3560" y="382"/>
                    <a:pt x="3563" y="381"/>
                    <a:pt x="3564" y="380"/>
                  </a:cubicBezTo>
                  <a:cubicBezTo>
                    <a:pt x="3566" y="379"/>
                    <a:pt x="3567" y="378"/>
                    <a:pt x="3568" y="378"/>
                  </a:cubicBezTo>
                  <a:cubicBezTo>
                    <a:pt x="3568" y="378"/>
                    <a:pt x="3568" y="378"/>
                    <a:pt x="3568" y="378"/>
                  </a:cubicBezTo>
                  <a:cubicBezTo>
                    <a:pt x="3568" y="378"/>
                    <a:pt x="3568" y="378"/>
                    <a:pt x="3568" y="378"/>
                  </a:cubicBezTo>
                  <a:cubicBezTo>
                    <a:pt x="3571" y="376"/>
                    <a:pt x="3573" y="375"/>
                    <a:pt x="3575" y="375"/>
                  </a:cubicBezTo>
                  <a:cubicBezTo>
                    <a:pt x="3576" y="375"/>
                    <a:pt x="3576" y="376"/>
                    <a:pt x="3577" y="376"/>
                  </a:cubicBezTo>
                  <a:cubicBezTo>
                    <a:pt x="3578" y="377"/>
                    <a:pt x="3580" y="378"/>
                    <a:pt x="3581" y="381"/>
                  </a:cubicBezTo>
                  <a:cubicBezTo>
                    <a:pt x="3581" y="381"/>
                    <a:pt x="3581" y="381"/>
                    <a:pt x="3581" y="381"/>
                  </a:cubicBezTo>
                  <a:cubicBezTo>
                    <a:pt x="3582" y="381"/>
                    <a:pt x="3582" y="382"/>
                    <a:pt x="3583" y="384"/>
                  </a:cubicBezTo>
                  <a:cubicBezTo>
                    <a:pt x="3584" y="385"/>
                    <a:pt x="3586" y="387"/>
                    <a:pt x="3589" y="389"/>
                  </a:cubicBezTo>
                  <a:cubicBezTo>
                    <a:pt x="3592" y="390"/>
                    <a:pt x="3595" y="391"/>
                    <a:pt x="3597" y="391"/>
                  </a:cubicBezTo>
                  <a:cubicBezTo>
                    <a:pt x="3597" y="391"/>
                    <a:pt x="3597" y="391"/>
                    <a:pt x="3597" y="391"/>
                  </a:cubicBezTo>
                  <a:cubicBezTo>
                    <a:pt x="3603" y="391"/>
                    <a:pt x="3610" y="392"/>
                    <a:pt x="3618" y="393"/>
                  </a:cubicBezTo>
                  <a:cubicBezTo>
                    <a:pt x="3618" y="393"/>
                    <a:pt x="3618" y="393"/>
                    <a:pt x="3618" y="393"/>
                  </a:cubicBezTo>
                  <a:cubicBezTo>
                    <a:pt x="3619" y="393"/>
                    <a:pt x="3619" y="393"/>
                    <a:pt x="3620" y="393"/>
                  </a:cubicBezTo>
                  <a:cubicBezTo>
                    <a:pt x="3621" y="393"/>
                    <a:pt x="3623" y="393"/>
                    <a:pt x="3625" y="392"/>
                  </a:cubicBezTo>
                  <a:cubicBezTo>
                    <a:pt x="3626" y="392"/>
                    <a:pt x="3628" y="391"/>
                    <a:pt x="3629" y="390"/>
                  </a:cubicBezTo>
                  <a:cubicBezTo>
                    <a:pt x="3631" y="389"/>
                    <a:pt x="3633" y="387"/>
                    <a:pt x="3634" y="384"/>
                  </a:cubicBezTo>
                  <a:cubicBezTo>
                    <a:pt x="3635" y="382"/>
                    <a:pt x="3636" y="380"/>
                    <a:pt x="3636" y="378"/>
                  </a:cubicBezTo>
                  <a:cubicBezTo>
                    <a:pt x="3636" y="374"/>
                    <a:pt x="3635" y="371"/>
                    <a:pt x="3634" y="369"/>
                  </a:cubicBezTo>
                  <a:cubicBezTo>
                    <a:pt x="3634" y="369"/>
                    <a:pt x="3634" y="369"/>
                    <a:pt x="3634" y="369"/>
                  </a:cubicBezTo>
                  <a:cubicBezTo>
                    <a:pt x="3632" y="367"/>
                    <a:pt x="3632" y="364"/>
                    <a:pt x="3632" y="362"/>
                  </a:cubicBezTo>
                  <a:cubicBezTo>
                    <a:pt x="3632" y="361"/>
                    <a:pt x="3632" y="359"/>
                    <a:pt x="3632" y="358"/>
                  </a:cubicBezTo>
                  <a:cubicBezTo>
                    <a:pt x="3632" y="358"/>
                    <a:pt x="3632" y="358"/>
                    <a:pt x="3632" y="358"/>
                  </a:cubicBezTo>
                  <a:cubicBezTo>
                    <a:pt x="3630" y="357"/>
                    <a:pt x="3630" y="357"/>
                    <a:pt x="3630" y="357"/>
                  </a:cubicBezTo>
                  <a:cubicBezTo>
                    <a:pt x="3632" y="358"/>
                    <a:pt x="3632" y="358"/>
                    <a:pt x="3632" y="358"/>
                  </a:cubicBezTo>
                  <a:cubicBezTo>
                    <a:pt x="3632" y="358"/>
                    <a:pt x="3632" y="358"/>
                    <a:pt x="3632" y="358"/>
                  </a:cubicBezTo>
                  <a:cubicBezTo>
                    <a:pt x="3630" y="357"/>
                    <a:pt x="3630" y="357"/>
                    <a:pt x="3630" y="357"/>
                  </a:cubicBezTo>
                  <a:cubicBezTo>
                    <a:pt x="3632" y="358"/>
                    <a:pt x="3632" y="358"/>
                    <a:pt x="3632" y="358"/>
                  </a:cubicBezTo>
                  <a:cubicBezTo>
                    <a:pt x="3632" y="358"/>
                    <a:pt x="3632" y="358"/>
                    <a:pt x="3632" y="358"/>
                  </a:cubicBezTo>
                  <a:cubicBezTo>
                    <a:pt x="3633" y="357"/>
                    <a:pt x="3633" y="357"/>
                    <a:pt x="3633" y="357"/>
                  </a:cubicBezTo>
                  <a:cubicBezTo>
                    <a:pt x="3632" y="357"/>
                    <a:pt x="3632" y="357"/>
                    <a:pt x="3632" y="357"/>
                  </a:cubicBezTo>
                  <a:cubicBezTo>
                    <a:pt x="3633" y="357"/>
                    <a:pt x="3633" y="357"/>
                    <a:pt x="3633" y="357"/>
                  </a:cubicBezTo>
                  <a:cubicBezTo>
                    <a:pt x="3633" y="357"/>
                    <a:pt x="3633" y="357"/>
                    <a:pt x="3633" y="357"/>
                  </a:cubicBezTo>
                  <a:cubicBezTo>
                    <a:pt x="3632" y="357"/>
                    <a:pt x="3632" y="357"/>
                    <a:pt x="3632" y="357"/>
                  </a:cubicBezTo>
                  <a:cubicBezTo>
                    <a:pt x="3633" y="357"/>
                    <a:pt x="3633" y="357"/>
                    <a:pt x="3633" y="357"/>
                  </a:cubicBezTo>
                  <a:cubicBezTo>
                    <a:pt x="3628" y="353"/>
                    <a:pt x="3628" y="353"/>
                    <a:pt x="3628" y="353"/>
                  </a:cubicBezTo>
                  <a:cubicBezTo>
                    <a:pt x="3632" y="358"/>
                    <a:pt x="3632" y="358"/>
                    <a:pt x="3632" y="358"/>
                  </a:cubicBezTo>
                  <a:cubicBezTo>
                    <a:pt x="3633" y="357"/>
                    <a:pt x="3633" y="357"/>
                    <a:pt x="3633" y="357"/>
                  </a:cubicBezTo>
                  <a:cubicBezTo>
                    <a:pt x="3628" y="353"/>
                    <a:pt x="3628" y="353"/>
                    <a:pt x="3628" y="353"/>
                  </a:cubicBezTo>
                  <a:cubicBezTo>
                    <a:pt x="3632" y="358"/>
                    <a:pt x="3632" y="358"/>
                    <a:pt x="3632" y="358"/>
                  </a:cubicBezTo>
                  <a:cubicBezTo>
                    <a:pt x="3625" y="351"/>
                    <a:pt x="3625" y="351"/>
                    <a:pt x="3625" y="351"/>
                  </a:cubicBezTo>
                  <a:cubicBezTo>
                    <a:pt x="3630" y="359"/>
                    <a:pt x="3630" y="359"/>
                    <a:pt x="3630" y="359"/>
                  </a:cubicBezTo>
                  <a:cubicBezTo>
                    <a:pt x="3631" y="359"/>
                    <a:pt x="3631" y="358"/>
                    <a:pt x="3632" y="358"/>
                  </a:cubicBezTo>
                  <a:cubicBezTo>
                    <a:pt x="3625" y="351"/>
                    <a:pt x="3625" y="351"/>
                    <a:pt x="3625" y="351"/>
                  </a:cubicBezTo>
                  <a:cubicBezTo>
                    <a:pt x="3630" y="359"/>
                    <a:pt x="3630" y="359"/>
                    <a:pt x="3630" y="359"/>
                  </a:cubicBezTo>
                  <a:cubicBezTo>
                    <a:pt x="3624" y="350"/>
                    <a:pt x="3624" y="350"/>
                    <a:pt x="3624" y="350"/>
                  </a:cubicBezTo>
                  <a:cubicBezTo>
                    <a:pt x="3624" y="361"/>
                    <a:pt x="3624" y="361"/>
                    <a:pt x="3624" y="361"/>
                  </a:cubicBezTo>
                  <a:cubicBezTo>
                    <a:pt x="3627" y="361"/>
                    <a:pt x="3629" y="360"/>
                    <a:pt x="3630" y="359"/>
                  </a:cubicBezTo>
                  <a:cubicBezTo>
                    <a:pt x="3624" y="350"/>
                    <a:pt x="3624" y="350"/>
                    <a:pt x="3624" y="350"/>
                  </a:cubicBezTo>
                  <a:cubicBezTo>
                    <a:pt x="3624" y="361"/>
                    <a:pt x="3624" y="361"/>
                    <a:pt x="3624" y="361"/>
                  </a:cubicBezTo>
                  <a:cubicBezTo>
                    <a:pt x="3624" y="349"/>
                    <a:pt x="3624" y="349"/>
                    <a:pt x="3624" y="349"/>
                  </a:cubicBezTo>
                  <a:cubicBezTo>
                    <a:pt x="3623" y="361"/>
                    <a:pt x="3623" y="361"/>
                    <a:pt x="3623" y="361"/>
                  </a:cubicBezTo>
                  <a:cubicBezTo>
                    <a:pt x="3623" y="361"/>
                    <a:pt x="3624" y="361"/>
                    <a:pt x="3624" y="361"/>
                  </a:cubicBezTo>
                  <a:cubicBezTo>
                    <a:pt x="3624" y="349"/>
                    <a:pt x="3624" y="349"/>
                    <a:pt x="3624" y="349"/>
                  </a:cubicBezTo>
                  <a:cubicBezTo>
                    <a:pt x="3623" y="361"/>
                    <a:pt x="3623" y="361"/>
                    <a:pt x="3623" y="361"/>
                  </a:cubicBezTo>
                  <a:cubicBezTo>
                    <a:pt x="3623" y="361"/>
                    <a:pt x="3623" y="361"/>
                    <a:pt x="3623" y="361"/>
                  </a:cubicBezTo>
                  <a:cubicBezTo>
                    <a:pt x="3624" y="361"/>
                    <a:pt x="3625" y="361"/>
                    <a:pt x="3626" y="361"/>
                  </a:cubicBezTo>
                  <a:cubicBezTo>
                    <a:pt x="3629" y="361"/>
                    <a:pt x="3633" y="360"/>
                    <a:pt x="3636" y="358"/>
                  </a:cubicBezTo>
                  <a:cubicBezTo>
                    <a:pt x="3638" y="357"/>
                    <a:pt x="3639" y="355"/>
                    <a:pt x="3641" y="354"/>
                  </a:cubicBezTo>
                  <a:cubicBezTo>
                    <a:pt x="3642" y="352"/>
                    <a:pt x="3643" y="350"/>
                    <a:pt x="3644" y="348"/>
                  </a:cubicBezTo>
                  <a:cubicBezTo>
                    <a:pt x="3644" y="348"/>
                    <a:pt x="3645" y="347"/>
                    <a:pt x="3645" y="347"/>
                  </a:cubicBezTo>
                  <a:cubicBezTo>
                    <a:pt x="3645" y="347"/>
                    <a:pt x="3645" y="347"/>
                    <a:pt x="3645" y="347"/>
                  </a:cubicBezTo>
                  <a:cubicBezTo>
                    <a:pt x="3645" y="347"/>
                    <a:pt x="3645" y="347"/>
                    <a:pt x="3645" y="347"/>
                  </a:cubicBezTo>
                  <a:cubicBezTo>
                    <a:pt x="3644" y="346"/>
                    <a:pt x="3644" y="346"/>
                    <a:pt x="3644" y="346"/>
                  </a:cubicBezTo>
                  <a:cubicBezTo>
                    <a:pt x="3645" y="347"/>
                    <a:pt x="3645" y="347"/>
                    <a:pt x="3645" y="347"/>
                  </a:cubicBezTo>
                  <a:cubicBezTo>
                    <a:pt x="3645" y="347"/>
                    <a:pt x="3645" y="347"/>
                    <a:pt x="3645" y="347"/>
                  </a:cubicBezTo>
                  <a:cubicBezTo>
                    <a:pt x="3644" y="346"/>
                    <a:pt x="3644" y="346"/>
                    <a:pt x="3644" y="346"/>
                  </a:cubicBezTo>
                  <a:cubicBezTo>
                    <a:pt x="3645" y="347"/>
                    <a:pt x="3645" y="347"/>
                    <a:pt x="3645" y="347"/>
                  </a:cubicBezTo>
                  <a:cubicBezTo>
                    <a:pt x="3645" y="347"/>
                    <a:pt x="3645" y="347"/>
                    <a:pt x="3645" y="347"/>
                  </a:cubicBezTo>
                  <a:cubicBezTo>
                    <a:pt x="3645" y="346"/>
                    <a:pt x="3646" y="346"/>
                    <a:pt x="3646" y="345"/>
                  </a:cubicBezTo>
                  <a:cubicBezTo>
                    <a:pt x="3646" y="345"/>
                    <a:pt x="3646" y="345"/>
                    <a:pt x="3646" y="345"/>
                  </a:cubicBezTo>
                  <a:cubicBezTo>
                    <a:pt x="3646" y="345"/>
                    <a:pt x="3646" y="345"/>
                    <a:pt x="3646" y="345"/>
                  </a:cubicBezTo>
                  <a:cubicBezTo>
                    <a:pt x="3646" y="344"/>
                    <a:pt x="3646" y="344"/>
                    <a:pt x="3646" y="344"/>
                  </a:cubicBezTo>
                  <a:cubicBezTo>
                    <a:pt x="3646" y="345"/>
                    <a:pt x="3646" y="345"/>
                    <a:pt x="3646" y="345"/>
                  </a:cubicBezTo>
                  <a:cubicBezTo>
                    <a:pt x="3646" y="345"/>
                    <a:pt x="3646" y="345"/>
                    <a:pt x="3646" y="345"/>
                  </a:cubicBezTo>
                  <a:cubicBezTo>
                    <a:pt x="3646" y="344"/>
                    <a:pt x="3646" y="344"/>
                    <a:pt x="3646" y="344"/>
                  </a:cubicBezTo>
                  <a:cubicBezTo>
                    <a:pt x="3646" y="345"/>
                    <a:pt x="3646" y="345"/>
                    <a:pt x="3646" y="345"/>
                  </a:cubicBezTo>
                  <a:cubicBezTo>
                    <a:pt x="3646" y="345"/>
                    <a:pt x="3646" y="345"/>
                    <a:pt x="3647" y="345"/>
                  </a:cubicBezTo>
                  <a:cubicBezTo>
                    <a:pt x="3647" y="345"/>
                    <a:pt x="3647" y="345"/>
                    <a:pt x="3647" y="345"/>
                  </a:cubicBezTo>
                  <a:cubicBezTo>
                    <a:pt x="3649" y="345"/>
                    <a:pt x="3652" y="345"/>
                    <a:pt x="3654" y="344"/>
                  </a:cubicBezTo>
                  <a:cubicBezTo>
                    <a:pt x="3657" y="344"/>
                    <a:pt x="3659" y="343"/>
                    <a:pt x="3661" y="341"/>
                  </a:cubicBezTo>
                  <a:cubicBezTo>
                    <a:pt x="3663" y="340"/>
                    <a:pt x="3664" y="339"/>
                    <a:pt x="3665" y="337"/>
                  </a:cubicBezTo>
                  <a:cubicBezTo>
                    <a:pt x="3667" y="335"/>
                    <a:pt x="3668" y="333"/>
                    <a:pt x="3668" y="331"/>
                  </a:cubicBezTo>
                  <a:cubicBezTo>
                    <a:pt x="3669" y="330"/>
                    <a:pt x="3669" y="328"/>
                    <a:pt x="3670" y="326"/>
                  </a:cubicBezTo>
                  <a:cubicBezTo>
                    <a:pt x="3670" y="325"/>
                    <a:pt x="3671" y="324"/>
                    <a:pt x="3672" y="322"/>
                  </a:cubicBezTo>
                  <a:cubicBezTo>
                    <a:pt x="3673" y="321"/>
                    <a:pt x="3674" y="319"/>
                    <a:pt x="3676" y="316"/>
                  </a:cubicBezTo>
                  <a:cubicBezTo>
                    <a:pt x="3676" y="316"/>
                    <a:pt x="3676" y="316"/>
                    <a:pt x="3676" y="316"/>
                  </a:cubicBezTo>
                  <a:cubicBezTo>
                    <a:pt x="3677" y="314"/>
                    <a:pt x="3678" y="313"/>
                    <a:pt x="3679" y="311"/>
                  </a:cubicBezTo>
                  <a:cubicBezTo>
                    <a:pt x="3680" y="310"/>
                    <a:pt x="3681" y="308"/>
                    <a:pt x="3681" y="307"/>
                  </a:cubicBezTo>
                  <a:cubicBezTo>
                    <a:pt x="3682" y="305"/>
                    <a:pt x="3682" y="303"/>
                    <a:pt x="3682" y="301"/>
                  </a:cubicBezTo>
                  <a:cubicBezTo>
                    <a:pt x="3682" y="299"/>
                    <a:pt x="3682" y="298"/>
                    <a:pt x="3681" y="296"/>
                  </a:cubicBezTo>
                  <a:cubicBezTo>
                    <a:pt x="3680" y="294"/>
                    <a:pt x="3679" y="292"/>
                    <a:pt x="3678" y="291"/>
                  </a:cubicBezTo>
                  <a:cubicBezTo>
                    <a:pt x="3677" y="289"/>
                    <a:pt x="3676" y="288"/>
                    <a:pt x="3675" y="287"/>
                  </a:cubicBezTo>
                  <a:cubicBezTo>
                    <a:pt x="3675" y="287"/>
                    <a:pt x="3675" y="287"/>
                    <a:pt x="3675" y="287"/>
                  </a:cubicBezTo>
                  <a:cubicBezTo>
                    <a:pt x="3674" y="286"/>
                    <a:pt x="3674" y="285"/>
                    <a:pt x="3674" y="285"/>
                  </a:cubicBezTo>
                  <a:cubicBezTo>
                    <a:pt x="3674" y="285"/>
                    <a:pt x="3674" y="285"/>
                    <a:pt x="3674" y="285"/>
                  </a:cubicBezTo>
                  <a:cubicBezTo>
                    <a:pt x="3674" y="285"/>
                    <a:pt x="3674" y="285"/>
                    <a:pt x="3674" y="285"/>
                  </a:cubicBezTo>
                  <a:cubicBezTo>
                    <a:pt x="3674" y="285"/>
                    <a:pt x="3674" y="285"/>
                    <a:pt x="3674" y="285"/>
                  </a:cubicBezTo>
                  <a:cubicBezTo>
                    <a:pt x="3674" y="285"/>
                    <a:pt x="3674" y="285"/>
                    <a:pt x="3674" y="285"/>
                  </a:cubicBezTo>
                  <a:cubicBezTo>
                    <a:pt x="3674" y="285"/>
                    <a:pt x="3674" y="285"/>
                    <a:pt x="3674" y="285"/>
                  </a:cubicBezTo>
                  <a:cubicBezTo>
                    <a:pt x="3674" y="285"/>
                    <a:pt x="3674" y="285"/>
                    <a:pt x="3674" y="285"/>
                  </a:cubicBezTo>
                  <a:cubicBezTo>
                    <a:pt x="3674" y="285"/>
                    <a:pt x="3674" y="285"/>
                    <a:pt x="3674" y="285"/>
                  </a:cubicBezTo>
                  <a:cubicBezTo>
                    <a:pt x="3674" y="284"/>
                    <a:pt x="3674" y="284"/>
                    <a:pt x="3675" y="283"/>
                  </a:cubicBezTo>
                  <a:cubicBezTo>
                    <a:pt x="3675" y="283"/>
                    <a:pt x="3675" y="283"/>
                    <a:pt x="3675" y="283"/>
                  </a:cubicBezTo>
                  <a:cubicBezTo>
                    <a:pt x="3676" y="280"/>
                    <a:pt x="3677" y="276"/>
                    <a:pt x="3677" y="272"/>
                  </a:cubicBezTo>
                  <a:cubicBezTo>
                    <a:pt x="3677" y="269"/>
                    <a:pt x="3677" y="267"/>
                    <a:pt x="3676" y="264"/>
                  </a:cubicBezTo>
                  <a:cubicBezTo>
                    <a:pt x="3675" y="261"/>
                    <a:pt x="3673" y="258"/>
                    <a:pt x="3671" y="256"/>
                  </a:cubicBezTo>
                  <a:cubicBezTo>
                    <a:pt x="3671" y="256"/>
                    <a:pt x="3671" y="256"/>
                    <a:pt x="3671" y="256"/>
                  </a:cubicBezTo>
                  <a:cubicBezTo>
                    <a:pt x="3668" y="258"/>
                    <a:pt x="3668" y="258"/>
                    <a:pt x="3668" y="258"/>
                  </a:cubicBezTo>
                  <a:cubicBezTo>
                    <a:pt x="3672" y="257"/>
                    <a:pt x="3672" y="257"/>
                    <a:pt x="3672" y="257"/>
                  </a:cubicBezTo>
                  <a:cubicBezTo>
                    <a:pt x="3672" y="257"/>
                    <a:pt x="3672" y="256"/>
                    <a:pt x="3671" y="256"/>
                  </a:cubicBezTo>
                  <a:cubicBezTo>
                    <a:pt x="3668" y="258"/>
                    <a:pt x="3668" y="258"/>
                    <a:pt x="3668" y="258"/>
                  </a:cubicBezTo>
                  <a:cubicBezTo>
                    <a:pt x="3672" y="257"/>
                    <a:pt x="3672" y="257"/>
                    <a:pt x="3672" y="257"/>
                  </a:cubicBezTo>
                  <a:cubicBezTo>
                    <a:pt x="3672" y="257"/>
                    <a:pt x="3672" y="257"/>
                    <a:pt x="3672" y="257"/>
                  </a:cubicBezTo>
                  <a:cubicBezTo>
                    <a:pt x="3672" y="256"/>
                    <a:pt x="3672" y="256"/>
                    <a:pt x="3672" y="256"/>
                  </a:cubicBezTo>
                  <a:cubicBezTo>
                    <a:pt x="3672" y="256"/>
                    <a:pt x="3672" y="256"/>
                    <a:pt x="3672" y="256"/>
                  </a:cubicBezTo>
                  <a:cubicBezTo>
                    <a:pt x="3670" y="246"/>
                    <a:pt x="3668" y="236"/>
                    <a:pt x="3666" y="225"/>
                  </a:cubicBezTo>
                  <a:cubicBezTo>
                    <a:pt x="3666" y="225"/>
                    <a:pt x="3666" y="225"/>
                    <a:pt x="3666" y="225"/>
                  </a:cubicBezTo>
                  <a:cubicBezTo>
                    <a:pt x="3666" y="225"/>
                    <a:pt x="3666" y="225"/>
                    <a:pt x="3666" y="225"/>
                  </a:cubicBezTo>
                  <a:cubicBezTo>
                    <a:pt x="3664" y="226"/>
                    <a:pt x="3664" y="226"/>
                    <a:pt x="3664" y="226"/>
                  </a:cubicBezTo>
                  <a:cubicBezTo>
                    <a:pt x="3666" y="226"/>
                    <a:pt x="3666" y="226"/>
                    <a:pt x="3666" y="226"/>
                  </a:cubicBezTo>
                  <a:cubicBezTo>
                    <a:pt x="3666" y="225"/>
                    <a:pt x="3666" y="225"/>
                    <a:pt x="3666" y="225"/>
                  </a:cubicBezTo>
                  <a:cubicBezTo>
                    <a:pt x="3664" y="226"/>
                    <a:pt x="3664" y="226"/>
                    <a:pt x="3664" y="226"/>
                  </a:cubicBezTo>
                  <a:cubicBezTo>
                    <a:pt x="3666" y="226"/>
                    <a:pt x="3666" y="226"/>
                    <a:pt x="3666" y="226"/>
                  </a:cubicBezTo>
                  <a:cubicBezTo>
                    <a:pt x="3662" y="226"/>
                    <a:pt x="3662" y="226"/>
                    <a:pt x="3662" y="226"/>
                  </a:cubicBezTo>
                  <a:cubicBezTo>
                    <a:pt x="3666" y="227"/>
                    <a:pt x="3666" y="227"/>
                    <a:pt x="3666" y="227"/>
                  </a:cubicBezTo>
                  <a:cubicBezTo>
                    <a:pt x="3666" y="226"/>
                    <a:pt x="3666" y="226"/>
                    <a:pt x="3666" y="226"/>
                  </a:cubicBezTo>
                  <a:cubicBezTo>
                    <a:pt x="3662" y="226"/>
                    <a:pt x="3662" y="226"/>
                    <a:pt x="3662" y="226"/>
                  </a:cubicBezTo>
                  <a:cubicBezTo>
                    <a:pt x="3666" y="227"/>
                    <a:pt x="3666" y="227"/>
                    <a:pt x="3666" y="227"/>
                  </a:cubicBezTo>
                  <a:cubicBezTo>
                    <a:pt x="3662" y="226"/>
                    <a:pt x="3662" y="226"/>
                    <a:pt x="3662" y="226"/>
                  </a:cubicBezTo>
                  <a:cubicBezTo>
                    <a:pt x="3664" y="229"/>
                    <a:pt x="3664" y="229"/>
                    <a:pt x="3664" y="229"/>
                  </a:cubicBezTo>
                  <a:cubicBezTo>
                    <a:pt x="3665" y="229"/>
                    <a:pt x="3665" y="228"/>
                    <a:pt x="3666" y="227"/>
                  </a:cubicBezTo>
                  <a:cubicBezTo>
                    <a:pt x="3662" y="226"/>
                    <a:pt x="3662" y="226"/>
                    <a:pt x="3662" y="226"/>
                  </a:cubicBezTo>
                  <a:cubicBezTo>
                    <a:pt x="3664" y="229"/>
                    <a:pt x="3664" y="229"/>
                    <a:pt x="3664" y="229"/>
                  </a:cubicBezTo>
                  <a:cubicBezTo>
                    <a:pt x="3664" y="228"/>
                    <a:pt x="3664" y="228"/>
                    <a:pt x="3664" y="228"/>
                  </a:cubicBezTo>
                  <a:cubicBezTo>
                    <a:pt x="3664" y="229"/>
                    <a:pt x="3664" y="229"/>
                    <a:pt x="3664" y="229"/>
                  </a:cubicBezTo>
                  <a:cubicBezTo>
                    <a:pt x="3664" y="229"/>
                    <a:pt x="3664" y="229"/>
                    <a:pt x="3664" y="229"/>
                  </a:cubicBezTo>
                  <a:cubicBezTo>
                    <a:pt x="3664" y="228"/>
                    <a:pt x="3664" y="228"/>
                    <a:pt x="3664" y="228"/>
                  </a:cubicBezTo>
                  <a:cubicBezTo>
                    <a:pt x="3664" y="229"/>
                    <a:pt x="3664" y="229"/>
                    <a:pt x="3664" y="229"/>
                  </a:cubicBezTo>
                  <a:cubicBezTo>
                    <a:pt x="3664" y="229"/>
                    <a:pt x="3664" y="229"/>
                    <a:pt x="3664" y="229"/>
                  </a:cubicBezTo>
                  <a:cubicBezTo>
                    <a:pt x="3664" y="229"/>
                    <a:pt x="3665" y="229"/>
                    <a:pt x="3665" y="229"/>
                  </a:cubicBezTo>
                  <a:cubicBezTo>
                    <a:pt x="3665" y="229"/>
                    <a:pt x="3665" y="229"/>
                    <a:pt x="3665" y="229"/>
                  </a:cubicBezTo>
                  <a:cubicBezTo>
                    <a:pt x="3672" y="226"/>
                    <a:pt x="3677" y="222"/>
                    <a:pt x="3682" y="220"/>
                  </a:cubicBezTo>
                  <a:cubicBezTo>
                    <a:pt x="3682" y="220"/>
                    <a:pt x="3682" y="220"/>
                    <a:pt x="3682" y="220"/>
                  </a:cubicBezTo>
                  <a:cubicBezTo>
                    <a:pt x="3684" y="219"/>
                    <a:pt x="3685" y="218"/>
                    <a:pt x="3685" y="218"/>
                  </a:cubicBezTo>
                  <a:cubicBezTo>
                    <a:pt x="3685" y="218"/>
                    <a:pt x="3685" y="218"/>
                    <a:pt x="3685" y="218"/>
                  </a:cubicBezTo>
                  <a:cubicBezTo>
                    <a:pt x="3685" y="218"/>
                    <a:pt x="3685" y="218"/>
                    <a:pt x="3685" y="218"/>
                  </a:cubicBezTo>
                  <a:cubicBezTo>
                    <a:pt x="3683" y="214"/>
                    <a:pt x="3683" y="214"/>
                    <a:pt x="3683" y="214"/>
                  </a:cubicBezTo>
                  <a:cubicBezTo>
                    <a:pt x="3685" y="219"/>
                    <a:pt x="3685" y="219"/>
                    <a:pt x="3685" y="219"/>
                  </a:cubicBezTo>
                  <a:cubicBezTo>
                    <a:pt x="3685" y="218"/>
                    <a:pt x="3685" y="218"/>
                    <a:pt x="3685" y="218"/>
                  </a:cubicBezTo>
                  <a:cubicBezTo>
                    <a:pt x="3683" y="214"/>
                    <a:pt x="3683" y="214"/>
                    <a:pt x="3683" y="214"/>
                  </a:cubicBezTo>
                  <a:cubicBezTo>
                    <a:pt x="3685" y="219"/>
                    <a:pt x="3685" y="219"/>
                    <a:pt x="3685" y="219"/>
                  </a:cubicBezTo>
                  <a:cubicBezTo>
                    <a:pt x="3682" y="210"/>
                    <a:pt x="3682" y="210"/>
                    <a:pt x="3682" y="210"/>
                  </a:cubicBezTo>
                  <a:cubicBezTo>
                    <a:pt x="3682" y="219"/>
                    <a:pt x="3682" y="219"/>
                    <a:pt x="3682" y="219"/>
                  </a:cubicBezTo>
                  <a:cubicBezTo>
                    <a:pt x="3683" y="219"/>
                    <a:pt x="3684" y="219"/>
                    <a:pt x="3685" y="219"/>
                  </a:cubicBezTo>
                  <a:cubicBezTo>
                    <a:pt x="3682" y="210"/>
                    <a:pt x="3682" y="210"/>
                    <a:pt x="3682" y="210"/>
                  </a:cubicBezTo>
                  <a:cubicBezTo>
                    <a:pt x="3682" y="219"/>
                    <a:pt x="3682" y="219"/>
                    <a:pt x="3682" y="219"/>
                  </a:cubicBezTo>
                  <a:cubicBezTo>
                    <a:pt x="3682" y="209"/>
                    <a:pt x="3682" y="209"/>
                    <a:pt x="3682" y="209"/>
                  </a:cubicBezTo>
                  <a:cubicBezTo>
                    <a:pt x="3680" y="219"/>
                    <a:pt x="3680" y="219"/>
                    <a:pt x="3680" y="219"/>
                  </a:cubicBezTo>
                  <a:cubicBezTo>
                    <a:pt x="3681" y="219"/>
                    <a:pt x="3681" y="219"/>
                    <a:pt x="3682" y="219"/>
                  </a:cubicBezTo>
                  <a:cubicBezTo>
                    <a:pt x="3682" y="209"/>
                    <a:pt x="3682" y="209"/>
                    <a:pt x="3682" y="209"/>
                  </a:cubicBezTo>
                  <a:cubicBezTo>
                    <a:pt x="3680" y="219"/>
                    <a:pt x="3680" y="219"/>
                    <a:pt x="3680" y="219"/>
                  </a:cubicBezTo>
                  <a:cubicBezTo>
                    <a:pt x="3680" y="219"/>
                    <a:pt x="3680" y="219"/>
                    <a:pt x="3680" y="219"/>
                  </a:cubicBezTo>
                  <a:cubicBezTo>
                    <a:pt x="3682" y="219"/>
                    <a:pt x="3683" y="219"/>
                    <a:pt x="3685" y="219"/>
                  </a:cubicBezTo>
                  <a:cubicBezTo>
                    <a:pt x="3688" y="219"/>
                    <a:pt x="3691" y="219"/>
                    <a:pt x="3694" y="217"/>
                  </a:cubicBezTo>
                  <a:cubicBezTo>
                    <a:pt x="3696" y="216"/>
                    <a:pt x="3697" y="215"/>
                    <a:pt x="3699" y="214"/>
                  </a:cubicBezTo>
                  <a:cubicBezTo>
                    <a:pt x="3700" y="212"/>
                    <a:pt x="3702" y="210"/>
                    <a:pt x="3703" y="208"/>
                  </a:cubicBezTo>
                  <a:cubicBezTo>
                    <a:pt x="3704" y="207"/>
                    <a:pt x="3704" y="205"/>
                    <a:pt x="3705" y="204"/>
                  </a:cubicBezTo>
                  <a:cubicBezTo>
                    <a:pt x="3705" y="204"/>
                    <a:pt x="3705" y="204"/>
                    <a:pt x="3705" y="204"/>
                  </a:cubicBezTo>
                  <a:cubicBezTo>
                    <a:pt x="3705" y="202"/>
                    <a:pt x="3706" y="201"/>
                    <a:pt x="3707" y="201"/>
                  </a:cubicBezTo>
                  <a:cubicBezTo>
                    <a:pt x="3707" y="201"/>
                    <a:pt x="3707" y="200"/>
                    <a:pt x="3709" y="200"/>
                  </a:cubicBezTo>
                  <a:cubicBezTo>
                    <a:pt x="3707" y="188"/>
                    <a:pt x="3707" y="188"/>
                    <a:pt x="3707" y="188"/>
                  </a:cubicBezTo>
                  <a:cubicBezTo>
                    <a:pt x="3709" y="200"/>
                    <a:pt x="3709" y="200"/>
                    <a:pt x="3709" y="200"/>
                  </a:cubicBezTo>
                  <a:cubicBezTo>
                    <a:pt x="3712" y="200"/>
                    <a:pt x="3714" y="199"/>
                    <a:pt x="3718" y="197"/>
                  </a:cubicBezTo>
                  <a:cubicBezTo>
                    <a:pt x="3718" y="197"/>
                    <a:pt x="3718" y="197"/>
                    <a:pt x="3718" y="197"/>
                  </a:cubicBezTo>
                  <a:cubicBezTo>
                    <a:pt x="3718" y="197"/>
                    <a:pt x="3718" y="197"/>
                    <a:pt x="3718" y="197"/>
                  </a:cubicBezTo>
                  <a:cubicBezTo>
                    <a:pt x="3721" y="195"/>
                    <a:pt x="3723" y="193"/>
                    <a:pt x="3725" y="192"/>
                  </a:cubicBezTo>
                  <a:cubicBezTo>
                    <a:pt x="3728" y="190"/>
                    <a:pt x="3729" y="190"/>
                    <a:pt x="3732" y="189"/>
                  </a:cubicBezTo>
                  <a:cubicBezTo>
                    <a:pt x="3734" y="188"/>
                    <a:pt x="3738" y="188"/>
                    <a:pt x="3744" y="187"/>
                  </a:cubicBezTo>
                  <a:cubicBezTo>
                    <a:pt x="3744" y="187"/>
                    <a:pt x="3744" y="187"/>
                    <a:pt x="3744" y="187"/>
                  </a:cubicBezTo>
                  <a:cubicBezTo>
                    <a:pt x="3747" y="186"/>
                    <a:pt x="3749" y="185"/>
                    <a:pt x="3750" y="184"/>
                  </a:cubicBezTo>
                  <a:cubicBezTo>
                    <a:pt x="3752" y="183"/>
                    <a:pt x="3754" y="182"/>
                    <a:pt x="3755" y="181"/>
                  </a:cubicBezTo>
                  <a:cubicBezTo>
                    <a:pt x="3756" y="180"/>
                    <a:pt x="3757" y="179"/>
                    <a:pt x="3757" y="179"/>
                  </a:cubicBezTo>
                  <a:cubicBezTo>
                    <a:pt x="3757" y="179"/>
                    <a:pt x="3757" y="179"/>
                    <a:pt x="3757" y="179"/>
                  </a:cubicBezTo>
                  <a:cubicBezTo>
                    <a:pt x="3758" y="178"/>
                    <a:pt x="3760" y="177"/>
                    <a:pt x="3761" y="175"/>
                  </a:cubicBezTo>
                  <a:cubicBezTo>
                    <a:pt x="3763" y="173"/>
                    <a:pt x="3764" y="170"/>
                    <a:pt x="3764" y="167"/>
                  </a:cubicBezTo>
                  <a:cubicBezTo>
                    <a:pt x="3764" y="164"/>
                    <a:pt x="3763" y="163"/>
                    <a:pt x="3763" y="161"/>
                  </a:cubicBezTo>
                  <a:cubicBezTo>
                    <a:pt x="3762" y="159"/>
                    <a:pt x="3761" y="158"/>
                    <a:pt x="3761" y="158"/>
                  </a:cubicBezTo>
                  <a:cubicBezTo>
                    <a:pt x="3761" y="158"/>
                    <a:pt x="3761" y="158"/>
                    <a:pt x="3761" y="158"/>
                  </a:cubicBezTo>
                  <a:cubicBezTo>
                    <a:pt x="3761" y="158"/>
                    <a:pt x="3761" y="158"/>
                    <a:pt x="3761" y="158"/>
                  </a:cubicBezTo>
                  <a:cubicBezTo>
                    <a:pt x="3756" y="160"/>
                    <a:pt x="3756" y="160"/>
                    <a:pt x="3756" y="160"/>
                  </a:cubicBezTo>
                  <a:cubicBezTo>
                    <a:pt x="3761" y="159"/>
                    <a:pt x="3761" y="159"/>
                    <a:pt x="3761" y="159"/>
                  </a:cubicBezTo>
                  <a:cubicBezTo>
                    <a:pt x="3761" y="158"/>
                    <a:pt x="3761" y="158"/>
                    <a:pt x="3761" y="158"/>
                  </a:cubicBezTo>
                  <a:cubicBezTo>
                    <a:pt x="3756" y="160"/>
                    <a:pt x="3756" y="160"/>
                    <a:pt x="3756" y="160"/>
                  </a:cubicBezTo>
                  <a:cubicBezTo>
                    <a:pt x="3761" y="159"/>
                    <a:pt x="3761" y="159"/>
                    <a:pt x="3761" y="159"/>
                  </a:cubicBezTo>
                  <a:cubicBezTo>
                    <a:pt x="3761" y="159"/>
                    <a:pt x="3761" y="159"/>
                    <a:pt x="3761" y="159"/>
                  </a:cubicBezTo>
                  <a:cubicBezTo>
                    <a:pt x="3761" y="159"/>
                    <a:pt x="3761" y="159"/>
                    <a:pt x="3761" y="159"/>
                  </a:cubicBezTo>
                  <a:cubicBezTo>
                    <a:pt x="3758" y="160"/>
                    <a:pt x="3758" y="160"/>
                    <a:pt x="3758" y="160"/>
                  </a:cubicBezTo>
                  <a:cubicBezTo>
                    <a:pt x="3761" y="159"/>
                    <a:pt x="3761" y="159"/>
                    <a:pt x="3761" y="159"/>
                  </a:cubicBezTo>
                  <a:cubicBezTo>
                    <a:pt x="3761" y="159"/>
                    <a:pt x="3761" y="159"/>
                    <a:pt x="3761" y="159"/>
                  </a:cubicBezTo>
                  <a:cubicBezTo>
                    <a:pt x="3758" y="160"/>
                    <a:pt x="3758" y="160"/>
                    <a:pt x="3758" y="160"/>
                  </a:cubicBezTo>
                  <a:cubicBezTo>
                    <a:pt x="3761" y="159"/>
                    <a:pt x="3761" y="159"/>
                    <a:pt x="3761" y="159"/>
                  </a:cubicBezTo>
                  <a:cubicBezTo>
                    <a:pt x="3760" y="159"/>
                    <a:pt x="3760" y="159"/>
                    <a:pt x="3760" y="159"/>
                  </a:cubicBezTo>
                  <a:cubicBezTo>
                    <a:pt x="3761" y="159"/>
                    <a:pt x="3761" y="159"/>
                    <a:pt x="3761" y="159"/>
                  </a:cubicBezTo>
                  <a:cubicBezTo>
                    <a:pt x="3761" y="159"/>
                    <a:pt x="3761" y="159"/>
                    <a:pt x="3761" y="159"/>
                  </a:cubicBezTo>
                  <a:cubicBezTo>
                    <a:pt x="3760" y="159"/>
                    <a:pt x="3760" y="159"/>
                    <a:pt x="3760" y="159"/>
                  </a:cubicBezTo>
                  <a:cubicBezTo>
                    <a:pt x="3761" y="159"/>
                    <a:pt x="3761" y="159"/>
                    <a:pt x="3761" y="159"/>
                  </a:cubicBezTo>
                  <a:cubicBezTo>
                    <a:pt x="3761" y="159"/>
                    <a:pt x="3762" y="157"/>
                    <a:pt x="3762" y="156"/>
                  </a:cubicBezTo>
                  <a:cubicBezTo>
                    <a:pt x="3763" y="155"/>
                    <a:pt x="3763" y="154"/>
                    <a:pt x="3764" y="154"/>
                  </a:cubicBezTo>
                  <a:cubicBezTo>
                    <a:pt x="3764" y="153"/>
                    <a:pt x="3765" y="153"/>
                    <a:pt x="3765" y="153"/>
                  </a:cubicBezTo>
                  <a:cubicBezTo>
                    <a:pt x="3765" y="153"/>
                    <a:pt x="3765" y="153"/>
                    <a:pt x="3765" y="153"/>
                  </a:cubicBezTo>
                  <a:cubicBezTo>
                    <a:pt x="3765" y="153"/>
                    <a:pt x="3765" y="153"/>
                    <a:pt x="3765" y="153"/>
                  </a:cubicBezTo>
                  <a:cubicBezTo>
                    <a:pt x="3766" y="152"/>
                    <a:pt x="3768" y="152"/>
                    <a:pt x="3770" y="150"/>
                  </a:cubicBezTo>
                  <a:cubicBezTo>
                    <a:pt x="3771" y="149"/>
                    <a:pt x="3774" y="147"/>
                    <a:pt x="3776" y="145"/>
                  </a:cubicBezTo>
                  <a:cubicBezTo>
                    <a:pt x="3776" y="145"/>
                    <a:pt x="3776" y="145"/>
                    <a:pt x="3776" y="145"/>
                  </a:cubicBezTo>
                  <a:cubicBezTo>
                    <a:pt x="3777" y="144"/>
                    <a:pt x="3778" y="143"/>
                    <a:pt x="3779" y="143"/>
                  </a:cubicBezTo>
                  <a:cubicBezTo>
                    <a:pt x="3779" y="143"/>
                    <a:pt x="3779" y="143"/>
                    <a:pt x="3779" y="143"/>
                  </a:cubicBezTo>
                  <a:cubicBezTo>
                    <a:pt x="3779" y="143"/>
                    <a:pt x="3779" y="143"/>
                    <a:pt x="3779" y="143"/>
                  </a:cubicBezTo>
                  <a:cubicBezTo>
                    <a:pt x="3779" y="143"/>
                    <a:pt x="3779" y="142"/>
                    <a:pt x="3781" y="143"/>
                  </a:cubicBezTo>
                  <a:cubicBezTo>
                    <a:pt x="3781" y="143"/>
                    <a:pt x="3781" y="143"/>
                    <a:pt x="3781" y="143"/>
                  </a:cubicBezTo>
                  <a:cubicBezTo>
                    <a:pt x="3781" y="143"/>
                    <a:pt x="3781" y="143"/>
                    <a:pt x="3781" y="143"/>
                  </a:cubicBezTo>
                  <a:cubicBezTo>
                    <a:pt x="3783" y="144"/>
                    <a:pt x="3785" y="145"/>
                    <a:pt x="3789" y="145"/>
                  </a:cubicBezTo>
                  <a:cubicBezTo>
                    <a:pt x="3791" y="145"/>
                    <a:pt x="3793" y="145"/>
                    <a:pt x="3795" y="144"/>
                  </a:cubicBezTo>
                  <a:cubicBezTo>
                    <a:pt x="3798" y="143"/>
                    <a:pt x="3800" y="140"/>
                    <a:pt x="3801" y="138"/>
                  </a:cubicBezTo>
                  <a:cubicBezTo>
                    <a:pt x="3803" y="135"/>
                    <a:pt x="3803" y="133"/>
                    <a:pt x="3803" y="131"/>
                  </a:cubicBezTo>
                  <a:cubicBezTo>
                    <a:pt x="3803" y="129"/>
                    <a:pt x="3803" y="129"/>
                    <a:pt x="3803" y="128"/>
                  </a:cubicBezTo>
                  <a:cubicBezTo>
                    <a:pt x="3803" y="128"/>
                    <a:pt x="3803" y="128"/>
                    <a:pt x="3803" y="128"/>
                  </a:cubicBezTo>
                  <a:cubicBezTo>
                    <a:pt x="3803" y="127"/>
                    <a:pt x="3803" y="126"/>
                    <a:pt x="3803" y="124"/>
                  </a:cubicBezTo>
                  <a:cubicBezTo>
                    <a:pt x="3803" y="122"/>
                    <a:pt x="3803" y="118"/>
                    <a:pt x="3803" y="114"/>
                  </a:cubicBezTo>
                  <a:cubicBezTo>
                    <a:pt x="3803" y="111"/>
                    <a:pt x="3803" y="107"/>
                    <a:pt x="3801" y="103"/>
                  </a:cubicBezTo>
                  <a:cubicBezTo>
                    <a:pt x="3800" y="98"/>
                    <a:pt x="3797" y="94"/>
                    <a:pt x="3794" y="91"/>
                  </a:cubicBezTo>
                  <a:cubicBezTo>
                    <a:pt x="3794" y="91"/>
                    <a:pt x="3794" y="91"/>
                    <a:pt x="3794" y="91"/>
                  </a:cubicBezTo>
                  <a:cubicBezTo>
                    <a:pt x="3789" y="96"/>
                    <a:pt x="3789" y="96"/>
                    <a:pt x="3789" y="96"/>
                  </a:cubicBezTo>
                  <a:cubicBezTo>
                    <a:pt x="3795" y="92"/>
                    <a:pt x="3795" y="92"/>
                    <a:pt x="3795" y="92"/>
                  </a:cubicBezTo>
                  <a:cubicBezTo>
                    <a:pt x="3795" y="92"/>
                    <a:pt x="3795" y="91"/>
                    <a:pt x="3794" y="91"/>
                  </a:cubicBezTo>
                  <a:cubicBezTo>
                    <a:pt x="3789" y="96"/>
                    <a:pt x="3789" y="96"/>
                    <a:pt x="3789" y="96"/>
                  </a:cubicBezTo>
                  <a:cubicBezTo>
                    <a:pt x="3795" y="92"/>
                    <a:pt x="3795" y="92"/>
                    <a:pt x="3795" y="92"/>
                  </a:cubicBezTo>
                  <a:cubicBezTo>
                    <a:pt x="3789" y="95"/>
                    <a:pt x="3789" y="95"/>
                    <a:pt x="3789" y="95"/>
                  </a:cubicBezTo>
                  <a:cubicBezTo>
                    <a:pt x="3796" y="94"/>
                    <a:pt x="3796" y="94"/>
                    <a:pt x="3796" y="94"/>
                  </a:cubicBezTo>
                  <a:cubicBezTo>
                    <a:pt x="3796" y="93"/>
                    <a:pt x="3795" y="93"/>
                    <a:pt x="3795" y="92"/>
                  </a:cubicBezTo>
                  <a:cubicBezTo>
                    <a:pt x="3789" y="95"/>
                    <a:pt x="3789" y="95"/>
                    <a:pt x="3789" y="95"/>
                  </a:cubicBezTo>
                  <a:cubicBezTo>
                    <a:pt x="3796" y="94"/>
                    <a:pt x="3796" y="94"/>
                    <a:pt x="3796" y="94"/>
                  </a:cubicBezTo>
                  <a:cubicBezTo>
                    <a:pt x="3796" y="94"/>
                    <a:pt x="3796" y="94"/>
                    <a:pt x="3796" y="94"/>
                  </a:cubicBezTo>
                  <a:cubicBezTo>
                    <a:pt x="3795" y="92"/>
                    <a:pt x="3795" y="90"/>
                    <a:pt x="3795" y="88"/>
                  </a:cubicBezTo>
                  <a:cubicBezTo>
                    <a:pt x="3794" y="86"/>
                    <a:pt x="3794" y="85"/>
                    <a:pt x="3794" y="84"/>
                  </a:cubicBezTo>
                  <a:cubicBezTo>
                    <a:pt x="3794" y="84"/>
                    <a:pt x="3794" y="84"/>
                    <a:pt x="3794" y="84"/>
                  </a:cubicBezTo>
                  <a:cubicBezTo>
                    <a:pt x="3794" y="84"/>
                    <a:pt x="3794" y="84"/>
                    <a:pt x="3794" y="84"/>
                  </a:cubicBezTo>
                  <a:cubicBezTo>
                    <a:pt x="3794" y="79"/>
                    <a:pt x="3794" y="75"/>
                    <a:pt x="3795" y="72"/>
                  </a:cubicBezTo>
                  <a:cubicBezTo>
                    <a:pt x="3796" y="71"/>
                    <a:pt x="3796" y="69"/>
                    <a:pt x="3797" y="68"/>
                  </a:cubicBezTo>
                  <a:cubicBezTo>
                    <a:pt x="3797" y="67"/>
                    <a:pt x="3798" y="66"/>
                    <a:pt x="3799" y="65"/>
                  </a:cubicBezTo>
                  <a:cubicBezTo>
                    <a:pt x="3799" y="65"/>
                    <a:pt x="3799" y="65"/>
                    <a:pt x="3799" y="65"/>
                  </a:cubicBezTo>
                  <a:cubicBezTo>
                    <a:pt x="3802" y="62"/>
                    <a:pt x="3804" y="60"/>
                    <a:pt x="3806" y="58"/>
                  </a:cubicBezTo>
                  <a:cubicBezTo>
                    <a:pt x="3808" y="56"/>
                    <a:pt x="3809" y="56"/>
                    <a:pt x="3810" y="55"/>
                  </a:cubicBezTo>
                  <a:cubicBezTo>
                    <a:pt x="3810" y="55"/>
                    <a:pt x="3810" y="55"/>
                    <a:pt x="3810" y="55"/>
                  </a:cubicBezTo>
                  <a:cubicBezTo>
                    <a:pt x="3810" y="55"/>
                    <a:pt x="3810" y="55"/>
                    <a:pt x="3810" y="55"/>
                  </a:cubicBezTo>
                  <a:cubicBezTo>
                    <a:pt x="3812" y="54"/>
                    <a:pt x="3814" y="53"/>
                    <a:pt x="3815" y="52"/>
                  </a:cubicBezTo>
                  <a:cubicBezTo>
                    <a:pt x="3817" y="50"/>
                    <a:pt x="3818" y="48"/>
                    <a:pt x="3819" y="47"/>
                  </a:cubicBezTo>
                  <a:cubicBezTo>
                    <a:pt x="3820" y="45"/>
                    <a:pt x="3820" y="44"/>
                    <a:pt x="3821" y="43"/>
                  </a:cubicBezTo>
                  <a:cubicBezTo>
                    <a:pt x="3820" y="43"/>
                    <a:pt x="3820" y="43"/>
                    <a:pt x="3820" y="43"/>
                  </a:cubicBezTo>
                  <a:cubicBezTo>
                    <a:pt x="3821" y="41"/>
                    <a:pt x="3822" y="41"/>
                    <a:pt x="3822" y="40"/>
                  </a:cubicBezTo>
                  <a:cubicBezTo>
                    <a:pt x="3823" y="40"/>
                    <a:pt x="3823" y="40"/>
                    <a:pt x="3823" y="40"/>
                  </a:cubicBezTo>
                  <a:cubicBezTo>
                    <a:pt x="3823" y="40"/>
                    <a:pt x="3824" y="40"/>
                    <a:pt x="3824" y="40"/>
                  </a:cubicBezTo>
                  <a:cubicBezTo>
                    <a:pt x="3825" y="40"/>
                    <a:pt x="3825" y="40"/>
                    <a:pt x="3825" y="40"/>
                  </a:cubicBezTo>
                  <a:cubicBezTo>
                    <a:pt x="3825" y="40"/>
                    <a:pt x="3825" y="40"/>
                    <a:pt x="3825" y="40"/>
                  </a:cubicBezTo>
                  <a:cubicBezTo>
                    <a:pt x="3825" y="40"/>
                    <a:pt x="3826" y="40"/>
                    <a:pt x="3827" y="40"/>
                  </a:cubicBezTo>
                  <a:cubicBezTo>
                    <a:pt x="3829" y="40"/>
                    <a:pt x="3833" y="40"/>
                    <a:pt x="3836" y="38"/>
                  </a:cubicBezTo>
                  <a:cubicBezTo>
                    <a:pt x="3839" y="37"/>
                    <a:pt x="3842" y="35"/>
                    <a:pt x="3844" y="33"/>
                  </a:cubicBezTo>
                  <a:cubicBezTo>
                    <a:pt x="3844" y="33"/>
                    <a:pt x="3844" y="33"/>
                    <a:pt x="3844" y="33"/>
                  </a:cubicBezTo>
                  <a:cubicBezTo>
                    <a:pt x="3844" y="33"/>
                    <a:pt x="3844" y="33"/>
                    <a:pt x="3844" y="33"/>
                  </a:cubicBezTo>
                  <a:cubicBezTo>
                    <a:pt x="3845" y="32"/>
                    <a:pt x="3845" y="32"/>
                    <a:pt x="3845" y="32"/>
                  </a:cubicBezTo>
                  <a:cubicBezTo>
                    <a:pt x="3845" y="32"/>
                    <a:pt x="3845" y="32"/>
                    <a:pt x="3845" y="32"/>
                  </a:cubicBezTo>
                  <a:cubicBezTo>
                    <a:pt x="3845" y="32"/>
                    <a:pt x="3846" y="32"/>
                    <a:pt x="3847" y="32"/>
                  </a:cubicBezTo>
                  <a:cubicBezTo>
                    <a:pt x="3847" y="32"/>
                    <a:pt x="3847" y="32"/>
                    <a:pt x="3847" y="32"/>
                  </a:cubicBezTo>
                  <a:cubicBezTo>
                    <a:pt x="3849" y="34"/>
                    <a:pt x="3851" y="35"/>
                    <a:pt x="3854" y="36"/>
                  </a:cubicBezTo>
                  <a:cubicBezTo>
                    <a:pt x="3856" y="37"/>
                    <a:pt x="3859" y="38"/>
                    <a:pt x="3862" y="38"/>
                  </a:cubicBezTo>
                  <a:cubicBezTo>
                    <a:pt x="3866" y="38"/>
                    <a:pt x="3870" y="36"/>
                    <a:pt x="3873" y="35"/>
                  </a:cubicBezTo>
                  <a:cubicBezTo>
                    <a:pt x="3873" y="35"/>
                    <a:pt x="3873" y="35"/>
                    <a:pt x="3873" y="35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74" y="34"/>
                    <a:pt x="3874" y="34"/>
                    <a:pt x="3874" y="34"/>
                  </a:cubicBezTo>
                  <a:cubicBezTo>
                    <a:pt x="3874" y="34"/>
                    <a:pt x="3874" y="34"/>
                    <a:pt x="3874" y="34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74" y="34"/>
                    <a:pt x="3874" y="34"/>
                    <a:pt x="3874" y="34"/>
                  </a:cubicBezTo>
                  <a:cubicBezTo>
                    <a:pt x="3874" y="34"/>
                    <a:pt x="3874" y="34"/>
                    <a:pt x="3874" y="34"/>
                  </a:cubicBezTo>
                  <a:cubicBezTo>
                    <a:pt x="3874" y="34"/>
                    <a:pt x="3874" y="34"/>
                    <a:pt x="3874" y="34"/>
                  </a:cubicBezTo>
                  <a:cubicBezTo>
                    <a:pt x="3874" y="34"/>
                    <a:pt x="3874" y="34"/>
                    <a:pt x="3874" y="34"/>
                  </a:cubicBezTo>
                  <a:cubicBezTo>
                    <a:pt x="3874" y="34"/>
                    <a:pt x="3874" y="34"/>
                    <a:pt x="3874" y="34"/>
                  </a:cubicBezTo>
                  <a:cubicBezTo>
                    <a:pt x="3874" y="34"/>
                    <a:pt x="3874" y="34"/>
                    <a:pt x="3874" y="34"/>
                  </a:cubicBezTo>
                  <a:cubicBezTo>
                    <a:pt x="3874" y="34"/>
                    <a:pt x="3874" y="34"/>
                    <a:pt x="3874" y="34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80" y="32"/>
                    <a:pt x="3880" y="32"/>
                    <a:pt x="3880" y="32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80" y="32"/>
                    <a:pt x="3880" y="32"/>
                    <a:pt x="3880" y="32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76" y="34"/>
                    <a:pt x="3876" y="34"/>
                    <a:pt x="3876" y="34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76" y="34"/>
                    <a:pt x="3876" y="34"/>
                    <a:pt x="3876" y="34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74" y="35"/>
                    <a:pt x="3874" y="35"/>
                    <a:pt x="3874" y="35"/>
                  </a:cubicBezTo>
                  <a:cubicBezTo>
                    <a:pt x="3874" y="36"/>
                    <a:pt x="3875" y="36"/>
                    <a:pt x="3876" y="38"/>
                  </a:cubicBezTo>
                  <a:cubicBezTo>
                    <a:pt x="3877" y="39"/>
                    <a:pt x="3877" y="40"/>
                    <a:pt x="3879" y="41"/>
                  </a:cubicBezTo>
                  <a:cubicBezTo>
                    <a:pt x="3881" y="42"/>
                    <a:pt x="3883" y="43"/>
                    <a:pt x="3886" y="43"/>
                  </a:cubicBezTo>
                  <a:cubicBezTo>
                    <a:pt x="3889" y="43"/>
                    <a:pt x="3891" y="42"/>
                    <a:pt x="3893" y="41"/>
                  </a:cubicBezTo>
                  <a:cubicBezTo>
                    <a:pt x="3895" y="40"/>
                    <a:pt x="3896" y="38"/>
                    <a:pt x="3897" y="37"/>
                  </a:cubicBezTo>
                  <a:cubicBezTo>
                    <a:pt x="3898" y="36"/>
                    <a:pt x="3898" y="35"/>
                    <a:pt x="3899" y="34"/>
                  </a:cubicBezTo>
                  <a:cubicBezTo>
                    <a:pt x="3899" y="34"/>
                    <a:pt x="3899" y="34"/>
                    <a:pt x="3899" y="34"/>
                  </a:cubicBezTo>
                  <a:cubicBezTo>
                    <a:pt x="3899" y="34"/>
                    <a:pt x="3900" y="33"/>
                    <a:pt x="3901" y="32"/>
                  </a:cubicBezTo>
                  <a:cubicBezTo>
                    <a:pt x="3903" y="31"/>
                    <a:pt x="3905" y="30"/>
                    <a:pt x="3906" y="31"/>
                  </a:cubicBezTo>
                  <a:cubicBezTo>
                    <a:pt x="3907" y="31"/>
                    <a:pt x="3908" y="31"/>
                    <a:pt x="3908" y="31"/>
                  </a:cubicBezTo>
                  <a:cubicBezTo>
                    <a:pt x="3908" y="31"/>
                    <a:pt x="3908" y="31"/>
                    <a:pt x="3908" y="31"/>
                  </a:cubicBezTo>
                  <a:cubicBezTo>
                    <a:pt x="3912" y="31"/>
                    <a:pt x="3915" y="33"/>
                    <a:pt x="3920" y="34"/>
                  </a:cubicBezTo>
                  <a:cubicBezTo>
                    <a:pt x="3920" y="34"/>
                    <a:pt x="3920" y="34"/>
                    <a:pt x="3920" y="34"/>
                  </a:cubicBezTo>
                  <a:cubicBezTo>
                    <a:pt x="3920" y="34"/>
                    <a:pt x="3920" y="34"/>
                    <a:pt x="3920" y="34"/>
                  </a:cubicBezTo>
                  <a:cubicBezTo>
                    <a:pt x="3925" y="34"/>
                    <a:pt x="3929" y="34"/>
                    <a:pt x="3931" y="35"/>
                  </a:cubicBezTo>
                  <a:cubicBezTo>
                    <a:pt x="3931" y="35"/>
                    <a:pt x="3931" y="35"/>
                    <a:pt x="3931" y="35"/>
                  </a:cubicBezTo>
                  <a:cubicBezTo>
                    <a:pt x="3932" y="35"/>
                    <a:pt x="3932" y="35"/>
                    <a:pt x="3932" y="35"/>
                  </a:cubicBezTo>
                  <a:cubicBezTo>
                    <a:pt x="3933" y="35"/>
                    <a:pt x="3934" y="35"/>
                    <a:pt x="3936" y="35"/>
                  </a:cubicBezTo>
                  <a:cubicBezTo>
                    <a:pt x="3942" y="35"/>
                    <a:pt x="3947" y="34"/>
                    <a:pt x="3951" y="32"/>
                  </a:cubicBezTo>
                  <a:cubicBezTo>
                    <a:pt x="3956" y="30"/>
                    <a:pt x="3960" y="27"/>
                    <a:pt x="3963" y="25"/>
                  </a:cubicBezTo>
                  <a:cubicBezTo>
                    <a:pt x="3963" y="25"/>
                    <a:pt x="3963" y="25"/>
                    <a:pt x="3963" y="25"/>
                  </a:cubicBezTo>
                  <a:cubicBezTo>
                    <a:pt x="3963" y="25"/>
                    <a:pt x="3963" y="25"/>
                    <a:pt x="3963" y="25"/>
                  </a:cubicBezTo>
                  <a:cubicBezTo>
                    <a:pt x="3964" y="24"/>
                    <a:pt x="3964" y="24"/>
                    <a:pt x="3964" y="24"/>
                  </a:cubicBezTo>
                  <a:cubicBezTo>
                    <a:pt x="3964" y="24"/>
                    <a:pt x="3964" y="24"/>
                    <a:pt x="3964" y="24"/>
                  </a:cubicBezTo>
                  <a:cubicBezTo>
                    <a:pt x="3964" y="24"/>
                    <a:pt x="3964" y="24"/>
                    <a:pt x="3964" y="24"/>
                  </a:cubicBezTo>
                  <a:cubicBezTo>
                    <a:pt x="3964" y="24"/>
                    <a:pt x="3966" y="25"/>
                    <a:pt x="3968" y="25"/>
                  </a:cubicBezTo>
                  <a:cubicBezTo>
                    <a:pt x="3971" y="26"/>
                    <a:pt x="3974" y="27"/>
                    <a:pt x="3978" y="28"/>
                  </a:cubicBezTo>
                  <a:cubicBezTo>
                    <a:pt x="3978" y="28"/>
                    <a:pt x="3978" y="28"/>
                    <a:pt x="3978" y="28"/>
                  </a:cubicBezTo>
                  <a:cubicBezTo>
                    <a:pt x="3978" y="28"/>
                    <a:pt x="3978" y="28"/>
                    <a:pt x="3978" y="28"/>
                  </a:cubicBezTo>
                  <a:cubicBezTo>
                    <a:pt x="3980" y="17"/>
                    <a:pt x="3980" y="17"/>
                    <a:pt x="3980" y="17"/>
                  </a:cubicBezTo>
                  <a:cubicBezTo>
                    <a:pt x="3974" y="26"/>
                    <a:pt x="3974" y="26"/>
                    <a:pt x="3974" y="26"/>
                  </a:cubicBezTo>
                  <a:cubicBezTo>
                    <a:pt x="3974" y="27"/>
                    <a:pt x="3976" y="28"/>
                    <a:pt x="3978" y="28"/>
                  </a:cubicBezTo>
                  <a:cubicBezTo>
                    <a:pt x="3980" y="17"/>
                    <a:pt x="3980" y="17"/>
                    <a:pt x="3980" y="17"/>
                  </a:cubicBezTo>
                  <a:cubicBezTo>
                    <a:pt x="3974" y="26"/>
                    <a:pt x="3974" y="26"/>
                    <a:pt x="3974" y="26"/>
                  </a:cubicBezTo>
                  <a:cubicBezTo>
                    <a:pt x="3979" y="19"/>
                    <a:pt x="3979" y="19"/>
                    <a:pt x="3979" y="19"/>
                  </a:cubicBezTo>
                  <a:cubicBezTo>
                    <a:pt x="3971" y="24"/>
                    <a:pt x="3971" y="24"/>
                    <a:pt x="3971" y="24"/>
                  </a:cubicBezTo>
                  <a:cubicBezTo>
                    <a:pt x="3972" y="25"/>
                    <a:pt x="3972" y="25"/>
                    <a:pt x="3974" y="26"/>
                  </a:cubicBezTo>
                  <a:cubicBezTo>
                    <a:pt x="3979" y="19"/>
                    <a:pt x="3979" y="19"/>
                    <a:pt x="3979" y="19"/>
                  </a:cubicBezTo>
                  <a:cubicBezTo>
                    <a:pt x="3971" y="24"/>
                    <a:pt x="3971" y="24"/>
                    <a:pt x="3971" y="24"/>
                  </a:cubicBezTo>
                  <a:cubicBezTo>
                    <a:pt x="3975" y="21"/>
                    <a:pt x="3975" y="21"/>
                    <a:pt x="3975" y="21"/>
                  </a:cubicBezTo>
                  <a:cubicBezTo>
                    <a:pt x="3971" y="23"/>
                    <a:pt x="3971" y="23"/>
                    <a:pt x="3971" y="23"/>
                  </a:cubicBezTo>
                  <a:cubicBezTo>
                    <a:pt x="3971" y="23"/>
                    <a:pt x="3971" y="24"/>
                    <a:pt x="3971" y="24"/>
                  </a:cubicBezTo>
                  <a:cubicBezTo>
                    <a:pt x="3975" y="21"/>
                    <a:pt x="3975" y="21"/>
                    <a:pt x="3975" y="21"/>
                  </a:cubicBezTo>
                  <a:cubicBezTo>
                    <a:pt x="3971" y="23"/>
                    <a:pt x="3971" y="23"/>
                    <a:pt x="3971" y="23"/>
                  </a:cubicBezTo>
                  <a:cubicBezTo>
                    <a:pt x="3976" y="21"/>
                    <a:pt x="3976" y="21"/>
                    <a:pt x="3976" y="21"/>
                  </a:cubicBezTo>
                  <a:cubicBezTo>
                    <a:pt x="3971" y="22"/>
                    <a:pt x="3971" y="22"/>
                    <a:pt x="3971" y="22"/>
                  </a:cubicBezTo>
                  <a:cubicBezTo>
                    <a:pt x="3971" y="23"/>
                    <a:pt x="3971" y="23"/>
                    <a:pt x="3971" y="23"/>
                  </a:cubicBezTo>
                  <a:cubicBezTo>
                    <a:pt x="3976" y="21"/>
                    <a:pt x="3976" y="21"/>
                    <a:pt x="3976" y="21"/>
                  </a:cubicBezTo>
                  <a:cubicBezTo>
                    <a:pt x="3971" y="22"/>
                    <a:pt x="3971" y="22"/>
                    <a:pt x="3971" y="22"/>
                  </a:cubicBezTo>
                  <a:cubicBezTo>
                    <a:pt x="3979" y="21"/>
                    <a:pt x="3979" y="21"/>
                    <a:pt x="3979" y="21"/>
                  </a:cubicBezTo>
                  <a:cubicBezTo>
                    <a:pt x="3970" y="21"/>
                    <a:pt x="3970" y="21"/>
                    <a:pt x="3970" y="21"/>
                  </a:cubicBezTo>
                  <a:cubicBezTo>
                    <a:pt x="3970" y="21"/>
                    <a:pt x="3970" y="22"/>
                    <a:pt x="3971" y="22"/>
                  </a:cubicBezTo>
                  <a:cubicBezTo>
                    <a:pt x="3979" y="21"/>
                    <a:pt x="3979" y="21"/>
                    <a:pt x="3979" y="21"/>
                  </a:cubicBezTo>
                  <a:cubicBezTo>
                    <a:pt x="3970" y="21"/>
                    <a:pt x="3970" y="21"/>
                    <a:pt x="3970" y="21"/>
                  </a:cubicBezTo>
                  <a:cubicBezTo>
                    <a:pt x="3980" y="21"/>
                    <a:pt x="3980" y="21"/>
                    <a:pt x="3980" y="21"/>
                  </a:cubicBezTo>
                  <a:cubicBezTo>
                    <a:pt x="3970" y="19"/>
                    <a:pt x="3970" y="19"/>
                    <a:pt x="3970" y="19"/>
                  </a:cubicBezTo>
                  <a:cubicBezTo>
                    <a:pt x="3970" y="20"/>
                    <a:pt x="3970" y="20"/>
                    <a:pt x="3970" y="21"/>
                  </a:cubicBezTo>
                  <a:cubicBezTo>
                    <a:pt x="3980" y="21"/>
                    <a:pt x="3980" y="21"/>
                    <a:pt x="3980" y="21"/>
                  </a:cubicBezTo>
                  <a:cubicBezTo>
                    <a:pt x="3970" y="19"/>
                    <a:pt x="3970" y="19"/>
                    <a:pt x="3970" y="19"/>
                  </a:cubicBezTo>
                  <a:cubicBezTo>
                    <a:pt x="3982" y="21"/>
                    <a:pt x="3982" y="21"/>
                    <a:pt x="3982" y="21"/>
                  </a:cubicBezTo>
                  <a:cubicBezTo>
                    <a:pt x="3970" y="19"/>
                    <a:pt x="3970" y="19"/>
                    <a:pt x="3970" y="19"/>
                  </a:cubicBezTo>
                  <a:cubicBezTo>
                    <a:pt x="3970" y="23"/>
                    <a:pt x="3969" y="26"/>
                    <a:pt x="3968" y="29"/>
                  </a:cubicBezTo>
                  <a:cubicBezTo>
                    <a:pt x="3968" y="29"/>
                    <a:pt x="3968" y="29"/>
                    <a:pt x="3968" y="29"/>
                  </a:cubicBezTo>
                  <a:cubicBezTo>
                    <a:pt x="3974" y="31"/>
                    <a:pt x="3974" y="31"/>
                    <a:pt x="3974" y="31"/>
                  </a:cubicBezTo>
                  <a:cubicBezTo>
                    <a:pt x="3969" y="28"/>
                    <a:pt x="3969" y="28"/>
                    <a:pt x="3969" y="28"/>
                  </a:cubicBezTo>
                  <a:cubicBezTo>
                    <a:pt x="3968" y="28"/>
                    <a:pt x="3968" y="29"/>
                    <a:pt x="3968" y="29"/>
                  </a:cubicBezTo>
                  <a:cubicBezTo>
                    <a:pt x="3974" y="31"/>
                    <a:pt x="3974" y="31"/>
                    <a:pt x="3974" y="31"/>
                  </a:cubicBezTo>
                  <a:cubicBezTo>
                    <a:pt x="3969" y="28"/>
                    <a:pt x="3969" y="28"/>
                    <a:pt x="3969" y="28"/>
                  </a:cubicBezTo>
                  <a:cubicBezTo>
                    <a:pt x="3971" y="30"/>
                    <a:pt x="3971" y="30"/>
                    <a:pt x="3971" y="30"/>
                  </a:cubicBezTo>
                  <a:cubicBezTo>
                    <a:pt x="3969" y="28"/>
                    <a:pt x="3969" y="28"/>
                    <a:pt x="3969" y="28"/>
                  </a:cubicBezTo>
                  <a:cubicBezTo>
                    <a:pt x="3969" y="28"/>
                    <a:pt x="3969" y="28"/>
                    <a:pt x="3969" y="28"/>
                  </a:cubicBezTo>
                  <a:cubicBezTo>
                    <a:pt x="3971" y="30"/>
                    <a:pt x="3971" y="30"/>
                    <a:pt x="3971" y="30"/>
                  </a:cubicBezTo>
                  <a:cubicBezTo>
                    <a:pt x="3969" y="28"/>
                    <a:pt x="3969" y="28"/>
                    <a:pt x="3969" y="28"/>
                  </a:cubicBezTo>
                  <a:cubicBezTo>
                    <a:pt x="3969" y="28"/>
                    <a:pt x="3969" y="28"/>
                    <a:pt x="3969" y="28"/>
                  </a:cubicBezTo>
                  <a:cubicBezTo>
                    <a:pt x="3969" y="28"/>
                    <a:pt x="3969" y="28"/>
                    <a:pt x="3969" y="28"/>
                  </a:cubicBezTo>
                  <a:cubicBezTo>
                    <a:pt x="3969" y="28"/>
                    <a:pt x="3969" y="28"/>
                    <a:pt x="3969" y="28"/>
                  </a:cubicBezTo>
                  <a:cubicBezTo>
                    <a:pt x="3969" y="28"/>
                    <a:pt x="3969" y="28"/>
                    <a:pt x="3969" y="28"/>
                  </a:cubicBezTo>
                  <a:cubicBezTo>
                    <a:pt x="3969" y="28"/>
                    <a:pt x="3969" y="28"/>
                    <a:pt x="3969" y="28"/>
                  </a:cubicBezTo>
                  <a:cubicBezTo>
                    <a:pt x="3969" y="28"/>
                    <a:pt x="3968" y="29"/>
                    <a:pt x="3967" y="31"/>
                  </a:cubicBezTo>
                  <a:cubicBezTo>
                    <a:pt x="3966" y="31"/>
                    <a:pt x="3966" y="32"/>
                    <a:pt x="3965" y="34"/>
                  </a:cubicBezTo>
                  <a:cubicBezTo>
                    <a:pt x="3964" y="35"/>
                    <a:pt x="3963" y="37"/>
                    <a:pt x="3963" y="40"/>
                  </a:cubicBezTo>
                  <a:cubicBezTo>
                    <a:pt x="3963" y="41"/>
                    <a:pt x="3963" y="42"/>
                    <a:pt x="3964" y="43"/>
                  </a:cubicBezTo>
                  <a:cubicBezTo>
                    <a:pt x="3975" y="40"/>
                    <a:pt x="3975" y="40"/>
                    <a:pt x="3975" y="40"/>
                  </a:cubicBezTo>
                  <a:cubicBezTo>
                    <a:pt x="3964" y="43"/>
                    <a:pt x="3964" y="43"/>
                    <a:pt x="3964" y="43"/>
                  </a:cubicBezTo>
                  <a:cubicBezTo>
                    <a:pt x="3964" y="43"/>
                    <a:pt x="3964" y="43"/>
                    <a:pt x="3964" y="44"/>
                  </a:cubicBezTo>
                  <a:cubicBezTo>
                    <a:pt x="3964" y="45"/>
                    <a:pt x="3964" y="46"/>
                    <a:pt x="3963" y="47"/>
                  </a:cubicBezTo>
                  <a:cubicBezTo>
                    <a:pt x="3963" y="49"/>
                    <a:pt x="3961" y="51"/>
                    <a:pt x="3960" y="55"/>
                  </a:cubicBezTo>
                  <a:cubicBezTo>
                    <a:pt x="3958" y="58"/>
                    <a:pt x="3957" y="62"/>
                    <a:pt x="3956" y="67"/>
                  </a:cubicBezTo>
                  <a:cubicBezTo>
                    <a:pt x="3956" y="67"/>
                    <a:pt x="3956" y="67"/>
                    <a:pt x="3956" y="67"/>
                  </a:cubicBezTo>
                  <a:cubicBezTo>
                    <a:pt x="3956" y="67"/>
                    <a:pt x="3955" y="68"/>
                    <a:pt x="3955" y="70"/>
                  </a:cubicBezTo>
                  <a:cubicBezTo>
                    <a:pt x="3954" y="72"/>
                    <a:pt x="3953" y="74"/>
                    <a:pt x="3952" y="78"/>
                  </a:cubicBezTo>
                  <a:cubicBezTo>
                    <a:pt x="3952" y="78"/>
                    <a:pt x="3952" y="78"/>
                    <a:pt x="3952" y="78"/>
                  </a:cubicBezTo>
                  <a:cubicBezTo>
                    <a:pt x="3951" y="80"/>
                    <a:pt x="3950" y="83"/>
                    <a:pt x="3950" y="85"/>
                  </a:cubicBezTo>
                  <a:cubicBezTo>
                    <a:pt x="3950" y="87"/>
                    <a:pt x="3950" y="88"/>
                    <a:pt x="3949" y="89"/>
                  </a:cubicBezTo>
                  <a:cubicBezTo>
                    <a:pt x="3949" y="89"/>
                    <a:pt x="3949" y="89"/>
                    <a:pt x="3949" y="89"/>
                  </a:cubicBezTo>
                  <a:cubicBezTo>
                    <a:pt x="3949" y="92"/>
                    <a:pt x="3948" y="94"/>
                    <a:pt x="3948" y="95"/>
                  </a:cubicBezTo>
                  <a:cubicBezTo>
                    <a:pt x="3947" y="96"/>
                    <a:pt x="3947" y="96"/>
                    <a:pt x="3947" y="96"/>
                  </a:cubicBezTo>
                  <a:cubicBezTo>
                    <a:pt x="3947" y="96"/>
                    <a:pt x="3947" y="96"/>
                    <a:pt x="3947" y="96"/>
                  </a:cubicBezTo>
                  <a:cubicBezTo>
                    <a:pt x="3952" y="98"/>
                    <a:pt x="3952" y="98"/>
                    <a:pt x="3952" y="98"/>
                  </a:cubicBezTo>
                  <a:cubicBezTo>
                    <a:pt x="3949" y="94"/>
                    <a:pt x="3949" y="94"/>
                    <a:pt x="3949" y="94"/>
                  </a:cubicBezTo>
                  <a:cubicBezTo>
                    <a:pt x="3948" y="95"/>
                    <a:pt x="3947" y="96"/>
                    <a:pt x="3947" y="96"/>
                  </a:cubicBezTo>
                  <a:cubicBezTo>
                    <a:pt x="3952" y="98"/>
                    <a:pt x="3952" y="98"/>
                    <a:pt x="3952" y="98"/>
                  </a:cubicBezTo>
                  <a:cubicBezTo>
                    <a:pt x="3949" y="94"/>
                    <a:pt x="3949" y="94"/>
                    <a:pt x="3949" y="94"/>
                  </a:cubicBezTo>
                  <a:cubicBezTo>
                    <a:pt x="3949" y="94"/>
                    <a:pt x="3949" y="94"/>
                    <a:pt x="3949" y="94"/>
                  </a:cubicBezTo>
                  <a:cubicBezTo>
                    <a:pt x="3943" y="99"/>
                    <a:pt x="3939" y="104"/>
                    <a:pt x="3937" y="110"/>
                  </a:cubicBezTo>
                  <a:cubicBezTo>
                    <a:pt x="3935" y="115"/>
                    <a:pt x="3934" y="121"/>
                    <a:pt x="3933" y="125"/>
                  </a:cubicBezTo>
                  <a:cubicBezTo>
                    <a:pt x="3933" y="125"/>
                    <a:pt x="3933" y="125"/>
                    <a:pt x="3933" y="125"/>
                  </a:cubicBezTo>
                  <a:cubicBezTo>
                    <a:pt x="3933" y="127"/>
                    <a:pt x="3933" y="129"/>
                    <a:pt x="3933" y="131"/>
                  </a:cubicBezTo>
                  <a:cubicBezTo>
                    <a:pt x="3933" y="134"/>
                    <a:pt x="3933" y="137"/>
                    <a:pt x="3935" y="141"/>
                  </a:cubicBezTo>
                  <a:cubicBezTo>
                    <a:pt x="3936" y="144"/>
                    <a:pt x="3938" y="147"/>
                    <a:pt x="3940" y="150"/>
                  </a:cubicBezTo>
                  <a:cubicBezTo>
                    <a:pt x="3940" y="150"/>
                    <a:pt x="3940" y="150"/>
                    <a:pt x="3940" y="150"/>
                  </a:cubicBezTo>
                  <a:cubicBezTo>
                    <a:pt x="3941" y="150"/>
                    <a:pt x="3941" y="150"/>
                    <a:pt x="3941" y="150"/>
                  </a:cubicBezTo>
                  <a:cubicBezTo>
                    <a:pt x="3942" y="149"/>
                    <a:pt x="3942" y="149"/>
                    <a:pt x="3942" y="149"/>
                  </a:cubicBezTo>
                  <a:cubicBezTo>
                    <a:pt x="3940" y="150"/>
                    <a:pt x="3940" y="150"/>
                    <a:pt x="3940" y="150"/>
                  </a:cubicBezTo>
                  <a:cubicBezTo>
                    <a:pt x="3940" y="150"/>
                    <a:pt x="3941" y="150"/>
                    <a:pt x="3941" y="150"/>
                  </a:cubicBezTo>
                  <a:cubicBezTo>
                    <a:pt x="3942" y="149"/>
                    <a:pt x="3942" y="149"/>
                    <a:pt x="3942" y="149"/>
                  </a:cubicBezTo>
                  <a:cubicBezTo>
                    <a:pt x="3940" y="150"/>
                    <a:pt x="3940" y="150"/>
                    <a:pt x="3940" y="150"/>
                  </a:cubicBezTo>
                  <a:cubicBezTo>
                    <a:pt x="3944" y="148"/>
                    <a:pt x="3944" y="148"/>
                    <a:pt x="3944" y="148"/>
                  </a:cubicBezTo>
                  <a:cubicBezTo>
                    <a:pt x="3940" y="148"/>
                    <a:pt x="3940" y="148"/>
                    <a:pt x="3940" y="148"/>
                  </a:cubicBezTo>
                  <a:cubicBezTo>
                    <a:pt x="3940" y="149"/>
                    <a:pt x="3940" y="149"/>
                    <a:pt x="3940" y="150"/>
                  </a:cubicBezTo>
                  <a:cubicBezTo>
                    <a:pt x="3944" y="148"/>
                    <a:pt x="3944" y="148"/>
                    <a:pt x="3944" y="148"/>
                  </a:cubicBezTo>
                  <a:cubicBezTo>
                    <a:pt x="3940" y="148"/>
                    <a:pt x="3940" y="148"/>
                    <a:pt x="3940" y="148"/>
                  </a:cubicBezTo>
                  <a:cubicBezTo>
                    <a:pt x="3943" y="148"/>
                    <a:pt x="3943" y="148"/>
                    <a:pt x="3943" y="148"/>
                  </a:cubicBezTo>
                  <a:cubicBezTo>
                    <a:pt x="3940" y="147"/>
                    <a:pt x="3940" y="147"/>
                    <a:pt x="3940" y="147"/>
                  </a:cubicBezTo>
                  <a:cubicBezTo>
                    <a:pt x="3940" y="148"/>
                    <a:pt x="3940" y="148"/>
                    <a:pt x="3940" y="148"/>
                  </a:cubicBezTo>
                  <a:cubicBezTo>
                    <a:pt x="3943" y="148"/>
                    <a:pt x="3943" y="148"/>
                    <a:pt x="3943" y="148"/>
                  </a:cubicBezTo>
                  <a:cubicBezTo>
                    <a:pt x="3940" y="147"/>
                    <a:pt x="3940" y="147"/>
                    <a:pt x="3940" y="147"/>
                  </a:cubicBezTo>
                  <a:cubicBezTo>
                    <a:pt x="3941" y="148"/>
                    <a:pt x="3941" y="148"/>
                    <a:pt x="3941" y="148"/>
                  </a:cubicBezTo>
                  <a:cubicBezTo>
                    <a:pt x="3940" y="147"/>
                    <a:pt x="3940" y="147"/>
                    <a:pt x="3940" y="147"/>
                  </a:cubicBezTo>
                  <a:cubicBezTo>
                    <a:pt x="3940" y="147"/>
                    <a:pt x="3940" y="147"/>
                    <a:pt x="3940" y="147"/>
                  </a:cubicBezTo>
                  <a:cubicBezTo>
                    <a:pt x="3941" y="148"/>
                    <a:pt x="3941" y="148"/>
                    <a:pt x="3941" y="148"/>
                  </a:cubicBezTo>
                  <a:cubicBezTo>
                    <a:pt x="3940" y="147"/>
                    <a:pt x="3940" y="147"/>
                    <a:pt x="3940" y="147"/>
                  </a:cubicBezTo>
                  <a:cubicBezTo>
                    <a:pt x="3940" y="148"/>
                    <a:pt x="3940" y="148"/>
                    <a:pt x="3940" y="148"/>
                  </a:cubicBezTo>
                  <a:cubicBezTo>
                    <a:pt x="3940" y="148"/>
                    <a:pt x="3940" y="148"/>
                    <a:pt x="3940" y="148"/>
                  </a:cubicBezTo>
                  <a:cubicBezTo>
                    <a:pt x="3940" y="148"/>
                    <a:pt x="3940" y="148"/>
                    <a:pt x="3940" y="148"/>
                  </a:cubicBezTo>
                  <a:cubicBezTo>
                    <a:pt x="3939" y="150"/>
                    <a:pt x="3938" y="151"/>
                    <a:pt x="3937" y="153"/>
                  </a:cubicBezTo>
                  <a:cubicBezTo>
                    <a:pt x="3937" y="155"/>
                    <a:pt x="3936" y="157"/>
                    <a:pt x="3936" y="160"/>
                  </a:cubicBezTo>
                  <a:cubicBezTo>
                    <a:pt x="3936" y="162"/>
                    <a:pt x="3937" y="164"/>
                    <a:pt x="3937" y="166"/>
                  </a:cubicBezTo>
                  <a:cubicBezTo>
                    <a:pt x="3937" y="166"/>
                    <a:pt x="3937" y="166"/>
                    <a:pt x="3937" y="166"/>
                  </a:cubicBezTo>
                  <a:cubicBezTo>
                    <a:pt x="3938" y="168"/>
                    <a:pt x="3939" y="171"/>
                    <a:pt x="3940" y="176"/>
                  </a:cubicBezTo>
                  <a:cubicBezTo>
                    <a:pt x="3940" y="178"/>
                    <a:pt x="3941" y="180"/>
                    <a:pt x="3943" y="183"/>
                  </a:cubicBezTo>
                  <a:cubicBezTo>
                    <a:pt x="3944" y="186"/>
                    <a:pt x="3946" y="188"/>
                    <a:pt x="3948" y="191"/>
                  </a:cubicBezTo>
                  <a:cubicBezTo>
                    <a:pt x="3948" y="191"/>
                    <a:pt x="3948" y="191"/>
                    <a:pt x="3948" y="191"/>
                  </a:cubicBezTo>
                  <a:cubicBezTo>
                    <a:pt x="3954" y="185"/>
                    <a:pt x="3954" y="185"/>
                    <a:pt x="3954" y="185"/>
                  </a:cubicBezTo>
                  <a:cubicBezTo>
                    <a:pt x="3947" y="188"/>
                    <a:pt x="3947" y="188"/>
                    <a:pt x="3947" y="188"/>
                  </a:cubicBezTo>
                  <a:cubicBezTo>
                    <a:pt x="3947" y="189"/>
                    <a:pt x="3947" y="190"/>
                    <a:pt x="3948" y="191"/>
                  </a:cubicBezTo>
                  <a:cubicBezTo>
                    <a:pt x="3954" y="185"/>
                    <a:pt x="3954" y="185"/>
                    <a:pt x="3954" y="185"/>
                  </a:cubicBezTo>
                  <a:cubicBezTo>
                    <a:pt x="3947" y="188"/>
                    <a:pt x="3947" y="188"/>
                    <a:pt x="3947" y="188"/>
                  </a:cubicBezTo>
                  <a:cubicBezTo>
                    <a:pt x="3950" y="187"/>
                    <a:pt x="3950" y="187"/>
                    <a:pt x="3950" y="187"/>
                  </a:cubicBezTo>
                  <a:cubicBezTo>
                    <a:pt x="3946" y="188"/>
                    <a:pt x="3946" y="188"/>
                    <a:pt x="3946" y="188"/>
                  </a:cubicBezTo>
                  <a:cubicBezTo>
                    <a:pt x="3946" y="188"/>
                    <a:pt x="3946" y="188"/>
                    <a:pt x="3947" y="188"/>
                  </a:cubicBezTo>
                  <a:cubicBezTo>
                    <a:pt x="3950" y="187"/>
                    <a:pt x="3950" y="187"/>
                    <a:pt x="3950" y="187"/>
                  </a:cubicBezTo>
                  <a:cubicBezTo>
                    <a:pt x="3946" y="188"/>
                    <a:pt x="3946" y="188"/>
                    <a:pt x="3946" y="188"/>
                  </a:cubicBezTo>
                  <a:cubicBezTo>
                    <a:pt x="3947" y="187"/>
                    <a:pt x="3947" y="187"/>
                    <a:pt x="3947" y="187"/>
                  </a:cubicBezTo>
                  <a:cubicBezTo>
                    <a:pt x="3946" y="187"/>
                    <a:pt x="3946" y="187"/>
                    <a:pt x="3946" y="187"/>
                  </a:cubicBezTo>
                  <a:cubicBezTo>
                    <a:pt x="3946" y="188"/>
                    <a:pt x="3946" y="188"/>
                    <a:pt x="3946" y="188"/>
                  </a:cubicBezTo>
                  <a:cubicBezTo>
                    <a:pt x="3947" y="187"/>
                    <a:pt x="3947" y="187"/>
                    <a:pt x="3947" y="187"/>
                  </a:cubicBezTo>
                  <a:cubicBezTo>
                    <a:pt x="3946" y="187"/>
                    <a:pt x="3946" y="187"/>
                    <a:pt x="3946" y="187"/>
                  </a:cubicBezTo>
                  <a:cubicBezTo>
                    <a:pt x="3946" y="187"/>
                    <a:pt x="3946" y="188"/>
                    <a:pt x="3946" y="188"/>
                  </a:cubicBezTo>
                  <a:cubicBezTo>
                    <a:pt x="3946" y="189"/>
                    <a:pt x="3946" y="189"/>
                    <a:pt x="3946" y="190"/>
                  </a:cubicBezTo>
                  <a:cubicBezTo>
                    <a:pt x="3946" y="190"/>
                    <a:pt x="3946" y="191"/>
                    <a:pt x="3946" y="192"/>
                  </a:cubicBezTo>
                  <a:cubicBezTo>
                    <a:pt x="3946" y="192"/>
                    <a:pt x="3946" y="193"/>
                    <a:pt x="3946" y="194"/>
                  </a:cubicBezTo>
                  <a:cubicBezTo>
                    <a:pt x="3946" y="194"/>
                    <a:pt x="3946" y="194"/>
                    <a:pt x="3946" y="194"/>
                  </a:cubicBezTo>
                  <a:cubicBezTo>
                    <a:pt x="3956" y="194"/>
                    <a:pt x="3956" y="194"/>
                    <a:pt x="3956" y="194"/>
                  </a:cubicBezTo>
                  <a:cubicBezTo>
                    <a:pt x="3946" y="194"/>
                    <a:pt x="3946" y="194"/>
                    <a:pt x="3946" y="194"/>
                  </a:cubicBezTo>
                  <a:cubicBezTo>
                    <a:pt x="3946" y="194"/>
                    <a:pt x="3946" y="194"/>
                    <a:pt x="3946" y="194"/>
                  </a:cubicBezTo>
                  <a:cubicBezTo>
                    <a:pt x="3956" y="194"/>
                    <a:pt x="3956" y="194"/>
                    <a:pt x="3956" y="194"/>
                  </a:cubicBezTo>
                  <a:cubicBezTo>
                    <a:pt x="3946" y="194"/>
                    <a:pt x="3946" y="194"/>
                    <a:pt x="3946" y="194"/>
                  </a:cubicBezTo>
                  <a:cubicBezTo>
                    <a:pt x="3955" y="194"/>
                    <a:pt x="3955" y="194"/>
                    <a:pt x="3955" y="194"/>
                  </a:cubicBezTo>
                  <a:cubicBezTo>
                    <a:pt x="3947" y="190"/>
                    <a:pt x="3947" y="190"/>
                    <a:pt x="3947" y="190"/>
                  </a:cubicBezTo>
                  <a:cubicBezTo>
                    <a:pt x="3947" y="191"/>
                    <a:pt x="3946" y="192"/>
                    <a:pt x="3946" y="194"/>
                  </a:cubicBezTo>
                  <a:cubicBezTo>
                    <a:pt x="3955" y="194"/>
                    <a:pt x="3955" y="194"/>
                    <a:pt x="3955" y="194"/>
                  </a:cubicBezTo>
                  <a:cubicBezTo>
                    <a:pt x="3947" y="190"/>
                    <a:pt x="3947" y="190"/>
                    <a:pt x="3947" y="190"/>
                  </a:cubicBezTo>
                  <a:cubicBezTo>
                    <a:pt x="3951" y="192"/>
                    <a:pt x="3951" y="192"/>
                    <a:pt x="3951" y="192"/>
                  </a:cubicBezTo>
                  <a:cubicBezTo>
                    <a:pt x="3947" y="190"/>
                    <a:pt x="3947" y="190"/>
                    <a:pt x="3947" y="190"/>
                  </a:cubicBezTo>
                  <a:cubicBezTo>
                    <a:pt x="3947" y="190"/>
                    <a:pt x="3947" y="190"/>
                    <a:pt x="3947" y="190"/>
                  </a:cubicBezTo>
                  <a:cubicBezTo>
                    <a:pt x="3951" y="192"/>
                    <a:pt x="3951" y="192"/>
                    <a:pt x="3951" y="192"/>
                  </a:cubicBezTo>
                  <a:cubicBezTo>
                    <a:pt x="3947" y="190"/>
                    <a:pt x="3947" y="190"/>
                    <a:pt x="3947" y="190"/>
                  </a:cubicBezTo>
                  <a:cubicBezTo>
                    <a:pt x="3947" y="190"/>
                    <a:pt x="3947" y="190"/>
                    <a:pt x="3947" y="190"/>
                  </a:cubicBezTo>
                  <a:cubicBezTo>
                    <a:pt x="3947" y="190"/>
                    <a:pt x="3947" y="190"/>
                    <a:pt x="3947" y="190"/>
                  </a:cubicBezTo>
                  <a:cubicBezTo>
                    <a:pt x="3947" y="190"/>
                    <a:pt x="3947" y="190"/>
                    <a:pt x="3947" y="190"/>
                  </a:cubicBezTo>
                  <a:cubicBezTo>
                    <a:pt x="3947" y="190"/>
                    <a:pt x="3947" y="190"/>
                    <a:pt x="3947" y="190"/>
                  </a:cubicBezTo>
                  <a:cubicBezTo>
                    <a:pt x="3947" y="190"/>
                    <a:pt x="3947" y="190"/>
                    <a:pt x="3947" y="190"/>
                  </a:cubicBezTo>
                  <a:cubicBezTo>
                    <a:pt x="3947" y="190"/>
                    <a:pt x="3947" y="191"/>
                    <a:pt x="3946" y="192"/>
                  </a:cubicBezTo>
                  <a:cubicBezTo>
                    <a:pt x="3946" y="193"/>
                    <a:pt x="3946" y="193"/>
                    <a:pt x="3945" y="194"/>
                  </a:cubicBezTo>
                  <a:cubicBezTo>
                    <a:pt x="3945" y="195"/>
                    <a:pt x="3945" y="197"/>
                    <a:pt x="3945" y="198"/>
                  </a:cubicBezTo>
                  <a:cubicBezTo>
                    <a:pt x="3945" y="199"/>
                    <a:pt x="3945" y="200"/>
                    <a:pt x="3945" y="200"/>
                  </a:cubicBezTo>
                  <a:cubicBezTo>
                    <a:pt x="3957" y="198"/>
                    <a:pt x="3957" y="198"/>
                    <a:pt x="3957" y="198"/>
                  </a:cubicBezTo>
                  <a:cubicBezTo>
                    <a:pt x="3945" y="200"/>
                    <a:pt x="3945" y="200"/>
                    <a:pt x="3945" y="200"/>
                  </a:cubicBezTo>
                  <a:cubicBezTo>
                    <a:pt x="3945" y="201"/>
                    <a:pt x="3945" y="202"/>
                    <a:pt x="3945" y="203"/>
                  </a:cubicBezTo>
                  <a:cubicBezTo>
                    <a:pt x="3945" y="207"/>
                    <a:pt x="3944" y="211"/>
                    <a:pt x="3943" y="216"/>
                  </a:cubicBezTo>
                  <a:cubicBezTo>
                    <a:pt x="3942" y="221"/>
                    <a:pt x="3941" y="227"/>
                    <a:pt x="3941" y="233"/>
                  </a:cubicBezTo>
                  <a:cubicBezTo>
                    <a:pt x="3941" y="233"/>
                    <a:pt x="3941" y="233"/>
                    <a:pt x="3941" y="233"/>
                  </a:cubicBezTo>
                  <a:cubicBezTo>
                    <a:pt x="3941" y="234"/>
                    <a:pt x="3941" y="234"/>
                    <a:pt x="3941" y="234"/>
                  </a:cubicBezTo>
                  <a:cubicBezTo>
                    <a:pt x="3941" y="246"/>
                    <a:pt x="3943" y="260"/>
                    <a:pt x="3949" y="273"/>
                  </a:cubicBezTo>
                  <a:cubicBezTo>
                    <a:pt x="3949" y="273"/>
                    <a:pt x="3949" y="273"/>
                    <a:pt x="3949" y="273"/>
                  </a:cubicBezTo>
                  <a:cubicBezTo>
                    <a:pt x="3950" y="276"/>
                    <a:pt x="3951" y="280"/>
                    <a:pt x="3953" y="284"/>
                  </a:cubicBezTo>
                  <a:cubicBezTo>
                    <a:pt x="3953" y="284"/>
                    <a:pt x="3953" y="284"/>
                    <a:pt x="3953" y="284"/>
                  </a:cubicBezTo>
                  <a:cubicBezTo>
                    <a:pt x="3954" y="287"/>
                    <a:pt x="3955" y="290"/>
                    <a:pt x="3958" y="292"/>
                  </a:cubicBezTo>
                  <a:cubicBezTo>
                    <a:pt x="3960" y="294"/>
                    <a:pt x="3962" y="295"/>
                    <a:pt x="3964" y="296"/>
                  </a:cubicBezTo>
                  <a:cubicBezTo>
                    <a:pt x="3966" y="297"/>
                    <a:pt x="3968" y="297"/>
                    <a:pt x="3970" y="297"/>
                  </a:cubicBezTo>
                  <a:cubicBezTo>
                    <a:pt x="3974" y="297"/>
                    <a:pt x="3977" y="296"/>
                    <a:pt x="3979" y="295"/>
                  </a:cubicBezTo>
                  <a:cubicBezTo>
                    <a:pt x="3979" y="295"/>
                    <a:pt x="3979" y="295"/>
                    <a:pt x="3979" y="295"/>
                  </a:cubicBezTo>
                  <a:cubicBezTo>
                    <a:pt x="3979" y="295"/>
                    <a:pt x="3979" y="295"/>
                    <a:pt x="3979" y="295"/>
                  </a:cubicBezTo>
                  <a:cubicBezTo>
                    <a:pt x="3980" y="294"/>
                    <a:pt x="3981" y="294"/>
                    <a:pt x="3982" y="293"/>
                  </a:cubicBezTo>
                  <a:cubicBezTo>
                    <a:pt x="3982" y="293"/>
                    <a:pt x="3982" y="293"/>
                    <a:pt x="3982" y="293"/>
                  </a:cubicBezTo>
                  <a:cubicBezTo>
                    <a:pt x="3987" y="290"/>
                    <a:pt x="3992" y="289"/>
                    <a:pt x="3997" y="289"/>
                  </a:cubicBezTo>
                  <a:cubicBezTo>
                    <a:pt x="4002" y="289"/>
                    <a:pt x="4006" y="290"/>
                    <a:pt x="4011" y="292"/>
                  </a:cubicBezTo>
                  <a:cubicBezTo>
                    <a:pt x="4011" y="292"/>
                    <a:pt x="4011" y="292"/>
                    <a:pt x="4011" y="292"/>
                  </a:cubicBezTo>
                  <a:cubicBezTo>
                    <a:pt x="4015" y="293"/>
                    <a:pt x="4019" y="294"/>
                    <a:pt x="4023" y="294"/>
                  </a:cubicBezTo>
                  <a:cubicBezTo>
                    <a:pt x="4027" y="294"/>
                    <a:pt x="4032" y="293"/>
                    <a:pt x="4035" y="291"/>
                  </a:cubicBezTo>
                  <a:cubicBezTo>
                    <a:pt x="4039" y="289"/>
                    <a:pt x="4042" y="287"/>
                    <a:pt x="4045" y="284"/>
                  </a:cubicBezTo>
                  <a:cubicBezTo>
                    <a:pt x="4045" y="284"/>
                    <a:pt x="4045" y="284"/>
                    <a:pt x="4045" y="284"/>
                  </a:cubicBezTo>
                  <a:cubicBezTo>
                    <a:pt x="4047" y="281"/>
                    <a:pt x="4052" y="277"/>
                    <a:pt x="4056" y="274"/>
                  </a:cubicBezTo>
                  <a:cubicBezTo>
                    <a:pt x="4056" y="274"/>
                    <a:pt x="4056" y="274"/>
                    <a:pt x="4056" y="274"/>
                  </a:cubicBezTo>
                  <a:cubicBezTo>
                    <a:pt x="4057" y="273"/>
                    <a:pt x="4058" y="272"/>
                    <a:pt x="4059" y="272"/>
                  </a:cubicBezTo>
                  <a:cubicBezTo>
                    <a:pt x="4060" y="272"/>
                    <a:pt x="4060" y="272"/>
                    <a:pt x="4061" y="272"/>
                  </a:cubicBezTo>
                  <a:cubicBezTo>
                    <a:pt x="4061" y="272"/>
                    <a:pt x="4061" y="272"/>
                    <a:pt x="4061" y="272"/>
                  </a:cubicBezTo>
                  <a:cubicBezTo>
                    <a:pt x="4062" y="272"/>
                    <a:pt x="4062" y="272"/>
                    <a:pt x="4062" y="273"/>
                  </a:cubicBezTo>
                  <a:cubicBezTo>
                    <a:pt x="4062" y="273"/>
                    <a:pt x="4062" y="273"/>
                    <a:pt x="4062" y="273"/>
                  </a:cubicBezTo>
                  <a:cubicBezTo>
                    <a:pt x="4065" y="276"/>
                    <a:pt x="4068" y="278"/>
                    <a:pt x="4071" y="279"/>
                  </a:cubicBezTo>
                  <a:cubicBezTo>
                    <a:pt x="4074" y="281"/>
                    <a:pt x="4076" y="282"/>
                    <a:pt x="4078" y="283"/>
                  </a:cubicBezTo>
                  <a:cubicBezTo>
                    <a:pt x="4084" y="273"/>
                    <a:pt x="4084" y="273"/>
                    <a:pt x="4084" y="273"/>
                  </a:cubicBezTo>
                  <a:cubicBezTo>
                    <a:pt x="4078" y="283"/>
                    <a:pt x="4078" y="283"/>
                    <a:pt x="4078" y="283"/>
                  </a:cubicBezTo>
                  <a:cubicBezTo>
                    <a:pt x="4079" y="284"/>
                    <a:pt x="4081" y="285"/>
                    <a:pt x="4082" y="285"/>
                  </a:cubicBezTo>
                  <a:cubicBezTo>
                    <a:pt x="4083" y="286"/>
                    <a:pt x="4085" y="286"/>
                    <a:pt x="4087" y="286"/>
                  </a:cubicBezTo>
                  <a:cubicBezTo>
                    <a:pt x="4088" y="286"/>
                    <a:pt x="4089" y="286"/>
                    <a:pt x="4091" y="285"/>
                  </a:cubicBezTo>
                  <a:cubicBezTo>
                    <a:pt x="4091" y="285"/>
                    <a:pt x="4091" y="285"/>
                    <a:pt x="4091" y="285"/>
                  </a:cubicBezTo>
                  <a:cubicBezTo>
                    <a:pt x="4091" y="285"/>
                    <a:pt x="4091" y="285"/>
                    <a:pt x="4091" y="285"/>
                  </a:cubicBezTo>
                  <a:cubicBezTo>
                    <a:pt x="4092" y="285"/>
                    <a:pt x="4093" y="285"/>
                    <a:pt x="4093" y="285"/>
                  </a:cubicBezTo>
                  <a:cubicBezTo>
                    <a:pt x="4093" y="285"/>
                    <a:pt x="4093" y="285"/>
                    <a:pt x="4093" y="285"/>
                  </a:cubicBezTo>
                  <a:cubicBezTo>
                    <a:pt x="4093" y="285"/>
                    <a:pt x="4094" y="285"/>
                    <a:pt x="4095" y="286"/>
                  </a:cubicBezTo>
                  <a:cubicBezTo>
                    <a:pt x="4096" y="287"/>
                    <a:pt x="4097" y="288"/>
                    <a:pt x="4098" y="290"/>
                  </a:cubicBezTo>
                  <a:cubicBezTo>
                    <a:pt x="4099" y="290"/>
                    <a:pt x="4099" y="290"/>
                    <a:pt x="4099" y="290"/>
                  </a:cubicBezTo>
                  <a:cubicBezTo>
                    <a:pt x="4098" y="290"/>
                    <a:pt x="4098" y="290"/>
                    <a:pt x="4098" y="290"/>
                  </a:cubicBezTo>
                  <a:cubicBezTo>
                    <a:pt x="4099" y="290"/>
                    <a:pt x="4099" y="291"/>
                    <a:pt x="4099" y="291"/>
                  </a:cubicBezTo>
                  <a:cubicBezTo>
                    <a:pt x="4099" y="291"/>
                    <a:pt x="4099" y="292"/>
                    <a:pt x="4099" y="293"/>
                  </a:cubicBezTo>
                  <a:cubicBezTo>
                    <a:pt x="4099" y="294"/>
                    <a:pt x="4099" y="296"/>
                    <a:pt x="4099" y="298"/>
                  </a:cubicBezTo>
                  <a:cubicBezTo>
                    <a:pt x="4098" y="299"/>
                    <a:pt x="4098" y="302"/>
                    <a:pt x="4098" y="304"/>
                  </a:cubicBezTo>
                  <a:cubicBezTo>
                    <a:pt x="4098" y="304"/>
                    <a:pt x="4098" y="304"/>
                    <a:pt x="4098" y="304"/>
                  </a:cubicBezTo>
                  <a:cubicBezTo>
                    <a:pt x="4102" y="305"/>
                    <a:pt x="4102" y="305"/>
                    <a:pt x="4102" y="305"/>
                  </a:cubicBezTo>
                  <a:cubicBezTo>
                    <a:pt x="4098" y="302"/>
                    <a:pt x="4098" y="302"/>
                    <a:pt x="4098" y="302"/>
                  </a:cubicBezTo>
                  <a:cubicBezTo>
                    <a:pt x="4098" y="303"/>
                    <a:pt x="4098" y="303"/>
                    <a:pt x="4098" y="304"/>
                  </a:cubicBezTo>
                  <a:cubicBezTo>
                    <a:pt x="4102" y="305"/>
                    <a:pt x="4102" y="305"/>
                    <a:pt x="4102" y="305"/>
                  </a:cubicBezTo>
                  <a:cubicBezTo>
                    <a:pt x="4098" y="302"/>
                    <a:pt x="4098" y="302"/>
                    <a:pt x="4098" y="302"/>
                  </a:cubicBezTo>
                  <a:cubicBezTo>
                    <a:pt x="4101" y="304"/>
                    <a:pt x="4101" y="304"/>
                    <a:pt x="4101" y="304"/>
                  </a:cubicBezTo>
                  <a:cubicBezTo>
                    <a:pt x="4099" y="301"/>
                    <a:pt x="4099" y="301"/>
                    <a:pt x="4099" y="301"/>
                  </a:cubicBezTo>
                  <a:cubicBezTo>
                    <a:pt x="4099" y="301"/>
                    <a:pt x="4099" y="301"/>
                    <a:pt x="4098" y="302"/>
                  </a:cubicBezTo>
                  <a:cubicBezTo>
                    <a:pt x="4101" y="304"/>
                    <a:pt x="4101" y="304"/>
                    <a:pt x="4101" y="304"/>
                  </a:cubicBezTo>
                  <a:cubicBezTo>
                    <a:pt x="4099" y="301"/>
                    <a:pt x="4099" y="301"/>
                    <a:pt x="4099" y="301"/>
                  </a:cubicBezTo>
                  <a:cubicBezTo>
                    <a:pt x="4100" y="301"/>
                    <a:pt x="4100" y="301"/>
                    <a:pt x="4100" y="301"/>
                  </a:cubicBezTo>
                  <a:cubicBezTo>
                    <a:pt x="4100" y="301"/>
                    <a:pt x="4100" y="301"/>
                    <a:pt x="4100" y="301"/>
                  </a:cubicBezTo>
                  <a:cubicBezTo>
                    <a:pt x="4099" y="301"/>
                    <a:pt x="4099" y="301"/>
                    <a:pt x="4099" y="301"/>
                  </a:cubicBezTo>
                  <a:cubicBezTo>
                    <a:pt x="4100" y="301"/>
                    <a:pt x="4100" y="301"/>
                    <a:pt x="4100" y="301"/>
                  </a:cubicBezTo>
                  <a:cubicBezTo>
                    <a:pt x="4100" y="301"/>
                    <a:pt x="4100" y="301"/>
                    <a:pt x="4100" y="301"/>
                  </a:cubicBezTo>
                  <a:cubicBezTo>
                    <a:pt x="4099" y="301"/>
                    <a:pt x="4099" y="301"/>
                    <a:pt x="4099" y="301"/>
                  </a:cubicBezTo>
                  <a:cubicBezTo>
                    <a:pt x="4099" y="301"/>
                    <a:pt x="4099" y="301"/>
                    <a:pt x="4099" y="301"/>
                  </a:cubicBezTo>
                  <a:cubicBezTo>
                    <a:pt x="4098" y="301"/>
                    <a:pt x="4097" y="301"/>
                    <a:pt x="4095" y="302"/>
                  </a:cubicBezTo>
                  <a:cubicBezTo>
                    <a:pt x="4094" y="302"/>
                    <a:pt x="4093" y="302"/>
                    <a:pt x="4092" y="303"/>
                  </a:cubicBezTo>
                  <a:cubicBezTo>
                    <a:pt x="4090" y="304"/>
                    <a:pt x="4088" y="305"/>
                    <a:pt x="4086" y="307"/>
                  </a:cubicBezTo>
                  <a:cubicBezTo>
                    <a:pt x="4085" y="309"/>
                    <a:pt x="4084" y="310"/>
                    <a:pt x="4084" y="312"/>
                  </a:cubicBezTo>
                  <a:cubicBezTo>
                    <a:pt x="4083" y="313"/>
                    <a:pt x="4083" y="315"/>
                    <a:pt x="4083" y="316"/>
                  </a:cubicBezTo>
                  <a:cubicBezTo>
                    <a:pt x="4083" y="319"/>
                    <a:pt x="4084" y="322"/>
                    <a:pt x="4085" y="324"/>
                  </a:cubicBezTo>
                  <a:cubicBezTo>
                    <a:pt x="4085" y="324"/>
                    <a:pt x="4085" y="324"/>
                    <a:pt x="4085" y="324"/>
                  </a:cubicBezTo>
                  <a:cubicBezTo>
                    <a:pt x="4086" y="326"/>
                    <a:pt x="4086" y="327"/>
                    <a:pt x="4086" y="328"/>
                  </a:cubicBezTo>
                  <a:cubicBezTo>
                    <a:pt x="4086" y="329"/>
                    <a:pt x="4086" y="330"/>
                    <a:pt x="4086" y="331"/>
                  </a:cubicBezTo>
                  <a:cubicBezTo>
                    <a:pt x="4086" y="332"/>
                    <a:pt x="4085" y="334"/>
                    <a:pt x="4084" y="336"/>
                  </a:cubicBezTo>
                  <a:cubicBezTo>
                    <a:pt x="4084" y="336"/>
                    <a:pt x="4084" y="336"/>
                    <a:pt x="4084" y="336"/>
                  </a:cubicBezTo>
                  <a:cubicBezTo>
                    <a:pt x="4083" y="339"/>
                    <a:pt x="4082" y="341"/>
                    <a:pt x="4082" y="343"/>
                  </a:cubicBezTo>
                  <a:cubicBezTo>
                    <a:pt x="4082" y="346"/>
                    <a:pt x="4083" y="348"/>
                    <a:pt x="4083" y="350"/>
                  </a:cubicBezTo>
                  <a:cubicBezTo>
                    <a:pt x="4084" y="352"/>
                    <a:pt x="4085" y="354"/>
                    <a:pt x="4085" y="355"/>
                  </a:cubicBezTo>
                  <a:cubicBezTo>
                    <a:pt x="4085" y="355"/>
                    <a:pt x="4085" y="355"/>
                    <a:pt x="4085" y="355"/>
                  </a:cubicBezTo>
                  <a:cubicBezTo>
                    <a:pt x="4085" y="355"/>
                    <a:pt x="4085" y="355"/>
                    <a:pt x="4085" y="355"/>
                  </a:cubicBezTo>
                  <a:cubicBezTo>
                    <a:pt x="4086" y="358"/>
                    <a:pt x="4088" y="359"/>
                    <a:pt x="4089" y="361"/>
                  </a:cubicBezTo>
                  <a:cubicBezTo>
                    <a:pt x="4091" y="362"/>
                    <a:pt x="4093" y="363"/>
                    <a:pt x="4095" y="364"/>
                  </a:cubicBezTo>
                  <a:cubicBezTo>
                    <a:pt x="4096" y="365"/>
                    <a:pt x="4098" y="366"/>
                    <a:pt x="4101" y="366"/>
                  </a:cubicBezTo>
                  <a:cubicBezTo>
                    <a:pt x="4101" y="366"/>
                    <a:pt x="4101" y="366"/>
                    <a:pt x="4101" y="366"/>
                  </a:cubicBezTo>
                  <a:cubicBezTo>
                    <a:pt x="4104" y="366"/>
                    <a:pt x="4105" y="367"/>
                    <a:pt x="4106" y="367"/>
                  </a:cubicBezTo>
                  <a:cubicBezTo>
                    <a:pt x="4107" y="368"/>
                    <a:pt x="4107" y="368"/>
                    <a:pt x="4107" y="368"/>
                  </a:cubicBezTo>
                  <a:cubicBezTo>
                    <a:pt x="4107" y="368"/>
                    <a:pt x="4107" y="368"/>
                    <a:pt x="4108" y="369"/>
                  </a:cubicBezTo>
                  <a:cubicBezTo>
                    <a:pt x="4107" y="369"/>
                    <a:pt x="4107" y="369"/>
                    <a:pt x="4107" y="369"/>
                  </a:cubicBezTo>
                  <a:cubicBezTo>
                    <a:pt x="4109" y="372"/>
                    <a:pt x="4111" y="374"/>
                    <a:pt x="4112" y="375"/>
                  </a:cubicBezTo>
                  <a:cubicBezTo>
                    <a:pt x="4114" y="376"/>
                    <a:pt x="4116" y="377"/>
                    <a:pt x="4117" y="377"/>
                  </a:cubicBezTo>
                  <a:cubicBezTo>
                    <a:pt x="4118" y="378"/>
                    <a:pt x="4118" y="378"/>
                    <a:pt x="4118" y="378"/>
                  </a:cubicBezTo>
                  <a:cubicBezTo>
                    <a:pt x="4119" y="378"/>
                    <a:pt x="4119" y="378"/>
                    <a:pt x="4119" y="378"/>
                  </a:cubicBezTo>
                  <a:cubicBezTo>
                    <a:pt x="4119" y="378"/>
                    <a:pt x="4119" y="378"/>
                    <a:pt x="4119" y="378"/>
                  </a:cubicBezTo>
                  <a:cubicBezTo>
                    <a:pt x="4119" y="378"/>
                    <a:pt x="4119" y="378"/>
                    <a:pt x="4119" y="378"/>
                  </a:cubicBezTo>
                  <a:cubicBezTo>
                    <a:pt x="4119" y="378"/>
                    <a:pt x="4119" y="378"/>
                    <a:pt x="4119" y="378"/>
                  </a:cubicBezTo>
                  <a:cubicBezTo>
                    <a:pt x="4120" y="379"/>
                    <a:pt x="4121" y="380"/>
                    <a:pt x="4122" y="381"/>
                  </a:cubicBezTo>
                  <a:cubicBezTo>
                    <a:pt x="4122" y="382"/>
                    <a:pt x="4122" y="382"/>
                    <a:pt x="4122" y="383"/>
                  </a:cubicBezTo>
                  <a:cubicBezTo>
                    <a:pt x="4122" y="384"/>
                    <a:pt x="4122" y="384"/>
                    <a:pt x="4122" y="385"/>
                  </a:cubicBezTo>
                  <a:cubicBezTo>
                    <a:pt x="4122" y="385"/>
                    <a:pt x="4122" y="385"/>
                    <a:pt x="4122" y="385"/>
                  </a:cubicBezTo>
                  <a:cubicBezTo>
                    <a:pt x="4120" y="388"/>
                    <a:pt x="4119" y="391"/>
                    <a:pt x="4119" y="394"/>
                  </a:cubicBezTo>
                  <a:cubicBezTo>
                    <a:pt x="4118" y="397"/>
                    <a:pt x="4118" y="400"/>
                    <a:pt x="4118" y="402"/>
                  </a:cubicBezTo>
                  <a:cubicBezTo>
                    <a:pt x="4118" y="403"/>
                    <a:pt x="4118" y="404"/>
                    <a:pt x="4118" y="404"/>
                  </a:cubicBezTo>
                  <a:cubicBezTo>
                    <a:pt x="4118" y="404"/>
                    <a:pt x="4118" y="404"/>
                    <a:pt x="4118" y="404"/>
                  </a:cubicBezTo>
                  <a:cubicBezTo>
                    <a:pt x="4118" y="405"/>
                    <a:pt x="4118" y="405"/>
                    <a:pt x="4118" y="405"/>
                  </a:cubicBezTo>
                  <a:cubicBezTo>
                    <a:pt x="4118" y="406"/>
                    <a:pt x="4118" y="407"/>
                    <a:pt x="4117" y="408"/>
                  </a:cubicBezTo>
                  <a:cubicBezTo>
                    <a:pt x="4117" y="409"/>
                    <a:pt x="4116" y="411"/>
                    <a:pt x="4115" y="412"/>
                  </a:cubicBezTo>
                  <a:cubicBezTo>
                    <a:pt x="4115" y="412"/>
                    <a:pt x="4115" y="412"/>
                    <a:pt x="4115" y="412"/>
                  </a:cubicBezTo>
                  <a:cubicBezTo>
                    <a:pt x="4112" y="415"/>
                    <a:pt x="4110" y="418"/>
                    <a:pt x="4108" y="422"/>
                  </a:cubicBezTo>
                  <a:cubicBezTo>
                    <a:pt x="4108" y="422"/>
                    <a:pt x="4108" y="422"/>
                    <a:pt x="4108" y="422"/>
                  </a:cubicBezTo>
                  <a:cubicBezTo>
                    <a:pt x="4107" y="423"/>
                    <a:pt x="4106" y="424"/>
                    <a:pt x="4106" y="424"/>
                  </a:cubicBezTo>
                  <a:cubicBezTo>
                    <a:pt x="4105" y="424"/>
                    <a:pt x="4105" y="424"/>
                    <a:pt x="4105" y="424"/>
                  </a:cubicBezTo>
                  <a:cubicBezTo>
                    <a:pt x="4105" y="424"/>
                    <a:pt x="4105" y="424"/>
                    <a:pt x="4105" y="424"/>
                  </a:cubicBezTo>
                  <a:cubicBezTo>
                    <a:pt x="4106" y="425"/>
                    <a:pt x="4106" y="425"/>
                    <a:pt x="4106" y="425"/>
                  </a:cubicBezTo>
                  <a:cubicBezTo>
                    <a:pt x="4105" y="424"/>
                    <a:pt x="4105" y="424"/>
                    <a:pt x="4105" y="424"/>
                  </a:cubicBezTo>
                  <a:cubicBezTo>
                    <a:pt x="4105" y="424"/>
                    <a:pt x="4105" y="424"/>
                    <a:pt x="4105" y="424"/>
                  </a:cubicBezTo>
                  <a:cubicBezTo>
                    <a:pt x="4106" y="425"/>
                    <a:pt x="4106" y="425"/>
                    <a:pt x="4106" y="425"/>
                  </a:cubicBezTo>
                  <a:cubicBezTo>
                    <a:pt x="4105" y="424"/>
                    <a:pt x="4105" y="424"/>
                    <a:pt x="4105" y="424"/>
                  </a:cubicBezTo>
                  <a:cubicBezTo>
                    <a:pt x="4105" y="425"/>
                    <a:pt x="4105" y="425"/>
                    <a:pt x="4105" y="425"/>
                  </a:cubicBezTo>
                  <a:cubicBezTo>
                    <a:pt x="4105" y="424"/>
                    <a:pt x="4105" y="424"/>
                    <a:pt x="4105" y="424"/>
                  </a:cubicBezTo>
                  <a:cubicBezTo>
                    <a:pt x="4105" y="424"/>
                    <a:pt x="4105" y="424"/>
                    <a:pt x="4105" y="424"/>
                  </a:cubicBezTo>
                  <a:cubicBezTo>
                    <a:pt x="4105" y="425"/>
                    <a:pt x="4105" y="425"/>
                    <a:pt x="4105" y="425"/>
                  </a:cubicBezTo>
                  <a:cubicBezTo>
                    <a:pt x="4105" y="424"/>
                    <a:pt x="4105" y="424"/>
                    <a:pt x="4105" y="424"/>
                  </a:cubicBezTo>
                  <a:cubicBezTo>
                    <a:pt x="4105" y="424"/>
                    <a:pt x="4105" y="424"/>
                    <a:pt x="4105" y="424"/>
                  </a:cubicBezTo>
                  <a:cubicBezTo>
                    <a:pt x="4104" y="424"/>
                    <a:pt x="4103" y="424"/>
                    <a:pt x="4102" y="423"/>
                  </a:cubicBezTo>
                  <a:cubicBezTo>
                    <a:pt x="4103" y="423"/>
                    <a:pt x="4103" y="423"/>
                    <a:pt x="4103" y="423"/>
                  </a:cubicBezTo>
                  <a:cubicBezTo>
                    <a:pt x="4103" y="423"/>
                    <a:pt x="4103" y="423"/>
                    <a:pt x="4103" y="423"/>
                  </a:cubicBezTo>
                  <a:cubicBezTo>
                    <a:pt x="4102" y="423"/>
                    <a:pt x="4101" y="422"/>
                    <a:pt x="4100" y="421"/>
                  </a:cubicBezTo>
                  <a:cubicBezTo>
                    <a:pt x="4100" y="421"/>
                    <a:pt x="4100" y="421"/>
                    <a:pt x="4100" y="421"/>
                  </a:cubicBezTo>
                  <a:cubicBezTo>
                    <a:pt x="4097" y="418"/>
                    <a:pt x="4095" y="416"/>
                    <a:pt x="4092" y="413"/>
                  </a:cubicBezTo>
                  <a:cubicBezTo>
                    <a:pt x="4083" y="405"/>
                    <a:pt x="4083" y="405"/>
                    <a:pt x="4083" y="405"/>
                  </a:cubicBezTo>
                  <a:cubicBezTo>
                    <a:pt x="4075" y="415"/>
                    <a:pt x="4075" y="415"/>
                    <a:pt x="4075" y="415"/>
                  </a:cubicBezTo>
                  <a:cubicBezTo>
                    <a:pt x="4072" y="417"/>
                    <a:pt x="4070" y="420"/>
                    <a:pt x="4068" y="422"/>
                  </a:cubicBezTo>
                  <a:cubicBezTo>
                    <a:pt x="4068" y="422"/>
                    <a:pt x="4068" y="422"/>
                    <a:pt x="4068" y="422"/>
                  </a:cubicBezTo>
                  <a:cubicBezTo>
                    <a:pt x="4068" y="422"/>
                    <a:pt x="4068" y="422"/>
                    <a:pt x="4068" y="422"/>
                  </a:cubicBezTo>
                  <a:cubicBezTo>
                    <a:pt x="4068" y="422"/>
                    <a:pt x="4068" y="422"/>
                    <a:pt x="4068" y="422"/>
                  </a:cubicBezTo>
                  <a:cubicBezTo>
                    <a:pt x="4069" y="423"/>
                    <a:pt x="4069" y="423"/>
                    <a:pt x="4069" y="423"/>
                  </a:cubicBezTo>
                  <a:cubicBezTo>
                    <a:pt x="4069" y="422"/>
                    <a:pt x="4069" y="422"/>
                    <a:pt x="4069" y="422"/>
                  </a:cubicBezTo>
                  <a:cubicBezTo>
                    <a:pt x="4068" y="422"/>
                    <a:pt x="4068" y="422"/>
                    <a:pt x="4068" y="422"/>
                  </a:cubicBezTo>
                  <a:cubicBezTo>
                    <a:pt x="4069" y="423"/>
                    <a:pt x="4069" y="423"/>
                    <a:pt x="4069" y="423"/>
                  </a:cubicBezTo>
                  <a:cubicBezTo>
                    <a:pt x="4069" y="422"/>
                    <a:pt x="4069" y="422"/>
                    <a:pt x="4069" y="422"/>
                  </a:cubicBezTo>
                  <a:cubicBezTo>
                    <a:pt x="4071" y="426"/>
                    <a:pt x="4071" y="426"/>
                    <a:pt x="4071" y="426"/>
                  </a:cubicBezTo>
                  <a:cubicBezTo>
                    <a:pt x="4070" y="422"/>
                    <a:pt x="4070" y="422"/>
                    <a:pt x="4070" y="422"/>
                  </a:cubicBezTo>
                  <a:cubicBezTo>
                    <a:pt x="4069" y="422"/>
                    <a:pt x="4069" y="422"/>
                    <a:pt x="4069" y="422"/>
                  </a:cubicBezTo>
                  <a:cubicBezTo>
                    <a:pt x="4071" y="426"/>
                    <a:pt x="4071" y="426"/>
                    <a:pt x="4071" y="426"/>
                  </a:cubicBezTo>
                  <a:cubicBezTo>
                    <a:pt x="4070" y="422"/>
                    <a:pt x="4070" y="422"/>
                    <a:pt x="4070" y="422"/>
                  </a:cubicBezTo>
                  <a:cubicBezTo>
                    <a:pt x="4072" y="427"/>
                    <a:pt x="4072" y="427"/>
                    <a:pt x="4072" y="427"/>
                  </a:cubicBezTo>
                  <a:cubicBezTo>
                    <a:pt x="4072" y="421"/>
                    <a:pt x="4072" y="421"/>
                    <a:pt x="4072" y="421"/>
                  </a:cubicBezTo>
                  <a:cubicBezTo>
                    <a:pt x="4071" y="421"/>
                    <a:pt x="4070" y="421"/>
                    <a:pt x="4070" y="422"/>
                  </a:cubicBezTo>
                  <a:cubicBezTo>
                    <a:pt x="4072" y="427"/>
                    <a:pt x="4072" y="427"/>
                    <a:pt x="4072" y="427"/>
                  </a:cubicBezTo>
                  <a:cubicBezTo>
                    <a:pt x="4072" y="421"/>
                    <a:pt x="4072" y="421"/>
                    <a:pt x="4072" y="421"/>
                  </a:cubicBezTo>
                  <a:cubicBezTo>
                    <a:pt x="4072" y="426"/>
                    <a:pt x="4072" y="426"/>
                    <a:pt x="4072" y="426"/>
                  </a:cubicBezTo>
                  <a:cubicBezTo>
                    <a:pt x="4074" y="422"/>
                    <a:pt x="4074" y="422"/>
                    <a:pt x="4074" y="422"/>
                  </a:cubicBezTo>
                  <a:cubicBezTo>
                    <a:pt x="4074" y="421"/>
                    <a:pt x="4073" y="421"/>
                    <a:pt x="4072" y="421"/>
                  </a:cubicBezTo>
                  <a:cubicBezTo>
                    <a:pt x="4072" y="426"/>
                    <a:pt x="4072" y="426"/>
                    <a:pt x="4072" y="426"/>
                  </a:cubicBezTo>
                  <a:cubicBezTo>
                    <a:pt x="4074" y="422"/>
                    <a:pt x="4074" y="422"/>
                    <a:pt x="4074" y="422"/>
                  </a:cubicBezTo>
                  <a:cubicBezTo>
                    <a:pt x="4074" y="422"/>
                    <a:pt x="4074" y="422"/>
                    <a:pt x="4074" y="422"/>
                  </a:cubicBezTo>
                  <a:cubicBezTo>
                    <a:pt x="4071" y="420"/>
                    <a:pt x="4069" y="419"/>
                    <a:pt x="4069" y="419"/>
                  </a:cubicBezTo>
                  <a:cubicBezTo>
                    <a:pt x="4069" y="419"/>
                    <a:pt x="4069" y="419"/>
                    <a:pt x="4069" y="419"/>
                  </a:cubicBezTo>
                  <a:cubicBezTo>
                    <a:pt x="4069" y="419"/>
                    <a:pt x="4069" y="419"/>
                    <a:pt x="4069" y="419"/>
                  </a:cubicBezTo>
                  <a:cubicBezTo>
                    <a:pt x="4068" y="419"/>
                    <a:pt x="4067" y="418"/>
                    <a:pt x="4065" y="417"/>
                  </a:cubicBezTo>
                  <a:cubicBezTo>
                    <a:pt x="4064" y="416"/>
                    <a:pt x="4063" y="416"/>
                    <a:pt x="4061" y="415"/>
                  </a:cubicBezTo>
                  <a:cubicBezTo>
                    <a:pt x="4060" y="414"/>
                    <a:pt x="4058" y="414"/>
                    <a:pt x="4056" y="414"/>
                  </a:cubicBezTo>
                  <a:cubicBezTo>
                    <a:pt x="4053" y="414"/>
                    <a:pt x="4051" y="415"/>
                    <a:pt x="4049" y="415"/>
                  </a:cubicBezTo>
                  <a:cubicBezTo>
                    <a:pt x="4047" y="416"/>
                    <a:pt x="4045" y="418"/>
                    <a:pt x="4044" y="419"/>
                  </a:cubicBezTo>
                  <a:cubicBezTo>
                    <a:pt x="4044" y="419"/>
                    <a:pt x="4044" y="419"/>
                    <a:pt x="4044" y="419"/>
                  </a:cubicBezTo>
                  <a:cubicBezTo>
                    <a:pt x="4042" y="421"/>
                    <a:pt x="4040" y="423"/>
                    <a:pt x="4038" y="426"/>
                  </a:cubicBezTo>
                  <a:cubicBezTo>
                    <a:pt x="4037" y="427"/>
                    <a:pt x="4036" y="429"/>
                    <a:pt x="4036" y="430"/>
                  </a:cubicBezTo>
                  <a:cubicBezTo>
                    <a:pt x="4035" y="432"/>
                    <a:pt x="4035" y="434"/>
                    <a:pt x="4035" y="436"/>
                  </a:cubicBezTo>
                  <a:cubicBezTo>
                    <a:pt x="4035" y="438"/>
                    <a:pt x="4035" y="440"/>
                    <a:pt x="4036" y="442"/>
                  </a:cubicBezTo>
                  <a:cubicBezTo>
                    <a:pt x="4036" y="444"/>
                    <a:pt x="4037" y="445"/>
                    <a:pt x="4038" y="447"/>
                  </a:cubicBezTo>
                  <a:cubicBezTo>
                    <a:pt x="4038" y="447"/>
                    <a:pt x="4038" y="447"/>
                    <a:pt x="4038" y="447"/>
                  </a:cubicBezTo>
                  <a:cubicBezTo>
                    <a:pt x="4038" y="448"/>
                    <a:pt x="4039" y="450"/>
                    <a:pt x="4041" y="452"/>
                  </a:cubicBezTo>
                  <a:cubicBezTo>
                    <a:pt x="4040" y="452"/>
                    <a:pt x="4040" y="452"/>
                    <a:pt x="4040" y="452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2" y="453"/>
                    <a:pt x="4042" y="453"/>
                    <a:pt x="4042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2" y="453"/>
                    <a:pt x="4042" y="453"/>
                    <a:pt x="4042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2" y="453"/>
                    <a:pt x="4042" y="453"/>
                    <a:pt x="4042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2" y="453"/>
                    <a:pt x="4042" y="453"/>
                    <a:pt x="4042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1" y="453"/>
                  </a:cubicBezTo>
                  <a:cubicBezTo>
                    <a:pt x="4041" y="453"/>
                    <a:pt x="4041" y="453"/>
                    <a:pt x="4040" y="455"/>
                  </a:cubicBezTo>
                  <a:cubicBezTo>
                    <a:pt x="4040" y="455"/>
                    <a:pt x="4040" y="455"/>
                    <a:pt x="4040" y="455"/>
                  </a:cubicBezTo>
                  <a:cubicBezTo>
                    <a:pt x="4038" y="457"/>
                    <a:pt x="4036" y="459"/>
                    <a:pt x="4035" y="462"/>
                  </a:cubicBezTo>
                  <a:cubicBezTo>
                    <a:pt x="4034" y="465"/>
                    <a:pt x="4033" y="468"/>
                    <a:pt x="4033" y="471"/>
                  </a:cubicBezTo>
                  <a:cubicBezTo>
                    <a:pt x="4033" y="472"/>
                    <a:pt x="4033" y="472"/>
                    <a:pt x="4033" y="472"/>
                  </a:cubicBezTo>
                  <a:cubicBezTo>
                    <a:pt x="4045" y="472"/>
                    <a:pt x="4045" y="472"/>
                    <a:pt x="4045" y="472"/>
                  </a:cubicBezTo>
                  <a:cubicBezTo>
                    <a:pt x="4033" y="472"/>
                    <a:pt x="4033" y="472"/>
                    <a:pt x="4033" y="472"/>
                  </a:cubicBezTo>
                  <a:cubicBezTo>
                    <a:pt x="4033" y="474"/>
                    <a:pt x="4034" y="475"/>
                    <a:pt x="4034" y="477"/>
                  </a:cubicBezTo>
                  <a:cubicBezTo>
                    <a:pt x="4034" y="478"/>
                    <a:pt x="4035" y="479"/>
                    <a:pt x="4035" y="481"/>
                  </a:cubicBezTo>
                  <a:cubicBezTo>
                    <a:pt x="4037" y="483"/>
                    <a:pt x="4039" y="485"/>
                    <a:pt x="4041" y="487"/>
                  </a:cubicBezTo>
                  <a:cubicBezTo>
                    <a:pt x="4044" y="488"/>
                    <a:pt x="4046" y="489"/>
                    <a:pt x="4049" y="489"/>
                  </a:cubicBezTo>
                  <a:cubicBezTo>
                    <a:pt x="4051" y="489"/>
                    <a:pt x="4053" y="488"/>
                    <a:pt x="4055" y="487"/>
                  </a:cubicBezTo>
                  <a:cubicBezTo>
                    <a:pt x="4056" y="487"/>
                    <a:pt x="4058" y="486"/>
                    <a:pt x="4059" y="485"/>
                  </a:cubicBezTo>
                  <a:cubicBezTo>
                    <a:pt x="4059" y="485"/>
                    <a:pt x="4059" y="485"/>
                    <a:pt x="4059" y="485"/>
                  </a:cubicBezTo>
                  <a:cubicBezTo>
                    <a:pt x="4060" y="485"/>
                    <a:pt x="4062" y="484"/>
                    <a:pt x="4064" y="483"/>
                  </a:cubicBezTo>
                  <a:cubicBezTo>
                    <a:pt x="4064" y="483"/>
                    <a:pt x="4064" y="483"/>
                    <a:pt x="4064" y="483"/>
                  </a:cubicBezTo>
                  <a:cubicBezTo>
                    <a:pt x="4067" y="482"/>
                    <a:pt x="4071" y="481"/>
                    <a:pt x="4075" y="480"/>
                  </a:cubicBezTo>
                  <a:cubicBezTo>
                    <a:pt x="4079" y="478"/>
                    <a:pt x="4083" y="475"/>
                    <a:pt x="4086" y="471"/>
                  </a:cubicBezTo>
                  <a:cubicBezTo>
                    <a:pt x="4077" y="463"/>
                    <a:pt x="4077" y="463"/>
                    <a:pt x="4077" y="463"/>
                  </a:cubicBezTo>
                  <a:cubicBezTo>
                    <a:pt x="4085" y="472"/>
                    <a:pt x="4085" y="472"/>
                    <a:pt x="4085" y="472"/>
                  </a:cubicBezTo>
                  <a:cubicBezTo>
                    <a:pt x="4086" y="471"/>
                    <a:pt x="4086" y="471"/>
                    <a:pt x="4086" y="471"/>
                  </a:cubicBezTo>
                  <a:cubicBezTo>
                    <a:pt x="4078" y="462"/>
                    <a:pt x="4078" y="462"/>
                    <a:pt x="4078" y="462"/>
                  </a:cubicBezTo>
                  <a:cubicBezTo>
                    <a:pt x="4085" y="472"/>
                    <a:pt x="4085" y="472"/>
                    <a:pt x="4085" y="472"/>
                  </a:cubicBezTo>
                  <a:cubicBezTo>
                    <a:pt x="4086" y="471"/>
                    <a:pt x="4087" y="471"/>
                    <a:pt x="4087" y="471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69"/>
                    <a:pt x="4087" y="469"/>
                    <a:pt x="4087" y="469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69"/>
                    <a:pt x="4087" y="469"/>
                    <a:pt x="4087" y="469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7" y="470"/>
                    <a:pt x="4087" y="470"/>
                    <a:pt x="4087" y="470"/>
                  </a:cubicBezTo>
                  <a:cubicBezTo>
                    <a:pt x="4089" y="467"/>
                    <a:pt x="4089" y="467"/>
                    <a:pt x="4089" y="467"/>
                  </a:cubicBezTo>
                  <a:cubicBezTo>
                    <a:pt x="4086" y="469"/>
                    <a:pt x="4086" y="469"/>
                    <a:pt x="4086" y="469"/>
                  </a:cubicBezTo>
                  <a:cubicBezTo>
                    <a:pt x="4086" y="470"/>
                    <a:pt x="4087" y="470"/>
                    <a:pt x="4087" y="470"/>
                  </a:cubicBezTo>
                  <a:cubicBezTo>
                    <a:pt x="4089" y="467"/>
                    <a:pt x="4089" y="467"/>
                    <a:pt x="4089" y="467"/>
                  </a:cubicBezTo>
                  <a:cubicBezTo>
                    <a:pt x="4086" y="469"/>
                    <a:pt x="4086" y="469"/>
                    <a:pt x="4086" y="469"/>
                  </a:cubicBezTo>
                  <a:cubicBezTo>
                    <a:pt x="4088" y="467"/>
                    <a:pt x="4088" y="467"/>
                    <a:pt x="4088" y="467"/>
                  </a:cubicBezTo>
                  <a:cubicBezTo>
                    <a:pt x="4085" y="468"/>
                    <a:pt x="4085" y="468"/>
                    <a:pt x="4085" y="468"/>
                  </a:cubicBezTo>
                  <a:cubicBezTo>
                    <a:pt x="4085" y="469"/>
                    <a:pt x="4085" y="469"/>
                    <a:pt x="4086" y="469"/>
                  </a:cubicBezTo>
                  <a:cubicBezTo>
                    <a:pt x="4088" y="467"/>
                    <a:pt x="4088" y="467"/>
                    <a:pt x="4088" y="467"/>
                  </a:cubicBezTo>
                  <a:cubicBezTo>
                    <a:pt x="4085" y="468"/>
                    <a:pt x="4085" y="468"/>
                    <a:pt x="4085" y="468"/>
                  </a:cubicBezTo>
                  <a:cubicBezTo>
                    <a:pt x="4086" y="468"/>
                    <a:pt x="4086" y="468"/>
                    <a:pt x="4086" y="468"/>
                  </a:cubicBezTo>
                  <a:cubicBezTo>
                    <a:pt x="4085" y="468"/>
                    <a:pt x="4085" y="468"/>
                    <a:pt x="4085" y="468"/>
                  </a:cubicBezTo>
                  <a:cubicBezTo>
                    <a:pt x="4085" y="468"/>
                    <a:pt x="4085" y="468"/>
                    <a:pt x="4085" y="468"/>
                  </a:cubicBezTo>
                  <a:cubicBezTo>
                    <a:pt x="4086" y="468"/>
                    <a:pt x="4086" y="468"/>
                    <a:pt x="4086" y="468"/>
                  </a:cubicBezTo>
                  <a:cubicBezTo>
                    <a:pt x="4085" y="468"/>
                    <a:pt x="4085" y="468"/>
                    <a:pt x="4085" y="468"/>
                  </a:cubicBezTo>
                  <a:cubicBezTo>
                    <a:pt x="4085" y="468"/>
                    <a:pt x="4085" y="470"/>
                    <a:pt x="4085" y="472"/>
                  </a:cubicBezTo>
                  <a:cubicBezTo>
                    <a:pt x="4085" y="472"/>
                    <a:pt x="4085" y="472"/>
                    <a:pt x="4085" y="472"/>
                  </a:cubicBezTo>
                  <a:cubicBezTo>
                    <a:pt x="4086" y="475"/>
                    <a:pt x="4086" y="478"/>
                    <a:pt x="4086" y="482"/>
                  </a:cubicBezTo>
                  <a:cubicBezTo>
                    <a:pt x="4086" y="486"/>
                    <a:pt x="4087" y="490"/>
                    <a:pt x="4089" y="495"/>
                  </a:cubicBezTo>
                  <a:cubicBezTo>
                    <a:pt x="4089" y="495"/>
                    <a:pt x="4089" y="495"/>
                    <a:pt x="4089" y="495"/>
                  </a:cubicBezTo>
                  <a:cubicBezTo>
                    <a:pt x="4091" y="499"/>
                    <a:pt x="4092" y="502"/>
                    <a:pt x="4092" y="506"/>
                  </a:cubicBezTo>
                  <a:cubicBezTo>
                    <a:pt x="4092" y="507"/>
                    <a:pt x="4092" y="507"/>
                    <a:pt x="4092" y="508"/>
                  </a:cubicBezTo>
                  <a:cubicBezTo>
                    <a:pt x="4092" y="508"/>
                    <a:pt x="4092" y="508"/>
                    <a:pt x="4092" y="508"/>
                  </a:cubicBezTo>
                  <a:cubicBezTo>
                    <a:pt x="4092" y="512"/>
                    <a:pt x="4091" y="516"/>
                    <a:pt x="4090" y="517"/>
                  </a:cubicBezTo>
                  <a:cubicBezTo>
                    <a:pt x="4090" y="517"/>
                    <a:pt x="4090" y="517"/>
                    <a:pt x="4090" y="517"/>
                  </a:cubicBezTo>
                  <a:cubicBezTo>
                    <a:pt x="4086" y="528"/>
                    <a:pt x="4081" y="538"/>
                    <a:pt x="4076" y="549"/>
                  </a:cubicBezTo>
                  <a:cubicBezTo>
                    <a:pt x="4076" y="550"/>
                    <a:pt x="4076" y="550"/>
                    <a:pt x="4076" y="550"/>
                  </a:cubicBezTo>
                  <a:cubicBezTo>
                    <a:pt x="4076" y="550"/>
                    <a:pt x="4076" y="550"/>
                    <a:pt x="4076" y="550"/>
                  </a:cubicBezTo>
                  <a:cubicBezTo>
                    <a:pt x="4076" y="551"/>
                    <a:pt x="4076" y="551"/>
                    <a:pt x="4076" y="551"/>
                  </a:cubicBezTo>
                  <a:cubicBezTo>
                    <a:pt x="4076" y="550"/>
                    <a:pt x="4076" y="550"/>
                    <a:pt x="4076" y="550"/>
                  </a:cubicBezTo>
                  <a:cubicBezTo>
                    <a:pt x="4076" y="550"/>
                    <a:pt x="4076" y="550"/>
                    <a:pt x="4076" y="550"/>
                  </a:cubicBezTo>
                  <a:cubicBezTo>
                    <a:pt x="4076" y="551"/>
                    <a:pt x="4076" y="551"/>
                    <a:pt x="4076" y="551"/>
                  </a:cubicBezTo>
                  <a:cubicBezTo>
                    <a:pt x="4076" y="550"/>
                    <a:pt x="4076" y="550"/>
                    <a:pt x="4076" y="550"/>
                  </a:cubicBezTo>
                  <a:cubicBezTo>
                    <a:pt x="4076" y="551"/>
                    <a:pt x="4076" y="551"/>
                    <a:pt x="4076" y="551"/>
                  </a:cubicBezTo>
                  <a:cubicBezTo>
                    <a:pt x="4076" y="550"/>
                    <a:pt x="4076" y="550"/>
                    <a:pt x="4076" y="550"/>
                  </a:cubicBezTo>
                  <a:cubicBezTo>
                    <a:pt x="4076" y="550"/>
                    <a:pt x="4076" y="550"/>
                    <a:pt x="4076" y="550"/>
                  </a:cubicBezTo>
                  <a:cubicBezTo>
                    <a:pt x="4076" y="551"/>
                    <a:pt x="4076" y="551"/>
                    <a:pt x="4076" y="551"/>
                  </a:cubicBezTo>
                  <a:cubicBezTo>
                    <a:pt x="4076" y="550"/>
                    <a:pt x="4076" y="550"/>
                    <a:pt x="4076" y="550"/>
                  </a:cubicBezTo>
                  <a:cubicBezTo>
                    <a:pt x="4076" y="550"/>
                    <a:pt x="4076" y="550"/>
                    <a:pt x="4075" y="550"/>
                  </a:cubicBezTo>
                  <a:cubicBezTo>
                    <a:pt x="4075" y="550"/>
                    <a:pt x="4075" y="550"/>
                    <a:pt x="4075" y="550"/>
                  </a:cubicBezTo>
                  <a:cubicBezTo>
                    <a:pt x="4075" y="550"/>
                    <a:pt x="4075" y="550"/>
                    <a:pt x="4075" y="550"/>
                  </a:cubicBezTo>
                  <a:cubicBezTo>
                    <a:pt x="4073" y="550"/>
                    <a:pt x="4071" y="550"/>
                    <a:pt x="4068" y="550"/>
                  </a:cubicBezTo>
                  <a:cubicBezTo>
                    <a:pt x="4064" y="550"/>
                    <a:pt x="4060" y="550"/>
                    <a:pt x="4055" y="552"/>
                  </a:cubicBezTo>
                  <a:cubicBezTo>
                    <a:pt x="4050" y="554"/>
                    <a:pt x="4045" y="556"/>
                    <a:pt x="4041" y="561"/>
                  </a:cubicBezTo>
                  <a:cubicBezTo>
                    <a:pt x="4041" y="561"/>
                    <a:pt x="4041" y="561"/>
                    <a:pt x="4041" y="561"/>
                  </a:cubicBezTo>
                  <a:cubicBezTo>
                    <a:pt x="4047" y="567"/>
                    <a:pt x="4047" y="567"/>
                    <a:pt x="4047" y="567"/>
                  </a:cubicBezTo>
                  <a:cubicBezTo>
                    <a:pt x="4044" y="559"/>
                    <a:pt x="4044" y="559"/>
                    <a:pt x="4044" y="559"/>
                  </a:cubicBezTo>
                  <a:cubicBezTo>
                    <a:pt x="4043" y="559"/>
                    <a:pt x="4042" y="559"/>
                    <a:pt x="4041" y="561"/>
                  </a:cubicBezTo>
                  <a:cubicBezTo>
                    <a:pt x="4047" y="567"/>
                    <a:pt x="4047" y="567"/>
                    <a:pt x="4047" y="567"/>
                  </a:cubicBezTo>
                  <a:cubicBezTo>
                    <a:pt x="4044" y="559"/>
                    <a:pt x="4044" y="559"/>
                    <a:pt x="4044" y="559"/>
                  </a:cubicBezTo>
                  <a:cubicBezTo>
                    <a:pt x="4046" y="564"/>
                    <a:pt x="4046" y="564"/>
                    <a:pt x="4046" y="564"/>
                  </a:cubicBezTo>
                  <a:cubicBezTo>
                    <a:pt x="4045" y="558"/>
                    <a:pt x="4045" y="558"/>
                    <a:pt x="4045" y="558"/>
                  </a:cubicBezTo>
                  <a:cubicBezTo>
                    <a:pt x="4045" y="558"/>
                    <a:pt x="4045" y="558"/>
                    <a:pt x="4044" y="559"/>
                  </a:cubicBezTo>
                  <a:cubicBezTo>
                    <a:pt x="4046" y="564"/>
                    <a:pt x="4046" y="564"/>
                    <a:pt x="4046" y="564"/>
                  </a:cubicBezTo>
                  <a:cubicBezTo>
                    <a:pt x="4045" y="558"/>
                    <a:pt x="4045" y="558"/>
                    <a:pt x="4045" y="558"/>
                  </a:cubicBezTo>
                  <a:cubicBezTo>
                    <a:pt x="4046" y="560"/>
                    <a:pt x="4046" y="560"/>
                    <a:pt x="4046" y="560"/>
                  </a:cubicBezTo>
                  <a:cubicBezTo>
                    <a:pt x="4045" y="558"/>
                    <a:pt x="4045" y="558"/>
                    <a:pt x="4045" y="558"/>
                  </a:cubicBezTo>
                  <a:cubicBezTo>
                    <a:pt x="4045" y="558"/>
                    <a:pt x="4045" y="558"/>
                    <a:pt x="4045" y="558"/>
                  </a:cubicBezTo>
                  <a:cubicBezTo>
                    <a:pt x="4046" y="560"/>
                    <a:pt x="4046" y="560"/>
                    <a:pt x="4046" y="560"/>
                  </a:cubicBezTo>
                  <a:cubicBezTo>
                    <a:pt x="4045" y="558"/>
                    <a:pt x="4045" y="558"/>
                    <a:pt x="4045" y="558"/>
                  </a:cubicBezTo>
                  <a:cubicBezTo>
                    <a:pt x="4045" y="558"/>
                    <a:pt x="4045" y="558"/>
                    <a:pt x="4044" y="558"/>
                  </a:cubicBezTo>
                  <a:cubicBezTo>
                    <a:pt x="4043" y="558"/>
                    <a:pt x="4043" y="558"/>
                    <a:pt x="4043" y="558"/>
                  </a:cubicBezTo>
                  <a:cubicBezTo>
                    <a:pt x="4042" y="558"/>
                    <a:pt x="4041" y="558"/>
                    <a:pt x="4040" y="558"/>
                  </a:cubicBezTo>
                  <a:cubicBezTo>
                    <a:pt x="4040" y="558"/>
                    <a:pt x="4040" y="558"/>
                    <a:pt x="4040" y="558"/>
                  </a:cubicBezTo>
                  <a:cubicBezTo>
                    <a:pt x="4039" y="558"/>
                    <a:pt x="4039" y="558"/>
                    <a:pt x="4039" y="558"/>
                  </a:cubicBezTo>
                  <a:cubicBezTo>
                    <a:pt x="4038" y="558"/>
                    <a:pt x="4037" y="558"/>
                    <a:pt x="4036" y="558"/>
                  </a:cubicBezTo>
                  <a:cubicBezTo>
                    <a:pt x="4034" y="558"/>
                    <a:pt x="4032" y="558"/>
                    <a:pt x="4030" y="559"/>
                  </a:cubicBezTo>
                  <a:cubicBezTo>
                    <a:pt x="4030" y="559"/>
                    <a:pt x="4030" y="559"/>
                    <a:pt x="4030" y="559"/>
                  </a:cubicBezTo>
                  <a:cubicBezTo>
                    <a:pt x="4029" y="559"/>
                    <a:pt x="4028" y="559"/>
                    <a:pt x="4027" y="560"/>
                  </a:cubicBezTo>
                  <a:cubicBezTo>
                    <a:pt x="4026" y="560"/>
                    <a:pt x="4025" y="560"/>
                    <a:pt x="4024" y="561"/>
                  </a:cubicBezTo>
                  <a:cubicBezTo>
                    <a:pt x="4023" y="561"/>
                    <a:pt x="4021" y="562"/>
                    <a:pt x="4019" y="565"/>
                  </a:cubicBezTo>
                  <a:cubicBezTo>
                    <a:pt x="4018" y="566"/>
                    <a:pt x="4017" y="567"/>
                    <a:pt x="4016" y="569"/>
                  </a:cubicBezTo>
                  <a:cubicBezTo>
                    <a:pt x="4016" y="570"/>
                    <a:pt x="4015" y="572"/>
                    <a:pt x="4015" y="573"/>
                  </a:cubicBezTo>
                  <a:cubicBezTo>
                    <a:pt x="4015" y="576"/>
                    <a:pt x="4016" y="577"/>
                    <a:pt x="4016" y="578"/>
                  </a:cubicBezTo>
                  <a:cubicBezTo>
                    <a:pt x="4017" y="580"/>
                    <a:pt x="4018" y="581"/>
                    <a:pt x="4018" y="582"/>
                  </a:cubicBezTo>
                  <a:cubicBezTo>
                    <a:pt x="4019" y="584"/>
                    <a:pt x="4020" y="584"/>
                    <a:pt x="4020" y="585"/>
                  </a:cubicBezTo>
                  <a:cubicBezTo>
                    <a:pt x="4020" y="585"/>
                    <a:pt x="4020" y="585"/>
                    <a:pt x="4020" y="585"/>
                  </a:cubicBezTo>
                  <a:cubicBezTo>
                    <a:pt x="4021" y="587"/>
                    <a:pt x="4022" y="588"/>
                    <a:pt x="4023" y="589"/>
                  </a:cubicBezTo>
                  <a:cubicBezTo>
                    <a:pt x="4023" y="589"/>
                    <a:pt x="4023" y="590"/>
                    <a:pt x="4024" y="590"/>
                  </a:cubicBezTo>
                  <a:cubicBezTo>
                    <a:pt x="4024" y="590"/>
                    <a:pt x="4024" y="590"/>
                    <a:pt x="4024" y="590"/>
                  </a:cubicBezTo>
                  <a:cubicBezTo>
                    <a:pt x="4024" y="590"/>
                    <a:pt x="4024" y="590"/>
                    <a:pt x="4024" y="590"/>
                  </a:cubicBezTo>
                  <a:cubicBezTo>
                    <a:pt x="4024" y="590"/>
                    <a:pt x="4024" y="590"/>
                    <a:pt x="4024" y="590"/>
                  </a:cubicBezTo>
                  <a:cubicBezTo>
                    <a:pt x="4024" y="590"/>
                    <a:pt x="4024" y="590"/>
                    <a:pt x="4024" y="590"/>
                  </a:cubicBezTo>
                  <a:cubicBezTo>
                    <a:pt x="4024" y="590"/>
                    <a:pt x="4024" y="590"/>
                    <a:pt x="4024" y="590"/>
                  </a:cubicBezTo>
                  <a:cubicBezTo>
                    <a:pt x="4024" y="590"/>
                    <a:pt x="4024" y="590"/>
                    <a:pt x="4024" y="590"/>
                  </a:cubicBezTo>
                  <a:cubicBezTo>
                    <a:pt x="4024" y="590"/>
                    <a:pt x="4024" y="590"/>
                    <a:pt x="4024" y="590"/>
                  </a:cubicBezTo>
                  <a:cubicBezTo>
                    <a:pt x="4024" y="590"/>
                    <a:pt x="4024" y="590"/>
                    <a:pt x="4024" y="590"/>
                  </a:cubicBezTo>
                  <a:cubicBezTo>
                    <a:pt x="4025" y="590"/>
                    <a:pt x="4025" y="590"/>
                    <a:pt x="4025" y="590"/>
                  </a:cubicBezTo>
                  <a:cubicBezTo>
                    <a:pt x="4024" y="590"/>
                    <a:pt x="4024" y="590"/>
                    <a:pt x="4024" y="590"/>
                  </a:cubicBezTo>
                  <a:cubicBezTo>
                    <a:pt x="4024" y="590"/>
                    <a:pt x="4024" y="590"/>
                    <a:pt x="4024" y="590"/>
                  </a:cubicBezTo>
                  <a:cubicBezTo>
                    <a:pt x="4025" y="590"/>
                    <a:pt x="4025" y="590"/>
                    <a:pt x="4025" y="590"/>
                  </a:cubicBezTo>
                  <a:cubicBezTo>
                    <a:pt x="4024" y="590"/>
                    <a:pt x="4024" y="590"/>
                    <a:pt x="4024" y="590"/>
                  </a:cubicBezTo>
                  <a:cubicBezTo>
                    <a:pt x="4027" y="590"/>
                    <a:pt x="4027" y="590"/>
                    <a:pt x="4027" y="590"/>
                  </a:cubicBezTo>
                  <a:cubicBezTo>
                    <a:pt x="4024" y="588"/>
                    <a:pt x="4024" y="588"/>
                    <a:pt x="4024" y="588"/>
                  </a:cubicBezTo>
                  <a:cubicBezTo>
                    <a:pt x="4024" y="589"/>
                    <a:pt x="4024" y="590"/>
                    <a:pt x="4024" y="590"/>
                  </a:cubicBezTo>
                  <a:cubicBezTo>
                    <a:pt x="4027" y="590"/>
                    <a:pt x="4027" y="590"/>
                    <a:pt x="4027" y="590"/>
                  </a:cubicBezTo>
                  <a:cubicBezTo>
                    <a:pt x="4024" y="588"/>
                    <a:pt x="4024" y="588"/>
                    <a:pt x="4024" y="588"/>
                  </a:cubicBezTo>
                  <a:cubicBezTo>
                    <a:pt x="4027" y="590"/>
                    <a:pt x="4027" y="590"/>
                    <a:pt x="4027" y="590"/>
                  </a:cubicBezTo>
                  <a:cubicBezTo>
                    <a:pt x="4026" y="587"/>
                    <a:pt x="4026" y="587"/>
                    <a:pt x="4026" y="587"/>
                  </a:cubicBezTo>
                  <a:cubicBezTo>
                    <a:pt x="4026" y="587"/>
                    <a:pt x="4025" y="588"/>
                    <a:pt x="4024" y="588"/>
                  </a:cubicBezTo>
                  <a:cubicBezTo>
                    <a:pt x="4027" y="590"/>
                    <a:pt x="4027" y="590"/>
                    <a:pt x="4027" y="590"/>
                  </a:cubicBezTo>
                  <a:cubicBezTo>
                    <a:pt x="4026" y="587"/>
                    <a:pt x="4026" y="587"/>
                    <a:pt x="4026" y="587"/>
                  </a:cubicBezTo>
                  <a:cubicBezTo>
                    <a:pt x="4026" y="587"/>
                    <a:pt x="4026" y="587"/>
                    <a:pt x="4026" y="587"/>
                  </a:cubicBezTo>
                  <a:cubicBezTo>
                    <a:pt x="4024" y="588"/>
                    <a:pt x="4021" y="589"/>
                    <a:pt x="4019" y="590"/>
                  </a:cubicBezTo>
                  <a:cubicBezTo>
                    <a:pt x="4016" y="592"/>
                    <a:pt x="4013" y="595"/>
                    <a:pt x="4011" y="598"/>
                  </a:cubicBezTo>
                  <a:cubicBezTo>
                    <a:pt x="4010" y="601"/>
                    <a:pt x="4009" y="604"/>
                    <a:pt x="4009" y="606"/>
                  </a:cubicBezTo>
                  <a:cubicBezTo>
                    <a:pt x="4009" y="606"/>
                    <a:pt x="4009" y="606"/>
                    <a:pt x="4009" y="606"/>
                  </a:cubicBezTo>
                  <a:cubicBezTo>
                    <a:pt x="4008" y="607"/>
                    <a:pt x="4008" y="608"/>
                    <a:pt x="4008" y="608"/>
                  </a:cubicBezTo>
                  <a:cubicBezTo>
                    <a:pt x="4008" y="608"/>
                    <a:pt x="4008" y="608"/>
                    <a:pt x="4008" y="608"/>
                  </a:cubicBezTo>
                  <a:cubicBezTo>
                    <a:pt x="4010" y="609"/>
                    <a:pt x="4010" y="609"/>
                    <a:pt x="4010" y="609"/>
                  </a:cubicBezTo>
                  <a:cubicBezTo>
                    <a:pt x="4008" y="608"/>
                    <a:pt x="4008" y="608"/>
                    <a:pt x="4008" y="608"/>
                  </a:cubicBezTo>
                  <a:cubicBezTo>
                    <a:pt x="4008" y="608"/>
                    <a:pt x="4008" y="608"/>
                    <a:pt x="4008" y="608"/>
                  </a:cubicBezTo>
                  <a:cubicBezTo>
                    <a:pt x="4010" y="609"/>
                    <a:pt x="4010" y="609"/>
                    <a:pt x="4010" y="609"/>
                  </a:cubicBezTo>
                  <a:cubicBezTo>
                    <a:pt x="4008" y="608"/>
                    <a:pt x="4008" y="608"/>
                    <a:pt x="4008" y="608"/>
                  </a:cubicBezTo>
                  <a:cubicBezTo>
                    <a:pt x="4013" y="611"/>
                    <a:pt x="4013" y="611"/>
                    <a:pt x="4013" y="611"/>
                  </a:cubicBezTo>
                  <a:cubicBezTo>
                    <a:pt x="4009" y="607"/>
                    <a:pt x="4009" y="607"/>
                    <a:pt x="4009" y="607"/>
                  </a:cubicBezTo>
                  <a:cubicBezTo>
                    <a:pt x="4009" y="607"/>
                    <a:pt x="4008" y="608"/>
                    <a:pt x="4008" y="608"/>
                  </a:cubicBezTo>
                  <a:cubicBezTo>
                    <a:pt x="4013" y="611"/>
                    <a:pt x="4013" y="611"/>
                    <a:pt x="4013" y="611"/>
                  </a:cubicBezTo>
                  <a:cubicBezTo>
                    <a:pt x="4009" y="607"/>
                    <a:pt x="4009" y="607"/>
                    <a:pt x="4009" y="607"/>
                  </a:cubicBezTo>
                  <a:cubicBezTo>
                    <a:pt x="4014" y="612"/>
                    <a:pt x="4014" y="612"/>
                    <a:pt x="4014" y="612"/>
                  </a:cubicBezTo>
                  <a:cubicBezTo>
                    <a:pt x="4012" y="605"/>
                    <a:pt x="4012" y="605"/>
                    <a:pt x="4012" y="605"/>
                  </a:cubicBezTo>
                  <a:cubicBezTo>
                    <a:pt x="4012" y="605"/>
                    <a:pt x="4010" y="606"/>
                    <a:pt x="4009" y="607"/>
                  </a:cubicBezTo>
                  <a:cubicBezTo>
                    <a:pt x="4014" y="612"/>
                    <a:pt x="4014" y="612"/>
                    <a:pt x="4014" y="612"/>
                  </a:cubicBezTo>
                  <a:cubicBezTo>
                    <a:pt x="4012" y="605"/>
                    <a:pt x="4012" y="605"/>
                    <a:pt x="4012" y="605"/>
                  </a:cubicBezTo>
                  <a:cubicBezTo>
                    <a:pt x="4013" y="608"/>
                    <a:pt x="4013" y="608"/>
                    <a:pt x="4013" y="608"/>
                  </a:cubicBezTo>
                  <a:cubicBezTo>
                    <a:pt x="4012" y="605"/>
                    <a:pt x="4012" y="605"/>
                    <a:pt x="4012" y="605"/>
                  </a:cubicBezTo>
                  <a:cubicBezTo>
                    <a:pt x="4012" y="605"/>
                    <a:pt x="4012" y="605"/>
                    <a:pt x="4012" y="605"/>
                  </a:cubicBezTo>
                  <a:cubicBezTo>
                    <a:pt x="4013" y="608"/>
                    <a:pt x="4013" y="608"/>
                    <a:pt x="4013" y="608"/>
                  </a:cubicBezTo>
                  <a:cubicBezTo>
                    <a:pt x="4012" y="605"/>
                    <a:pt x="4012" y="605"/>
                    <a:pt x="4012" y="605"/>
                  </a:cubicBezTo>
                  <a:cubicBezTo>
                    <a:pt x="4012" y="605"/>
                    <a:pt x="4012" y="605"/>
                    <a:pt x="4012" y="605"/>
                  </a:cubicBezTo>
                  <a:cubicBezTo>
                    <a:pt x="4012" y="605"/>
                    <a:pt x="4012" y="605"/>
                    <a:pt x="4012" y="605"/>
                  </a:cubicBezTo>
                  <a:cubicBezTo>
                    <a:pt x="4012" y="605"/>
                    <a:pt x="4012" y="605"/>
                    <a:pt x="4012" y="605"/>
                  </a:cubicBezTo>
                  <a:cubicBezTo>
                    <a:pt x="4012" y="605"/>
                    <a:pt x="4012" y="605"/>
                    <a:pt x="4012" y="605"/>
                  </a:cubicBezTo>
                  <a:cubicBezTo>
                    <a:pt x="4012" y="605"/>
                    <a:pt x="4012" y="605"/>
                    <a:pt x="4012" y="605"/>
                  </a:cubicBezTo>
                  <a:cubicBezTo>
                    <a:pt x="4012" y="605"/>
                    <a:pt x="4012" y="605"/>
                    <a:pt x="4011" y="605"/>
                  </a:cubicBezTo>
                  <a:cubicBezTo>
                    <a:pt x="4011" y="605"/>
                    <a:pt x="4010" y="605"/>
                    <a:pt x="4009" y="605"/>
                  </a:cubicBezTo>
                  <a:cubicBezTo>
                    <a:pt x="4009" y="605"/>
                    <a:pt x="4009" y="605"/>
                    <a:pt x="4009" y="605"/>
                  </a:cubicBezTo>
                  <a:cubicBezTo>
                    <a:pt x="4009" y="605"/>
                    <a:pt x="4009" y="605"/>
                    <a:pt x="4009" y="605"/>
                  </a:cubicBezTo>
                  <a:cubicBezTo>
                    <a:pt x="4008" y="605"/>
                    <a:pt x="4008" y="605"/>
                    <a:pt x="4008" y="605"/>
                  </a:cubicBezTo>
                  <a:cubicBezTo>
                    <a:pt x="4006" y="605"/>
                    <a:pt x="4005" y="605"/>
                    <a:pt x="4004" y="606"/>
                  </a:cubicBezTo>
                  <a:cubicBezTo>
                    <a:pt x="4002" y="606"/>
                    <a:pt x="4001" y="607"/>
                    <a:pt x="3999" y="608"/>
                  </a:cubicBezTo>
                  <a:cubicBezTo>
                    <a:pt x="3998" y="608"/>
                    <a:pt x="3997" y="609"/>
                    <a:pt x="3996" y="610"/>
                  </a:cubicBezTo>
                  <a:cubicBezTo>
                    <a:pt x="3996" y="610"/>
                    <a:pt x="3995" y="611"/>
                    <a:pt x="3994" y="613"/>
                  </a:cubicBezTo>
                  <a:cubicBezTo>
                    <a:pt x="3994" y="613"/>
                    <a:pt x="3994" y="613"/>
                    <a:pt x="3994" y="613"/>
                  </a:cubicBezTo>
                  <a:cubicBezTo>
                    <a:pt x="3994" y="613"/>
                    <a:pt x="3994" y="613"/>
                    <a:pt x="3994" y="613"/>
                  </a:cubicBezTo>
                  <a:cubicBezTo>
                    <a:pt x="3991" y="618"/>
                    <a:pt x="3990" y="621"/>
                    <a:pt x="3989" y="624"/>
                  </a:cubicBezTo>
                  <a:cubicBezTo>
                    <a:pt x="3989" y="624"/>
                    <a:pt x="3989" y="624"/>
                    <a:pt x="3989" y="624"/>
                  </a:cubicBezTo>
                  <a:cubicBezTo>
                    <a:pt x="3988" y="626"/>
                    <a:pt x="3987" y="627"/>
                    <a:pt x="3987" y="627"/>
                  </a:cubicBezTo>
                  <a:cubicBezTo>
                    <a:pt x="3987" y="627"/>
                    <a:pt x="3987" y="627"/>
                    <a:pt x="3987" y="627"/>
                  </a:cubicBezTo>
                  <a:cubicBezTo>
                    <a:pt x="3987" y="627"/>
                    <a:pt x="3987" y="627"/>
                    <a:pt x="3987" y="627"/>
                  </a:cubicBezTo>
                  <a:cubicBezTo>
                    <a:pt x="3987" y="627"/>
                    <a:pt x="3987" y="627"/>
                    <a:pt x="3987" y="627"/>
                  </a:cubicBezTo>
                  <a:cubicBezTo>
                    <a:pt x="3984" y="628"/>
                    <a:pt x="3982" y="630"/>
                    <a:pt x="3980" y="631"/>
                  </a:cubicBezTo>
                  <a:cubicBezTo>
                    <a:pt x="3977" y="633"/>
                    <a:pt x="3976" y="635"/>
                    <a:pt x="3974" y="637"/>
                  </a:cubicBezTo>
                  <a:cubicBezTo>
                    <a:pt x="3973" y="639"/>
                    <a:pt x="3972" y="641"/>
                    <a:pt x="3971" y="641"/>
                  </a:cubicBezTo>
                  <a:cubicBezTo>
                    <a:pt x="3971" y="641"/>
                    <a:pt x="3971" y="641"/>
                    <a:pt x="3971" y="641"/>
                  </a:cubicBezTo>
                  <a:cubicBezTo>
                    <a:pt x="3968" y="645"/>
                    <a:pt x="3965" y="648"/>
                    <a:pt x="3963" y="650"/>
                  </a:cubicBezTo>
                  <a:cubicBezTo>
                    <a:pt x="3963" y="650"/>
                    <a:pt x="3963" y="650"/>
                    <a:pt x="3963" y="650"/>
                  </a:cubicBezTo>
                  <a:cubicBezTo>
                    <a:pt x="3963" y="650"/>
                    <a:pt x="3963" y="650"/>
                    <a:pt x="3963" y="650"/>
                  </a:cubicBezTo>
                  <a:cubicBezTo>
                    <a:pt x="3963" y="650"/>
                    <a:pt x="3963" y="650"/>
                    <a:pt x="3963" y="650"/>
                  </a:cubicBezTo>
                  <a:cubicBezTo>
                    <a:pt x="3965" y="653"/>
                    <a:pt x="3965" y="653"/>
                    <a:pt x="3965" y="653"/>
                  </a:cubicBezTo>
                  <a:cubicBezTo>
                    <a:pt x="3964" y="650"/>
                    <a:pt x="3964" y="650"/>
                    <a:pt x="3964" y="650"/>
                  </a:cubicBezTo>
                  <a:cubicBezTo>
                    <a:pt x="3963" y="650"/>
                    <a:pt x="3963" y="650"/>
                    <a:pt x="3963" y="650"/>
                  </a:cubicBezTo>
                  <a:cubicBezTo>
                    <a:pt x="3965" y="653"/>
                    <a:pt x="3965" y="653"/>
                    <a:pt x="3965" y="653"/>
                  </a:cubicBezTo>
                  <a:cubicBezTo>
                    <a:pt x="3964" y="650"/>
                    <a:pt x="3964" y="650"/>
                    <a:pt x="3964" y="650"/>
                  </a:cubicBezTo>
                  <a:cubicBezTo>
                    <a:pt x="3966" y="656"/>
                    <a:pt x="3966" y="656"/>
                    <a:pt x="3966" y="656"/>
                  </a:cubicBezTo>
                  <a:cubicBezTo>
                    <a:pt x="3966" y="650"/>
                    <a:pt x="3966" y="650"/>
                    <a:pt x="3966" y="650"/>
                  </a:cubicBezTo>
                  <a:cubicBezTo>
                    <a:pt x="3965" y="650"/>
                    <a:pt x="3964" y="650"/>
                    <a:pt x="3964" y="650"/>
                  </a:cubicBezTo>
                  <a:cubicBezTo>
                    <a:pt x="3966" y="656"/>
                    <a:pt x="3966" y="656"/>
                    <a:pt x="3966" y="656"/>
                  </a:cubicBezTo>
                  <a:cubicBezTo>
                    <a:pt x="3966" y="650"/>
                    <a:pt x="3966" y="650"/>
                    <a:pt x="3966" y="650"/>
                  </a:cubicBezTo>
                  <a:cubicBezTo>
                    <a:pt x="3966" y="657"/>
                    <a:pt x="3966" y="657"/>
                    <a:pt x="3966" y="657"/>
                  </a:cubicBezTo>
                  <a:cubicBezTo>
                    <a:pt x="3969" y="650"/>
                    <a:pt x="3969" y="650"/>
                    <a:pt x="3969" y="650"/>
                  </a:cubicBezTo>
                  <a:cubicBezTo>
                    <a:pt x="3969" y="650"/>
                    <a:pt x="3967" y="650"/>
                    <a:pt x="3966" y="650"/>
                  </a:cubicBezTo>
                  <a:cubicBezTo>
                    <a:pt x="3966" y="657"/>
                    <a:pt x="3966" y="657"/>
                    <a:pt x="3966" y="657"/>
                  </a:cubicBezTo>
                  <a:cubicBezTo>
                    <a:pt x="3969" y="650"/>
                    <a:pt x="3969" y="650"/>
                    <a:pt x="3969" y="650"/>
                  </a:cubicBezTo>
                  <a:cubicBezTo>
                    <a:pt x="3967" y="655"/>
                    <a:pt x="3967" y="655"/>
                    <a:pt x="3967" y="655"/>
                  </a:cubicBezTo>
                  <a:cubicBezTo>
                    <a:pt x="3971" y="651"/>
                    <a:pt x="3971" y="651"/>
                    <a:pt x="3971" y="651"/>
                  </a:cubicBezTo>
                  <a:cubicBezTo>
                    <a:pt x="3971" y="651"/>
                    <a:pt x="3970" y="651"/>
                    <a:pt x="3969" y="650"/>
                  </a:cubicBezTo>
                  <a:cubicBezTo>
                    <a:pt x="3967" y="655"/>
                    <a:pt x="3967" y="655"/>
                    <a:pt x="3967" y="655"/>
                  </a:cubicBezTo>
                  <a:cubicBezTo>
                    <a:pt x="3971" y="651"/>
                    <a:pt x="3971" y="651"/>
                    <a:pt x="3971" y="651"/>
                  </a:cubicBezTo>
                  <a:cubicBezTo>
                    <a:pt x="3970" y="650"/>
                    <a:pt x="3968" y="649"/>
                    <a:pt x="3966" y="648"/>
                  </a:cubicBezTo>
                  <a:cubicBezTo>
                    <a:pt x="3964" y="647"/>
                    <a:pt x="3961" y="646"/>
                    <a:pt x="3959" y="646"/>
                  </a:cubicBezTo>
                  <a:cubicBezTo>
                    <a:pt x="3957" y="646"/>
                    <a:pt x="3955" y="646"/>
                    <a:pt x="3953" y="647"/>
                  </a:cubicBezTo>
                  <a:cubicBezTo>
                    <a:pt x="3951" y="648"/>
                    <a:pt x="3949" y="649"/>
                    <a:pt x="3948" y="650"/>
                  </a:cubicBezTo>
                  <a:cubicBezTo>
                    <a:pt x="3947" y="651"/>
                    <a:pt x="3946" y="652"/>
                    <a:pt x="3945" y="653"/>
                  </a:cubicBezTo>
                  <a:cubicBezTo>
                    <a:pt x="3945" y="653"/>
                    <a:pt x="3945" y="653"/>
                    <a:pt x="3945" y="653"/>
                  </a:cubicBezTo>
                  <a:cubicBezTo>
                    <a:pt x="3945" y="653"/>
                    <a:pt x="3945" y="653"/>
                    <a:pt x="3945" y="653"/>
                  </a:cubicBezTo>
                  <a:cubicBezTo>
                    <a:pt x="3941" y="658"/>
                    <a:pt x="3936" y="664"/>
                    <a:pt x="3931" y="671"/>
                  </a:cubicBezTo>
                  <a:cubicBezTo>
                    <a:pt x="3931" y="671"/>
                    <a:pt x="3931" y="671"/>
                    <a:pt x="3931" y="671"/>
                  </a:cubicBezTo>
                  <a:cubicBezTo>
                    <a:pt x="3930" y="672"/>
                    <a:pt x="3929" y="674"/>
                    <a:pt x="3929" y="675"/>
                  </a:cubicBezTo>
                  <a:cubicBezTo>
                    <a:pt x="3928" y="675"/>
                    <a:pt x="3928" y="676"/>
                    <a:pt x="3928" y="676"/>
                  </a:cubicBezTo>
                  <a:cubicBezTo>
                    <a:pt x="3928" y="676"/>
                    <a:pt x="3928" y="676"/>
                    <a:pt x="3928" y="676"/>
                  </a:cubicBezTo>
                  <a:cubicBezTo>
                    <a:pt x="3929" y="677"/>
                    <a:pt x="3929" y="677"/>
                    <a:pt x="3929" y="677"/>
                  </a:cubicBezTo>
                  <a:cubicBezTo>
                    <a:pt x="3928" y="676"/>
                    <a:pt x="3928" y="676"/>
                    <a:pt x="3928" y="676"/>
                  </a:cubicBezTo>
                  <a:cubicBezTo>
                    <a:pt x="3928" y="676"/>
                    <a:pt x="3928" y="676"/>
                    <a:pt x="3928" y="676"/>
                  </a:cubicBezTo>
                  <a:cubicBezTo>
                    <a:pt x="3929" y="677"/>
                    <a:pt x="3929" y="677"/>
                    <a:pt x="3929" y="677"/>
                  </a:cubicBezTo>
                  <a:cubicBezTo>
                    <a:pt x="3928" y="676"/>
                    <a:pt x="3928" y="676"/>
                    <a:pt x="3928" y="676"/>
                  </a:cubicBezTo>
                  <a:cubicBezTo>
                    <a:pt x="3932" y="679"/>
                    <a:pt x="3932" y="679"/>
                    <a:pt x="3932" y="679"/>
                  </a:cubicBezTo>
                  <a:cubicBezTo>
                    <a:pt x="3930" y="675"/>
                    <a:pt x="3930" y="675"/>
                    <a:pt x="3930" y="675"/>
                  </a:cubicBezTo>
                  <a:cubicBezTo>
                    <a:pt x="3929" y="675"/>
                    <a:pt x="3928" y="676"/>
                    <a:pt x="3928" y="676"/>
                  </a:cubicBezTo>
                  <a:cubicBezTo>
                    <a:pt x="3932" y="679"/>
                    <a:pt x="3932" y="679"/>
                    <a:pt x="3932" y="679"/>
                  </a:cubicBezTo>
                  <a:cubicBezTo>
                    <a:pt x="3930" y="675"/>
                    <a:pt x="3930" y="675"/>
                    <a:pt x="3930" y="675"/>
                  </a:cubicBezTo>
                  <a:cubicBezTo>
                    <a:pt x="3932" y="679"/>
                    <a:pt x="3932" y="679"/>
                    <a:pt x="3932" y="679"/>
                  </a:cubicBezTo>
                  <a:cubicBezTo>
                    <a:pt x="3932" y="674"/>
                    <a:pt x="3932" y="674"/>
                    <a:pt x="3932" y="674"/>
                  </a:cubicBezTo>
                  <a:cubicBezTo>
                    <a:pt x="3931" y="674"/>
                    <a:pt x="3930" y="674"/>
                    <a:pt x="3930" y="675"/>
                  </a:cubicBezTo>
                  <a:cubicBezTo>
                    <a:pt x="3932" y="679"/>
                    <a:pt x="3932" y="679"/>
                    <a:pt x="3932" y="679"/>
                  </a:cubicBezTo>
                  <a:cubicBezTo>
                    <a:pt x="3932" y="674"/>
                    <a:pt x="3932" y="674"/>
                    <a:pt x="3932" y="674"/>
                  </a:cubicBezTo>
                  <a:cubicBezTo>
                    <a:pt x="3932" y="686"/>
                    <a:pt x="3932" y="686"/>
                    <a:pt x="3932" y="686"/>
                  </a:cubicBezTo>
                  <a:cubicBezTo>
                    <a:pt x="3932" y="674"/>
                    <a:pt x="3932" y="674"/>
                    <a:pt x="3932" y="674"/>
                  </a:cubicBezTo>
                  <a:cubicBezTo>
                    <a:pt x="3930" y="674"/>
                    <a:pt x="3929" y="675"/>
                    <a:pt x="3928" y="675"/>
                  </a:cubicBezTo>
                  <a:cubicBezTo>
                    <a:pt x="3926" y="676"/>
                    <a:pt x="3925" y="676"/>
                    <a:pt x="3924" y="677"/>
                  </a:cubicBezTo>
                  <a:cubicBezTo>
                    <a:pt x="3923" y="678"/>
                    <a:pt x="3922" y="679"/>
                    <a:pt x="3921" y="681"/>
                  </a:cubicBezTo>
                  <a:cubicBezTo>
                    <a:pt x="3920" y="681"/>
                    <a:pt x="3920" y="682"/>
                    <a:pt x="3919" y="683"/>
                  </a:cubicBezTo>
                  <a:cubicBezTo>
                    <a:pt x="3919" y="684"/>
                    <a:pt x="3918" y="686"/>
                    <a:pt x="3918" y="688"/>
                  </a:cubicBezTo>
                  <a:cubicBezTo>
                    <a:pt x="3918" y="688"/>
                    <a:pt x="3918" y="689"/>
                    <a:pt x="3918" y="690"/>
                  </a:cubicBezTo>
                  <a:cubicBezTo>
                    <a:pt x="3930" y="688"/>
                    <a:pt x="3930" y="688"/>
                    <a:pt x="3930" y="688"/>
                  </a:cubicBezTo>
                  <a:cubicBezTo>
                    <a:pt x="3918" y="689"/>
                    <a:pt x="3918" y="689"/>
                    <a:pt x="3918" y="689"/>
                  </a:cubicBezTo>
                  <a:cubicBezTo>
                    <a:pt x="3919" y="691"/>
                    <a:pt x="3919" y="694"/>
                    <a:pt x="3919" y="698"/>
                  </a:cubicBezTo>
                  <a:cubicBezTo>
                    <a:pt x="3919" y="700"/>
                    <a:pt x="3919" y="702"/>
                    <a:pt x="3920" y="704"/>
                  </a:cubicBezTo>
                  <a:cubicBezTo>
                    <a:pt x="3920" y="707"/>
                    <a:pt x="3921" y="709"/>
                    <a:pt x="3922" y="711"/>
                  </a:cubicBezTo>
                  <a:cubicBezTo>
                    <a:pt x="3922" y="711"/>
                    <a:pt x="3922" y="711"/>
                    <a:pt x="3922" y="711"/>
                  </a:cubicBezTo>
                  <a:cubicBezTo>
                    <a:pt x="3923" y="713"/>
                    <a:pt x="3924" y="714"/>
                    <a:pt x="3924" y="715"/>
                  </a:cubicBezTo>
                  <a:cubicBezTo>
                    <a:pt x="3924" y="715"/>
                    <a:pt x="3924" y="715"/>
                    <a:pt x="3924" y="715"/>
                  </a:cubicBezTo>
                  <a:cubicBezTo>
                    <a:pt x="3925" y="715"/>
                    <a:pt x="3925" y="715"/>
                    <a:pt x="3925" y="715"/>
                  </a:cubicBezTo>
                  <a:cubicBezTo>
                    <a:pt x="3924" y="715"/>
                    <a:pt x="3924" y="715"/>
                    <a:pt x="3924" y="715"/>
                  </a:cubicBezTo>
                  <a:cubicBezTo>
                    <a:pt x="3924" y="715"/>
                    <a:pt x="3924" y="715"/>
                    <a:pt x="3924" y="715"/>
                  </a:cubicBezTo>
                  <a:cubicBezTo>
                    <a:pt x="3925" y="715"/>
                    <a:pt x="3925" y="715"/>
                    <a:pt x="3925" y="715"/>
                  </a:cubicBezTo>
                  <a:cubicBezTo>
                    <a:pt x="3924" y="715"/>
                    <a:pt x="3924" y="715"/>
                    <a:pt x="3924" y="715"/>
                  </a:cubicBezTo>
                  <a:cubicBezTo>
                    <a:pt x="3926" y="715"/>
                    <a:pt x="3926" y="715"/>
                    <a:pt x="3926" y="715"/>
                  </a:cubicBezTo>
                  <a:cubicBezTo>
                    <a:pt x="3924" y="715"/>
                    <a:pt x="3924" y="715"/>
                    <a:pt x="3924" y="715"/>
                  </a:cubicBezTo>
                  <a:cubicBezTo>
                    <a:pt x="3924" y="715"/>
                    <a:pt x="3924" y="715"/>
                    <a:pt x="3924" y="715"/>
                  </a:cubicBezTo>
                  <a:cubicBezTo>
                    <a:pt x="3926" y="715"/>
                    <a:pt x="3926" y="715"/>
                    <a:pt x="3926" y="715"/>
                  </a:cubicBezTo>
                  <a:cubicBezTo>
                    <a:pt x="3924" y="715"/>
                    <a:pt x="3924" y="715"/>
                    <a:pt x="3924" y="715"/>
                  </a:cubicBezTo>
                  <a:cubicBezTo>
                    <a:pt x="3924" y="715"/>
                    <a:pt x="3924" y="715"/>
                    <a:pt x="3924" y="715"/>
                  </a:cubicBezTo>
                  <a:cubicBezTo>
                    <a:pt x="3924" y="715"/>
                    <a:pt x="3924" y="715"/>
                    <a:pt x="3924" y="715"/>
                  </a:cubicBezTo>
                  <a:cubicBezTo>
                    <a:pt x="3924" y="715"/>
                    <a:pt x="3924" y="715"/>
                    <a:pt x="3924" y="715"/>
                  </a:cubicBezTo>
                  <a:cubicBezTo>
                    <a:pt x="3922" y="719"/>
                    <a:pt x="3920" y="721"/>
                    <a:pt x="3919" y="722"/>
                  </a:cubicBezTo>
                  <a:cubicBezTo>
                    <a:pt x="3919" y="723"/>
                    <a:pt x="3918" y="723"/>
                    <a:pt x="3918" y="723"/>
                  </a:cubicBezTo>
                  <a:cubicBezTo>
                    <a:pt x="3918" y="723"/>
                    <a:pt x="3918" y="723"/>
                    <a:pt x="3917" y="723"/>
                  </a:cubicBezTo>
                  <a:cubicBezTo>
                    <a:pt x="3917" y="725"/>
                    <a:pt x="3917" y="725"/>
                    <a:pt x="3917" y="725"/>
                  </a:cubicBezTo>
                  <a:cubicBezTo>
                    <a:pt x="3917" y="723"/>
                    <a:pt x="3917" y="723"/>
                    <a:pt x="3917" y="723"/>
                  </a:cubicBezTo>
                  <a:cubicBezTo>
                    <a:pt x="3917" y="723"/>
                    <a:pt x="3917" y="723"/>
                    <a:pt x="3917" y="723"/>
                  </a:cubicBezTo>
                  <a:cubicBezTo>
                    <a:pt x="3917" y="725"/>
                    <a:pt x="3917" y="725"/>
                    <a:pt x="3917" y="725"/>
                  </a:cubicBezTo>
                  <a:cubicBezTo>
                    <a:pt x="3917" y="723"/>
                    <a:pt x="3917" y="723"/>
                    <a:pt x="3917" y="723"/>
                  </a:cubicBezTo>
                  <a:cubicBezTo>
                    <a:pt x="3917" y="723"/>
                    <a:pt x="3916" y="723"/>
                    <a:pt x="3916" y="724"/>
                  </a:cubicBezTo>
                  <a:cubicBezTo>
                    <a:pt x="3915" y="724"/>
                    <a:pt x="3914" y="724"/>
                    <a:pt x="3912" y="724"/>
                  </a:cubicBezTo>
                  <a:cubicBezTo>
                    <a:pt x="3915" y="736"/>
                    <a:pt x="3915" y="736"/>
                    <a:pt x="3915" y="736"/>
                  </a:cubicBezTo>
                  <a:cubicBezTo>
                    <a:pt x="3912" y="724"/>
                    <a:pt x="3912" y="724"/>
                    <a:pt x="3912" y="724"/>
                  </a:cubicBezTo>
                  <a:cubicBezTo>
                    <a:pt x="3910" y="724"/>
                    <a:pt x="3908" y="725"/>
                    <a:pt x="3906" y="726"/>
                  </a:cubicBezTo>
                  <a:cubicBezTo>
                    <a:pt x="3903" y="728"/>
                    <a:pt x="3900" y="730"/>
                    <a:pt x="3898" y="734"/>
                  </a:cubicBezTo>
                  <a:cubicBezTo>
                    <a:pt x="3895" y="737"/>
                    <a:pt x="3895" y="741"/>
                    <a:pt x="3895" y="744"/>
                  </a:cubicBezTo>
                  <a:cubicBezTo>
                    <a:pt x="3895" y="746"/>
                    <a:pt x="3895" y="748"/>
                    <a:pt x="3895" y="750"/>
                  </a:cubicBezTo>
                  <a:cubicBezTo>
                    <a:pt x="3899" y="765"/>
                    <a:pt x="3902" y="780"/>
                    <a:pt x="3905" y="795"/>
                  </a:cubicBezTo>
                  <a:cubicBezTo>
                    <a:pt x="3905" y="795"/>
                    <a:pt x="3905" y="795"/>
                    <a:pt x="3905" y="795"/>
                  </a:cubicBezTo>
                  <a:cubicBezTo>
                    <a:pt x="3905" y="796"/>
                    <a:pt x="3905" y="797"/>
                    <a:pt x="3905" y="798"/>
                  </a:cubicBezTo>
                  <a:cubicBezTo>
                    <a:pt x="3905" y="800"/>
                    <a:pt x="3905" y="803"/>
                    <a:pt x="3904" y="806"/>
                  </a:cubicBezTo>
                  <a:cubicBezTo>
                    <a:pt x="3904" y="806"/>
                    <a:pt x="3904" y="806"/>
                    <a:pt x="3904" y="806"/>
                  </a:cubicBezTo>
                  <a:cubicBezTo>
                    <a:pt x="3907" y="807"/>
                    <a:pt x="3907" y="807"/>
                    <a:pt x="3907" y="807"/>
                  </a:cubicBezTo>
                  <a:cubicBezTo>
                    <a:pt x="3905" y="806"/>
                    <a:pt x="3905" y="806"/>
                    <a:pt x="3905" y="806"/>
                  </a:cubicBezTo>
                  <a:cubicBezTo>
                    <a:pt x="3904" y="806"/>
                    <a:pt x="3904" y="806"/>
                    <a:pt x="3904" y="806"/>
                  </a:cubicBezTo>
                  <a:cubicBezTo>
                    <a:pt x="3907" y="807"/>
                    <a:pt x="3907" y="807"/>
                    <a:pt x="3907" y="807"/>
                  </a:cubicBezTo>
                  <a:cubicBezTo>
                    <a:pt x="3905" y="806"/>
                    <a:pt x="3905" y="806"/>
                    <a:pt x="3905" y="806"/>
                  </a:cubicBezTo>
                  <a:cubicBezTo>
                    <a:pt x="3907" y="807"/>
                    <a:pt x="3907" y="807"/>
                    <a:pt x="3907" y="807"/>
                  </a:cubicBezTo>
                  <a:cubicBezTo>
                    <a:pt x="3905" y="805"/>
                    <a:pt x="3905" y="805"/>
                    <a:pt x="3905" y="805"/>
                  </a:cubicBezTo>
                  <a:cubicBezTo>
                    <a:pt x="3905" y="806"/>
                    <a:pt x="3905" y="806"/>
                    <a:pt x="3905" y="806"/>
                  </a:cubicBezTo>
                  <a:cubicBezTo>
                    <a:pt x="3907" y="807"/>
                    <a:pt x="3907" y="807"/>
                    <a:pt x="3907" y="807"/>
                  </a:cubicBezTo>
                  <a:cubicBezTo>
                    <a:pt x="3905" y="805"/>
                    <a:pt x="3905" y="805"/>
                    <a:pt x="3905" y="805"/>
                  </a:cubicBezTo>
                  <a:cubicBezTo>
                    <a:pt x="3905" y="805"/>
                    <a:pt x="3905" y="805"/>
                    <a:pt x="3905" y="805"/>
                  </a:cubicBezTo>
                  <a:cubicBezTo>
                    <a:pt x="3905" y="805"/>
                    <a:pt x="3905" y="805"/>
                    <a:pt x="3905" y="805"/>
                  </a:cubicBezTo>
                  <a:cubicBezTo>
                    <a:pt x="3905" y="805"/>
                    <a:pt x="3905" y="805"/>
                    <a:pt x="3905" y="805"/>
                  </a:cubicBezTo>
                  <a:cubicBezTo>
                    <a:pt x="3905" y="805"/>
                    <a:pt x="3905" y="805"/>
                    <a:pt x="3905" y="805"/>
                  </a:cubicBezTo>
                  <a:cubicBezTo>
                    <a:pt x="3905" y="805"/>
                    <a:pt x="3905" y="805"/>
                    <a:pt x="3905" y="805"/>
                  </a:cubicBezTo>
                  <a:cubicBezTo>
                    <a:pt x="3905" y="805"/>
                    <a:pt x="3904" y="806"/>
                    <a:pt x="3901" y="807"/>
                  </a:cubicBezTo>
                  <a:cubicBezTo>
                    <a:pt x="3902" y="807"/>
                    <a:pt x="3902" y="807"/>
                    <a:pt x="3902" y="807"/>
                  </a:cubicBezTo>
                  <a:cubicBezTo>
                    <a:pt x="3899" y="808"/>
                    <a:pt x="3897" y="809"/>
                    <a:pt x="3896" y="810"/>
                  </a:cubicBezTo>
                  <a:cubicBezTo>
                    <a:pt x="3894" y="812"/>
                    <a:pt x="3893" y="813"/>
                    <a:pt x="3892" y="815"/>
                  </a:cubicBezTo>
                  <a:cubicBezTo>
                    <a:pt x="3892" y="815"/>
                    <a:pt x="3892" y="815"/>
                    <a:pt x="3892" y="815"/>
                  </a:cubicBezTo>
                  <a:cubicBezTo>
                    <a:pt x="3891" y="816"/>
                    <a:pt x="3890" y="817"/>
                    <a:pt x="3889" y="818"/>
                  </a:cubicBezTo>
                  <a:cubicBezTo>
                    <a:pt x="3888" y="819"/>
                    <a:pt x="3885" y="820"/>
                    <a:pt x="3883" y="822"/>
                  </a:cubicBezTo>
                  <a:cubicBezTo>
                    <a:pt x="3880" y="823"/>
                    <a:pt x="3876" y="825"/>
                    <a:pt x="3872" y="827"/>
                  </a:cubicBezTo>
                  <a:cubicBezTo>
                    <a:pt x="3872" y="827"/>
                    <a:pt x="3872" y="827"/>
                    <a:pt x="3872" y="827"/>
                  </a:cubicBezTo>
                  <a:cubicBezTo>
                    <a:pt x="3871" y="827"/>
                    <a:pt x="3869" y="828"/>
                    <a:pt x="3867" y="829"/>
                  </a:cubicBezTo>
                  <a:cubicBezTo>
                    <a:pt x="3865" y="830"/>
                    <a:pt x="3863" y="832"/>
                    <a:pt x="3861" y="835"/>
                  </a:cubicBezTo>
                  <a:cubicBezTo>
                    <a:pt x="3861" y="835"/>
                    <a:pt x="3861" y="835"/>
                    <a:pt x="3861" y="835"/>
                  </a:cubicBezTo>
                  <a:cubicBezTo>
                    <a:pt x="3860" y="836"/>
                    <a:pt x="3859" y="837"/>
                    <a:pt x="3857" y="838"/>
                  </a:cubicBezTo>
                  <a:cubicBezTo>
                    <a:pt x="3854" y="839"/>
                    <a:pt x="3852" y="840"/>
                    <a:pt x="3848" y="842"/>
                  </a:cubicBezTo>
                  <a:cubicBezTo>
                    <a:pt x="3848" y="842"/>
                    <a:pt x="3848" y="842"/>
                    <a:pt x="3848" y="842"/>
                  </a:cubicBezTo>
                  <a:cubicBezTo>
                    <a:pt x="3848" y="842"/>
                    <a:pt x="3848" y="842"/>
                    <a:pt x="3848" y="842"/>
                  </a:cubicBezTo>
                  <a:cubicBezTo>
                    <a:pt x="3847" y="842"/>
                    <a:pt x="3847" y="842"/>
                    <a:pt x="3847" y="842"/>
                  </a:cubicBezTo>
                  <a:cubicBezTo>
                    <a:pt x="3847" y="842"/>
                    <a:pt x="3847" y="842"/>
                    <a:pt x="3847" y="842"/>
                  </a:cubicBezTo>
                  <a:cubicBezTo>
                    <a:pt x="3848" y="845"/>
                    <a:pt x="3848" y="845"/>
                    <a:pt x="3848" y="845"/>
                  </a:cubicBezTo>
                  <a:cubicBezTo>
                    <a:pt x="3848" y="842"/>
                    <a:pt x="3848" y="842"/>
                    <a:pt x="3848" y="842"/>
                  </a:cubicBezTo>
                  <a:cubicBezTo>
                    <a:pt x="3847" y="842"/>
                    <a:pt x="3847" y="842"/>
                    <a:pt x="3847" y="842"/>
                  </a:cubicBezTo>
                  <a:cubicBezTo>
                    <a:pt x="3848" y="845"/>
                    <a:pt x="3848" y="845"/>
                    <a:pt x="3848" y="845"/>
                  </a:cubicBezTo>
                  <a:cubicBezTo>
                    <a:pt x="3848" y="842"/>
                    <a:pt x="3848" y="842"/>
                    <a:pt x="3848" y="842"/>
                  </a:cubicBezTo>
                  <a:cubicBezTo>
                    <a:pt x="3849" y="850"/>
                    <a:pt x="3849" y="850"/>
                    <a:pt x="3849" y="850"/>
                  </a:cubicBezTo>
                  <a:cubicBezTo>
                    <a:pt x="3849" y="842"/>
                    <a:pt x="3849" y="842"/>
                    <a:pt x="3849" y="842"/>
                  </a:cubicBezTo>
                  <a:cubicBezTo>
                    <a:pt x="3848" y="842"/>
                    <a:pt x="3848" y="842"/>
                    <a:pt x="3848" y="842"/>
                  </a:cubicBezTo>
                  <a:cubicBezTo>
                    <a:pt x="3849" y="850"/>
                    <a:pt x="3849" y="850"/>
                    <a:pt x="3849" y="850"/>
                  </a:cubicBezTo>
                  <a:cubicBezTo>
                    <a:pt x="3849" y="842"/>
                    <a:pt x="3849" y="842"/>
                    <a:pt x="3849" y="842"/>
                  </a:cubicBezTo>
                  <a:cubicBezTo>
                    <a:pt x="3849" y="852"/>
                    <a:pt x="3849" y="852"/>
                    <a:pt x="3849" y="852"/>
                  </a:cubicBezTo>
                  <a:cubicBezTo>
                    <a:pt x="3854" y="843"/>
                    <a:pt x="3854" y="843"/>
                    <a:pt x="3854" y="843"/>
                  </a:cubicBezTo>
                  <a:cubicBezTo>
                    <a:pt x="3852" y="842"/>
                    <a:pt x="3850" y="842"/>
                    <a:pt x="3849" y="842"/>
                  </a:cubicBezTo>
                  <a:cubicBezTo>
                    <a:pt x="3849" y="852"/>
                    <a:pt x="3849" y="852"/>
                    <a:pt x="3849" y="852"/>
                  </a:cubicBezTo>
                  <a:cubicBezTo>
                    <a:pt x="3854" y="843"/>
                    <a:pt x="3854" y="843"/>
                    <a:pt x="3854" y="843"/>
                  </a:cubicBezTo>
                  <a:cubicBezTo>
                    <a:pt x="3848" y="854"/>
                    <a:pt x="3848" y="854"/>
                    <a:pt x="3848" y="854"/>
                  </a:cubicBezTo>
                  <a:cubicBezTo>
                    <a:pt x="3854" y="843"/>
                    <a:pt x="3854" y="843"/>
                    <a:pt x="3854" y="843"/>
                  </a:cubicBezTo>
                  <a:cubicBezTo>
                    <a:pt x="3851" y="841"/>
                    <a:pt x="3847" y="840"/>
                    <a:pt x="3843" y="840"/>
                  </a:cubicBezTo>
                  <a:cubicBezTo>
                    <a:pt x="3841" y="840"/>
                    <a:pt x="3838" y="841"/>
                    <a:pt x="3836" y="842"/>
                  </a:cubicBezTo>
                  <a:cubicBezTo>
                    <a:pt x="3833" y="843"/>
                    <a:pt x="3831" y="844"/>
                    <a:pt x="3829" y="846"/>
                  </a:cubicBezTo>
                  <a:cubicBezTo>
                    <a:pt x="3827" y="847"/>
                    <a:pt x="3825" y="849"/>
                    <a:pt x="3824" y="850"/>
                  </a:cubicBezTo>
                  <a:cubicBezTo>
                    <a:pt x="3824" y="850"/>
                    <a:pt x="3824" y="850"/>
                    <a:pt x="3824" y="850"/>
                  </a:cubicBezTo>
                  <a:cubicBezTo>
                    <a:pt x="3822" y="852"/>
                    <a:pt x="3820" y="854"/>
                    <a:pt x="3818" y="855"/>
                  </a:cubicBezTo>
                  <a:cubicBezTo>
                    <a:pt x="3816" y="855"/>
                    <a:pt x="3815" y="856"/>
                    <a:pt x="3814" y="856"/>
                  </a:cubicBezTo>
                  <a:cubicBezTo>
                    <a:pt x="3813" y="856"/>
                    <a:pt x="3813" y="856"/>
                    <a:pt x="3813" y="856"/>
                  </a:cubicBezTo>
                  <a:cubicBezTo>
                    <a:pt x="3812" y="856"/>
                    <a:pt x="3812" y="856"/>
                    <a:pt x="3812" y="856"/>
                  </a:cubicBezTo>
                  <a:cubicBezTo>
                    <a:pt x="3809" y="856"/>
                    <a:pt x="3807" y="856"/>
                    <a:pt x="3805" y="857"/>
                  </a:cubicBezTo>
                  <a:cubicBezTo>
                    <a:pt x="3803" y="858"/>
                    <a:pt x="3801" y="858"/>
                    <a:pt x="3800" y="859"/>
                  </a:cubicBezTo>
                  <a:cubicBezTo>
                    <a:pt x="3800" y="859"/>
                    <a:pt x="3800" y="859"/>
                    <a:pt x="3800" y="859"/>
                  </a:cubicBezTo>
                  <a:cubicBezTo>
                    <a:pt x="3800" y="859"/>
                    <a:pt x="3800" y="859"/>
                    <a:pt x="3800" y="859"/>
                  </a:cubicBezTo>
                  <a:cubicBezTo>
                    <a:pt x="3796" y="860"/>
                    <a:pt x="3795" y="862"/>
                    <a:pt x="3793" y="864"/>
                  </a:cubicBezTo>
                  <a:cubicBezTo>
                    <a:pt x="3792" y="865"/>
                    <a:pt x="3791" y="867"/>
                    <a:pt x="3791" y="868"/>
                  </a:cubicBezTo>
                  <a:cubicBezTo>
                    <a:pt x="3801" y="873"/>
                    <a:pt x="3801" y="873"/>
                    <a:pt x="3801" y="873"/>
                  </a:cubicBezTo>
                  <a:cubicBezTo>
                    <a:pt x="3791" y="868"/>
                    <a:pt x="3791" y="868"/>
                    <a:pt x="3791" y="868"/>
                  </a:cubicBezTo>
                  <a:cubicBezTo>
                    <a:pt x="3790" y="870"/>
                    <a:pt x="3789" y="872"/>
                    <a:pt x="3789" y="873"/>
                  </a:cubicBezTo>
                  <a:cubicBezTo>
                    <a:pt x="3789" y="875"/>
                    <a:pt x="3789" y="876"/>
                    <a:pt x="3789" y="877"/>
                  </a:cubicBezTo>
                  <a:cubicBezTo>
                    <a:pt x="3789" y="878"/>
                    <a:pt x="3789" y="878"/>
                    <a:pt x="3789" y="878"/>
                  </a:cubicBezTo>
                  <a:cubicBezTo>
                    <a:pt x="3789" y="878"/>
                    <a:pt x="3789" y="878"/>
                    <a:pt x="3789" y="878"/>
                  </a:cubicBezTo>
                  <a:cubicBezTo>
                    <a:pt x="3792" y="878"/>
                    <a:pt x="3792" y="878"/>
                    <a:pt x="3792" y="878"/>
                  </a:cubicBezTo>
                  <a:cubicBezTo>
                    <a:pt x="3789" y="878"/>
                    <a:pt x="3789" y="878"/>
                    <a:pt x="3789" y="878"/>
                  </a:cubicBezTo>
                  <a:cubicBezTo>
                    <a:pt x="3789" y="878"/>
                    <a:pt x="3789" y="878"/>
                    <a:pt x="3789" y="878"/>
                  </a:cubicBezTo>
                  <a:cubicBezTo>
                    <a:pt x="3792" y="878"/>
                    <a:pt x="3792" y="878"/>
                    <a:pt x="3792" y="878"/>
                  </a:cubicBezTo>
                  <a:cubicBezTo>
                    <a:pt x="3789" y="878"/>
                    <a:pt x="3789" y="878"/>
                    <a:pt x="3789" y="878"/>
                  </a:cubicBezTo>
                  <a:cubicBezTo>
                    <a:pt x="3794" y="878"/>
                    <a:pt x="3794" y="878"/>
                    <a:pt x="3794" y="878"/>
                  </a:cubicBezTo>
                  <a:cubicBezTo>
                    <a:pt x="3790" y="875"/>
                    <a:pt x="3790" y="875"/>
                    <a:pt x="3790" y="875"/>
                  </a:cubicBezTo>
                  <a:cubicBezTo>
                    <a:pt x="3789" y="875"/>
                    <a:pt x="3789" y="877"/>
                    <a:pt x="3789" y="878"/>
                  </a:cubicBezTo>
                  <a:cubicBezTo>
                    <a:pt x="3794" y="878"/>
                    <a:pt x="3794" y="878"/>
                    <a:pt x="3794" y="878"/>
                  </a:cubicBezTo>
                  <a:cubicBezTo>
                    <a:pt x="3790" y="875"/>
                    <a:pt x="3790" y="875"/>
                    <a:pt x="3790" y="875"/>
                  </a:cubicBezTo>
                  <a:cubicBezTo>
                    <a:pt x="3793" y="877"/>
                    <a:pt x="3793" y="877"/>
                    <a:pt x="3793" y="877"/>
                  </a:cubicBezTo>
                  <a:cubicBezTo>
                    <a:pt x="3790" y="874"/>
                    <a:pt x="3790" y="874"/>
                    <a:pt x="3790" y="874"/>
                  </a:cubicBezTo>
                  <a:cubicBezTo>
                    <a:pt x="3790" y="875"/>
                    <a:pt x="3790" y="875"/>
                    <a:pt x="3790" y="875"/>
                  </a:cubicBezTo>
                  <a:cubicBezTo>
                    <a:pt x="3793" y="877"/>
                    <a:pt x="3793" y="877"/>
                    <a:pt x="3793" y="877"/>
                  </a:cubicBezTo>
                  <a:cubicBezTo>
                    <a:pt x="3790" y="874"/>
                    <a:pt x="3790" y="874"/>
                    <a:pt x="3790" y="874"/>
                  </a:cubicBezTo>
                  <a:cubicBezTo>
                    <a:pt x="3791" y="875"/>
                    <a:pt x="3791" y="875"/>
                    <a:pt x="3791" y="875"/>
                  </a:cubicBezTo>
                  <a:cubicBezTo>
                    <a:pt x="3790" y="874"/>
                    <a:pt x="3790" y="874"/>
                    <a:pt x="3790" y="874"/>
                  </a:cubicBezTo>
                  <a:cubicBezTo>
                    <a:pt x="3790" y="874"/>
                    <a:pt x="3790" y="874"/>
                    <a:pt x="3790" y="874"/>
                  </a:cubicBezTo>
                  <a:cubicBezTo>
                    <a:pt x="3791" y="875"/>
                    <a:pt x="3791" y="875"/>
                    <a:pt x="3791" y="875"/>
                  </a:cubicBezTo>
                  <a:cubicBezTo>
                    <a:pt x="3790" y="874"/>
                    <a:pt x="3790" y="874"/>
                    <a:pt x="3790" y="874"/>
                  </a:cubicBezTo>
                  <a:cubicBezTo>
                    <a:pt x="3790" y="874"/>
                    <a:pt x="3789" y="875"/>
                    <a:pt x="3788" y="876"/>
                  </a:cubicBezTo>
                  <a:cubicBezTo>
                    <a:pt x="3787" y="877"/>
                    <a:pt x="3786" y="878"/>
                    <a:pt x="3785" y="879"/>
                  </a:cubicBezTo>
                  <a:cubicBezTo>
                    <a:pt x="3784" y="881"/>
                    <a:pt x="3783" y="882"/>
                    <a:pt x="3782" y="884"/>
                  </a:cubicBezTo>
                  <a:cubicBezTo>
                    <a:pt x="3782" y="885"/>
                    <a:pt x="3782" y="885"/>
                    <a:pt x="3782" y="885"/>
                  </a:cubicBezTo>
                  <a:cubicBezTo>
                    <a:pt x="3781" y="886"/>
                    <a:pt x="3781" y="888"/>
                    <a:pt x="3781" y="889"/>
                  </a:cubicBezTo>
                  <a:cubicBezTo>
                    <a:pt x="3781" y="891"/>
                    <a:pt x="3782" y="893"/>
                    <a:pt x="3782" y="894"/>
                  </a:cubicBezTo>
                  <a:cubicBezTo>
                    <a:pt x="3783" y="896"/>
                    <a:pt x="3784" y="897"/>
                    <a:pt x="3784" y="898"/>
                  </a:cubicBezTo>
                  <a:cubicBezTo>
                    <a:pt x="3785" y="900"/>
                    <a:pt x="3786" y="901"/>
                    <a:pt x="3787" y="902"/>
                  </a:cubicBezTo>
                  <a:cubicBezTo>
                    <a:pt x="3787" y="902"/>
                    <a:pt x="3787" y="902"/>
                    <a:pt x="3787" y="902"/>
                  </a:cubicBezTo>
                  <a:cubicBezTo>
                    <a:pt x="3787" y="902"/>
                    <a:pt x="3787" y="902"/>
                    <a:pt x="3787" y="902"/>
                  </a:cubicBezTo>
                  <a:cubicBezTo>
                    <a:pt x="3789" y="901"/>
                    <a:pt x="3789" y="901"/>
                    <a:pt x="3789" y="901"/>
                  </a:cubicBezTo>
                  <a:cubicBezTo>
                    <a:pt x="3787" y="902"/>
                    <a:pt x="3787" y="902"/>
                    <a:pt x="3787" y="902"/>
                  </a:cubicBezTo>
                  <a:cubicBezTo>
                    <a:pt x="3787" y="902"/>
                    <a:pt x="3787" y="902"/>
                    <a:pt x="3787" y="902"/>
                  </a:cubicBezTo>
                  <a:cubicBezTo>
                    <a:pt x="3789" y="901"/>
                    <a:pt x="3789" y="901"/>
                    <a:pt x="3789" y="901"/>
                  </a:cubicBezTo>
                  <a:cubicBezTo>
                    <a:pt x="3787" y="902"/>
                    <a:pt x="3787" y="902"/>
                    <a:pt x="3787" y="902"/>
                  </a:cubicBezTo>
                  <a:cubicBezTo>
                    <a:pt x="3792" y="900"/>
                    <a:pt x="3792" y="900"/>
                    <a:pt x="3792" y="900"/>
                  </a:cubicBezTo>
                  <a:cubicBezTo>
                    <a:pt x="3786" y="901"/>
                    <a:pt x="3786" y="901"/>
                    <a:pt x="3786" y="901"/>
                  </a:cubicBezTo>
                  <a:cubicBezTo>
                    <a:pt x="3786" y="901"/>
                    <a:pt x="3787" y="902"/>
                    <a:pt x="3787" y="902"/>
                  </a:cubicBezTo>
                  <a:cubicBezTo>
                    <a:pt x="3792" y="900"/>
                    <a:pt x="3792" y="900"/>
                    <a:pt x="3792" y="900"/>
                  </a:cubicBezTo>
                  <a:cubicBezTo>
                    <a:pt x="3786" y="901"/>
                    <a:pt x="3786" y="901"/>
                    <a:pt x="3786" y="901"/>
                  </a:cubicBezTo>
                  <a:cubicBezTo>
                    <a:pt x="3786" y="901"/>
                    <a:pt x="3786" y="901"/>
                    <a:pt x="3786" y="901"/>
                  </a:cubicBezTo>
                  <a:cubicBezTo>
                    <a:pt x="3787" y="900"/>
                    <a:pt x="3787" y="900"/>
                    <a:pt x="3787" y="900"/>
                  </a:cubicBezTo>
                  <a:cubicBezTo>
                    <a:pt x="3786" y="900"/>
                    <a:pt x="3786" y="900"/>
                    <a:pt x="3786" y="900"/>
                  </a:cubicBezTo>
                  <a:cubicBezTo>
                    <a:pt x="3786" y="901"/>
                    <a:pt x="3786" y="901"/>
                    <a:pt x="3786" y="901"/>
                  </a:cubicBezTo>
                  <a:cubicBezTo>
                    <a:pt x="3787" y="900"/>
                    <a:pt x="3787" y="900"/>
                    <a:pt x="3787" y="900"/>
                  </a:cubicBezTo>
                  <a:cubicBezTo>
                    <a:pt x="3786" y="900"/>
                    <a:pt x="3786" y="900"/>
                    <a:pt x="3786" y="900"/>
                  </a:cubicBezTo>
                  <a:cubicBezTo>
                    <a:pt x="3788" y="900"/>
                    <a:pt x="3788" y="900"/>
                    <a:pt x="3788" y="900"/>
                  </a:cubicBezTo>
                  <a:cubicBezTo>
                    <a:pt x="3787" y="899"/>
                    <a:pt x="3787" y="899"/>
                    <a:pt x="3787" y="899"/>
                  </a:cubicBezTo>
                  <a:cubicBezTo>
                    <a:pt x="3786" y="900"/>
                    <a:pt x="3786" y="900"/>
                    <a:pt x="3786" y="900"/>
                  </a:cubicBezTo>
                  <a:cubicBezTo>
                    <a:pt x="3788" y="900"/>
                    <a:pt x="3788" y="900"/>
                    <a:pt x="3788" y="900"/>
                  </a:cubicBezTo>
                  <a:cubicBezTo>
                    <a:pt x="3787" y="899"/>
                    <a:pt x="3787" y="899"/>
                    <a:pt x="3787" y="899"/>
                  </a:cubicBezTo>
                  <a:cubicBezTo>
                    <a:pt x="3788" y="901"/>
                    <a:pt x="3788" y="901"/>
                    <a:pt x="3788" y="901"/>
                  </a:cubicBezTo>
                  <a:cubicBezTo>
                    <a:pt x="3788" y="899"/>
                    <a:pt x="3788" y="899"/>
                    <a:pt x="3788" y="899"/>
                  </a:cubicBezTo>
                  <a:cubicBezTo>
                    <a:pt x="3788" y="899"/>
                    <a:pt x="3787" y="899"/>
                    <a:pt x="3787" y="899"/>
                  </a:cubicBezTo>
                  <a:cubicBezTo>
                    <a:pt x="3788" y="901"/>
                    <a:pt x="3788" y="901"/>
                    <a:pt x="3788" y="901"/>
                  </a:cubicBezTo>
                  <a:cubicBezTo>
                    <a:pt x="3788" y="899"/>
                    <a:pt x="3788" y="899"/>
                    <a:pt x="3788" y="899"/>
                  </a:cubicBezTo>
                  <a:cubicBezTo>
                    <a:pt x="3788" y="899"/>
                    <a:pt x="3788" y="899"/>
                    <a:pt x="3788" y="899"/>
                  </a:cubicBezTo>
                  <a:cubicBezTo>
                    <a:pt x="3783" y="899"/>
                    <a:pt x="3778" y="898"/>
                    <a:pt x="3772" y="897"/>
                  </a:cubicBezTo>
                  <a:cubicBezTo>
                    <a:pt x="3772" y="897"/>
                    <a:pt x="3772" y="897"/>
                    <a:pt x="3772" y="897"/>
                  </a:cubicBezTo>
                  <a:cubicBezTo>
                    <a:pt x="3771" y="897"/>
                    <a:pt x="3770" y="897"/>
                    <a:pt x="3769" y="897"/>
                  </a:cubicBezTo>
                  <a:cubicBezTo>
                    <a:pt x="3764" y="897"/>
                    <a:pt x="3759" y="898"/>
                    <a:pt x="3755" y="901"/>
                  </a:cubicBezTo>
                  <a:cubicBezTo>
                    <a:pt x="3751" y="904"/>
                    <a:pt x="3748" y="908"/>
                    <a:pt x="3746" y="913"/>
                  </a:cubicBezTo>
                  <a:cubicBezTo>
                    <a:pt x="3746" y="913"/>
                    <a:pt x="3746" y="913"/>
                    <a:pt x="3746" y="913"/>
                  </a:cubicBezTo>
                  <a:cubicBezTo>
                    <a:pt x="3746" y="915"/>
                    <a:pt x="3746" y="916"/>
                    <a:pt x="3746" y="917"/>
                  </a:cubicBezTo>
                  <a:cubicBezTo>
                    <a:pt x="3746" y="918"/>
                    <a:pt x="3746" y="919"/>
                    <a:pt x="3746" y="919"/>
                  </a:cubicBezTo>
                  <a:cubicBezTo>
                    <a:pt x="3746" y="920"/>
                    <a:pt x="3746" y="920"/>
                    <a:pt x="3746" y="920"/>
                  </a:cubicBezTo>
                  <a:cubicBezTo>
                    <a:pt x="3750" y="919"/>
                    <a:pt x="3750" y="919"/>
                    <a:pt x="3750" y="919"/>
                  </a:cubicBezTo>
                  <a:cubicBezTo>
                    <a:pt x="3746" y="919"/>
                    <a:pt x="3746" y="919"/>
                    <a:pt x="3746" y="919"/>
                  </a:cubicBezTo>
                  <a:cubicBezTo>
                    <a:pt x="3746" y="920"/>
                    <a:pt x="3746" y="920"/>
                    <a:pt x="3746" y="920"/>
                  </a:cubicBezTo>
                  <a:cubicBezTo>
                    <a:pt x="3750" y="919"/>
                    <a:pt x="3750" y="919"/>
                    <a:pt x="3750" y="919"/>
                  </a:cubicBezTo>
                  <a:cubicBezTo>
                    <a:pt x="3746" y="919"/>
                    <a:pt x="3746" y="919"/>
                    <a:pt x="3746" y="919"/>
                  </a:cubicBezTo>
                  <a:cubicBezTo>
                    <a:pt x="3753" y="919"/>
                    <a:pt x="3753" y="919"/>
                    <a:pt x="3753" y="919"/>
                  </a:cubicBezTo>
                  <a:cubicBezTo>
                    <a:pt x="3746" y="919"/>
                    <a:pt x="3746" y="919"/>
                    <a:pt x="3746" y="919"/>
                  </a:cubicBezTo>
                  <a:cubicBezTo>
                    <a:pt x="3746" y="919"/>
                    <a:pt x="3746" y="919"/>
                    <a:pt x="3746" y="919"/>
                  </a:cubicBezTo>
                  <a:cubicBezTo>
                    <a:pt x="3753" y="919"/>
                    <a:pt x="3753" y="919"/>
                    <a:pt x="3753" y="919"/>
                  </a:cubicBezTo>
                  <a:cubicBezTo>
                    <a:pt x="3746" y="919"/>
                    <a:pt x="3746" y="919"/>
                    <a:pt x="3746" y="919"/>
                  </a:cubicBezTo>
                  <a:cubicBezTo>
                    <a:pt x="3746" y="919"/>
                    <a:pt x="3746" y="919"/>
                    <a:pt x="3746" y="919"/>
                  </a:cubicBezTo>
                  <a:cubicBezTo>
                    <a:pt x="3746" y="919"/>
                    <a:pt x="3746" y="919"/>
                    <a:pt x="3746" y="919"/>
                  </a:cubicBezTo>
                  <a:cubicBezTo>
                    <a:pt x="3746" y="920"/>
                    <a:pt x="3746" y="921"/>
                    <a:pt x="3745" y="922"/>
                  </a:cubicBezTo>
                  <a:cubicBezTo>
                    <a:pt x="3744" y="924"/>
                    <a:pt x="3743" y="926"/>
                    <a:pt x="3740" y="928"/>
                  </a:cubicBezTo>
                  <a:cubicBezTo>
                    <a:pt x="3738" y="930"/>
                    <a:pt x="3735" y="933"/>
                    <a:pt x="3732" y="936"/>
                  </a:cubicBezTo>
                  <a:cubicBezTo>
                    <a:pt x="3732" y="936"/>
                    <a:pt x="3732" y="936"/>
                    <a:pt x="3732" y="936"/>
                  </a:cubicBezTo>
                  <a:cubicBezTo>
                    <a:pt x="3738" y="942"/>
                    <a:pt x="3738" y="942"/>
                    <a:pt x="3738" y="942"/>
                  </a:cubicBezTo>
                  <a:cubicBezTo>
                    <a:pt x="3734" y="934"/>
                    <a:pt x="3734" y="934"/>
                    <a:pt x="3734" y="934"/>
                  </a:cubicBezTo>
                  <a:cubicBezTo>
                    <a:pt x="3733" y="935"/>
                    <a:pt x="3733" y="935"/>
                    <a:pt x="3732" y="936"/>
                  </a:cubicBezTo>
                  <a:cubicBezTo>
                    <a:pt x="3738" y="942"/>
                    <a:pt x="3738" y="942"/>
                    <a:pt x="3738" y="942"/>
                  </a:cubicBezTo>
                  <a:cubicBezTo>
                    <a:pt x="3734" y="934"/>
                    <a:pt x="3734" y="934"/>
                    <a:pt x="3734" y="934"/>
                  </a:cubicBezTo>
                  <a:cubicBezTo>
                    <a:pt x="3738" y="942"/>
                    <a:pt x="3738" y="942"/>
                    <a:pt x="3738" y="942"/>
                  </a:cubicBezTo>
                  <a:cubicBezTo>
                    <a:pt x="3735" y="934"/>
                    <a:pt x="3735" y="934"/>
                    <a:pt x="3735" y="934"/>
                  </a:cubicBezTo>
                  <a:cubicBezTo>
                    <a:pt x="3735" y="934"/>
                    <a:pt x="3734" y="934"/>
                    <a:pt x="3734" y="934"/>
                  </a:cubicBezTo>
                  <a:cubicBezTo>
                    <a:pt x="3738" y="942"/>
                    <a:pt x="3738" y="942"/>
                    <a:pt x="3738" y="942"/>
                  </a:cubicBezTo>
                  <a:cubicBezTo>
                    <a:pt x="3735" y="934"/>
                    <a:pt x="3735" y="934"/>
                    <a:pt x="3735" y="934"/>
                  </a:cubicBezTo>
                  <a:cubicBezTo>
                    <a:pt x="3738" y="943"/>
                    <a:pt x="3738" y="943"/>
                    <a:pt x="3738" y="943"/>
                  </a:cubicBezTo>
                  <a:cubicBezTo>
                    <a:pt x="3738" y="933"/>
                    <a:pt x="3738" y="933"/>
                    <a:pt x="3738" y="933"/>
                  </a:cubicBezTo>
                  <a:cubicBezTo>
                    <a:pt x="3737" y="933"/>
                    <a:pt x="3736" y="933"/>
                    <a:pt x="3735" y="934"/>
                  </a:cubicBezTo>
                  <a:cubicBezTo>
                    <a:pt x="3738" y="943"/>
                    <a:pt x="3738" y="943"/>
                    <a:pt x="3738" y="943"/>
                  </a:cubicBezTo>
                  <a:cubicBezTo>
                    <a:pt x="3738" y="933"/>
                    <a:pt x="3738" y="933"/>
                    <a:pt x="3738" y="933"/>
                  </a:cubicBezTo>
                  <a:cubicBezTo>
                    <a:pt x="3738" y="944"/>
                    <a:pt x="3738" y="944"/>
                    <a:pt x="3738" y="944"/>
                  </a:cubicBezTo>
                  <a:cubicBezTo>
                    <a:pt x="3740" y="933"/>
                    <a:pt x="3740" y="933"/>
                    <a:pt x="3740" y="933"/>
                  </a:cubicBezTo>
                  <a:cubicBezTo>
                    <a:pt x="3739" y="933"/>
                    <a:pt x="3739" y="933"/>
                    <a:pt x="3738" y="933"/>
                  </a:cubicBezTo>
                  <a:cubicBezTo>
                    <a:pt x="3738" y="944"/>
                    <a:pt x="3738" y="944"/>
                    <a:pt x="3738" y="944"/>
                  </a:cubicBezTo>
                  <a:cubicBezTo>
                    <a:pt x="3740" y="933"/>
                    <a:pt x="3740" y="933"/>
                    <a:pt x="3740" y="933"/>
                  </a:cubicBezTo>
                  <a:cubicBezTo>
                    <a:pt x="3737" y="933"/>
                    <a:pt x="3734" y="933"/>
                    <a:pt x="3732" y="933"/>
                  </a:cubicBezTo>
                  <a:cubicBezTo>
                    <a:pt x="3728" y="933"/>
                    <a:pt x="3724" y="933"/>
                    <a:pt x="3721" y="933"/>
                  </a:cubicBezTo>
                  <a:cubicBezTo>
                    <a:pt x="3718" y="934"/>
                    <a:pt x="3715" y="934"/>
                    <a:pt x="3713" y="934"/>
                  </a:cubicBezTo>
                  <a:cubicBezTo>
                    <a:pt x="3713" y="934"/>
                    <a:pt x="3713" y="934"/>
                    <a:pt x="3713" y="934"/>
                  </a:cubicBezTo>
                  <a:cubicBezTo>
                    <a:pt x="3711" y="934"/>
                    <a:pt x="3709" y="934"/>
                    <a:pt x="3706" y="934"/>
                  </a:cubicBezTo>
                  <a:cubicBezTo>
                    <a:pt x="3703" y="935"/>
                    <a:pt x="3699" y="935"/>
                    <a:pt x="3695" y="937"/>
                  </a:cubicBezTo>
                  <a:cubicBezTo>
                    <a:pt x="3695" y="937"/>
                    <a:pt x="3695" y="937"/>
                    <a:pt x="3695" y="937"/>
                  </a:cubicBezTo>
                  <a:cubicBezTo>
                    <a:pt x="3694" y="938"/>
                    <a:pt x="3694" y="938"/>
                    <a:pt x="3694" y="938"/>
                  </a:cubicBezTo>
                  <a:cubicBezTo>
                    <a:pt x="3694" y="938"/>
                    <a:pt x="3694" y="938"/>
                    <a:pt x="3694" y="938"/>
                  </a:cubicBezTo>
                  <a:cubicBezTo>
                    <a:pt x="3694" y="939"/>
                    <a:pt x="3694" y="939"/>
                    <a:pt x="3694" y="939"/>
                  </a:cubicBezTo>
                  <a:cubicBezTo>
                    <a:pt x="3694" y="938"/>
                    <a:pt x="3694" y="938"/>
                    <a:pt x="3694" y="938"/>
                  </a:cubicBezTo>
                  <a:cubicBezTo>
                    <a:pt x="3694" y="938"/>
                    <a:pt x="3694" y="938"/>
                    <a:pt x="3694" y="938"/>
                  </a:cubicBezTo>
                  <a:cubicBezTo>
                    <a:pt x="3694" y="939"/>
                    <a:pt x="3694" y="939"/>
                    <a:pt x="3694" y="939"/>
                  </a:cubicBezTo>
                  <a:cubicBezTo>
                    <a:pt x="3694" y="938"/>
                    <a:pt x="3694" y="938"/>
                    <a:pt x="3694" y="938"/>
                  </a:cubicBezTo>
                  <a:cubicBezTo>
                    <a:pt x="3696" y="943"/>
                    <a:pt x="3696" y="943"/>
                    <a:pt x="3696" y="943"/>
                  </a:cubicBezTo>
                  <a:cubicBezTo>
                    <a:pt x="3694" y="938"/>
                    <a:pt x="3694" y="938"/>
                    <a:pt x="3694" y="938"/>
                  </a:cubicBezTo>
                  <a:cubicBezTo>
                    <a:pt x="3694" y="938"/>
                    <a:pt x="3694" y="938"/>
                    <a:pt x="3694" y="938"/>
                  </a:cubicBezTo>
                  <a:cubicBezTo>
                    <a:pt x="3696" y="943"/>
                    <a:pt x="3696" y="943"/>
                    <a:pt x="3696" y="943"/>
                  </a:cubicBezTo>
                  <a:cubicBezTo>
                    <a:pt x="3694" y="938"/>
                    <a:pt x="3694" y="938"/>
                    <a:pt x="3694" y="938"/>
                  </a:cubicBezTo>
                  <a:cubicBezTo>
                    <a:pt x="3697" y="946"/>
                    <a:pt x="3697" y="946"/>
                    <a:pt x="3697" y="946"/>
                  </a:cubicBezTo>
                  <a:cubicBezTo>
                    <a:pt x="3697" y="938"/>
                    <a:pt x="3697" y="938"/>
                    <a:pt x="3697" y="938"/>
                  </a:cubicBezTo>
                  <a:cubicBezTo>
                    <a:pt x="3696" y="938"/>
                    <a:pt x="3695" y="938"/>
                    <a:pt x="3694" y="938"/>
                  </a:cubicBezTo>
                  <a:cubicBezTo>
                    <a:pt x="3697" y="946"/>
                    <a:pt x="3697" y="946"/>
                    <a:pt x="3697" y="946"/>
                  </a:cubicBezTo>
                  <a:cubicBezTo>
                    <a:pt x="3697" y="938"/>
                    <a:pt x="3697" y="938"/>
                    <a:pt x="3697" y="938"/>
                  </a:cubicBezTo>
                  <a:cubicBezTo>
                    <a:pt x="3697" y="947"/>
                    <a:pt x="3697" y="947"/>
                    <a:pt x="3697" y="947"/>
                  </a:cubicBezTo>
                  <a:cubicBezTo>
                    <a:pt x="3698" y="938"/>
                    <a:pt x="3698" y="938"/>
                    <a:pt x="3698" y="938"/>
                  </a:cubicBezTo>
                  <a:cubicBezTo>
                    <a:pt x="3697" y="938"/>
                    <a:pt x="3697" y="938"/>
                    <a:pt x="3697" y="938"/>
                  </a:cubicBezTo>
                  <a:cubicBezTo>
                    <a:pt x="3697" y="947"/>
                    <a:pt x="3697" y="947"/>
                    <a:pt x="3697" y="947"/>
                  </a:cubicBezTo>
                  <a:cubicBezTo>
                    <a:pt x="3698" y="938"/>
                    <a:pt x="3698" y="938"/>
                    <a:pt x="3698" y="938"/>
                  </a:cubicBezTo>
                  <a:cubicBezTo>
                    <a:pt x="3698" y="938"/>
                    <a:pt x="3698" y="938"/>
                    <a:pt x="3698" y="938"/>
                  </a:cubicBezTo>
                  <a:cubicBezTo>
                    <a:pt x="3697" y="938"/>
                    <a:pt x="3696" y="937"/>
                    <a:pt x="3695" y="937"/>
                  </a:cubicBezTo>
                  <a:cubicBezTo>
                    <a:pt x="3691" y="937"/>
                    <a:pt x="3688" y="938"/>
                    <a:pt x="3685" y="940"/>
                  </a:cubicBezTo>
                  <a:cubicBezTo>
                    <a:pt x="3682" y="941"/>
                    <a:pt x="3680" y="942"/>
                    <a:pt x="3678" y="944"/>
                  </a:cubicBezTo>
                  <a:cubicBezTo>
                    <a:pt x="3676" y="946"/>
                    <a:pt x="3674" y="949"/>
                    <a:pt x="3673" y="951"/>
                  </a:cubicBezTo>
                  <a:cubicBezTo>
                    <a:pt x="3672" y="953"/>
                    <a:pt x="3671" y="955"/>
                    <a:pt x="3670" y="957"/>
                  </a:cubicBezTo>
                  <a:cubicBezTo>
                    <a:pt x="3670" y="957"/>
                    <a:pt x="3670" y="957"/>
                    <a:pt x="3670" y="957"/>
                  </a:cubicBezTo>
                  <a:cubicBezTo>
                    <a:pt x="3669" y="958"/>
                    <a:pt x="3668" y="960"/>
                    <a:pt x="3666" y="962"/>
                  </a:cubicBezTo>
                  <a:cubicBezTo>
                    <a:pt x="3664" y="963"/>
                    <a:pt x="3661" y="965"/>
                    <a:pt x="3659" y="967"/>
                  </a:cubicBezTo>
                  <a:cubicBezTo>
                    <a:pt x="3659" y="967"/>
                    <a:pt x="3659" y="967"/>
                    <a:pt x="3659" y="967"/>
                  </a:cubicBezTo>
                  <a:cubicBezTo>
                    <a:pt x="3657" y="969"/>
                    <a:pt x="3655" y="970"/>
                    <a:pt x="3654" y="973"/>
                  </a:cubicBezTo>
                  <a:cubicBezTo>
                    <a:pt x="3652" y="975"/>
                    <a:pt x="3651" y="978"/>
                    <a:pt x="3650" y="980"/>
                  </a:cubicBezTo>
                  <a:cubicBezTo>
                    <a:pt x="3650" y="980"/>
                    <a:pt x="3650" y="980"/>
                    <a:pt x="3650" y="980"/>
                  </a:cubicBezTo>
                  <a:cubicBezTo>
                    <a:pt x="3649" y="983"/>
                    <a:pt x="3648" y="985"/>
                    <a:pt x="3646" y="987"/>
                  </a:cubicBezTo>
                  <a:cubicBezTo>
                    <a:pt x="3645" y="988"/>
                    <a:pt x="3643" y="990"/>
                    <a:pt x="3639" y="991"/>
                  </a:cubicBezTo>
                  <a:cubicBezTo>
                    <a:pt x="3631" y="994"/>
                    <a:pt x="3623" y="996"/>
                    <a:pt x="3614" y="1000"/>
                  </a:cubicBezTo>
                  <a:cubicBezTo>
                    <a:pt x="3614" y="1000"/>
                    <a:pt x="3614" y="1000"/>
                    <a:pt x="3614" y="1000"/>
                  </a:cubicBezTo>
                  <a:cubicBezTo>
                    <a:pt x="3611" y="1001"/>
                    <a:pt x="3609" y="1002"/>
                    <a:pt x="3607" y="1003"/>
                  </a:cubicBezTo>
                  <a:cubicBezTo>
                    <a:pt x="3604" y="1005"/>
                    <a:pt x="3602" y="1008"/>
                    <a:pt x="3600" y="1009"/>
                  </a:cubicBezTo>
                  <a:cubicBezTo>
                    <a:pt x="3599" y="1011"/>
                    <a:pt x="3597" y="1013"/>
                    <a:pt x="3596" y="1014"/>
                  </a:cubicBezTo>
                  <a:cubicBezTo>
                    <a:pt x="3596" y="1014"/>
                    <a:pt x="3596" y="1014"/>
                    <a:pt x="3596" y="1014"/>
                  </a:cubicBezTo>
                  <a:cubicBezTo>
                    <a:pt x="3593" y="1017"/>
                    <a:pt x="3591" y="1020"/>
                    <a:pt x="3589" y="1022"/>
                  </a:cubicBezTo>
                  <a:cubicBezTo>
                    <a:pt x="3587" y="1025"/>
                    <a:pt x="3586" y="1027"/>
                    <a:pt x="3584" y="1028"/>
                  </a:cubicBezTo>
                  <a:cubicBezTo>
                    <a:pt x="3584" y="1028"/>
                    <a:pt x="3584" y="1028"/>
                    <a:pt x="3584" y="1028"/>
                  </a:cubicBezTo>
                  <a:cubicBezTo>
                    <a:pt x="3590" y="1034"/>
                    <a:pt x="3590" y="1034"/>
                    <a:pt x="3590" y="1034"/>
                  </a:cubicBezTo>
                  <a:cubicBezTo>
                    <a:pt x="3586" y="1027"/>
                    <a:pt x="3586" y="1027"/>
                    <a:pt x="3586" y="1027"/>
                  </a:cubicBezTo>
                  <a:cubicBezTo>
                    <a:pt x="3585" y="1027"/>
                    <a:pt x="3585" y="1028"/>
                    <a:pt x="3584" y="1028"/>
                  </a:cubicBezTo>
                  <a:cubicBezTo>
                    <a:pt x="3590" y="1034"/>
                    <a:pt x="3590" y="1034"/>
                    <a:pt x="3590" y="1034"/>
                  </a:cubicBezTo>
                  <a:cubicBezTo>
                    <a:pt x="3586" y="1027"/>
                    <a:pt x="3586" y="1027"/>
                    <a:pt x="3586" y="1027"/>
                  </a:cubicBezTo>
                  <a:cubicBezTo>
                    <a:pt x="3588" y="1031"/>
                    <a:pt x="3588" y="1031"/>
                    <a:pt x="3588" y="1031"/>
                  </a:cubicBezTo>
                  <a:cubicBezTo>
                    <a:pt x="3587" y="1027"/>
                    <a:pt x="3587" y="1027"/>
                    <a:pt x="3587" y="1027"/>
                  </a:cubicBezTo>
                  <a:cubicBezTo>
                    <a:pt x="3587" y="1027"/>
                    <a:pt x="3586" y="1027"/>
                    <a:pt x="3586" y="1027"/>
                  </a:cubicBezTo>
                  <a:cubicBezTo>
                    <a:pt x="3588" y="1031"/>
                    <a:pt x="3588" y="1031"/>
                    <a:pt x="3588" y="1031"/>
                  </a:cubicBezTo>
                  <a:cubicBezTo>
                    <a:pt x="3587" y="1027"/>
                    <a:pt x="3587" y="1027"/>
                    <a:pt x="3587" y="1027"/>
                  </a:cubicBezTo>
                  <a:cubicBezTo>
                    <a:pt x="3588" y="1029"/>
                    <a:pt x="3588" y="1029"/>
                    <a:pt x="3588" y="1029"/>
                  </a:cubicBezTo>
                  <a:cubicBezTo>
                    <a:pt x="3588" y="1026"/>
                    <a:pt x="3588" y="1026"/>
                    <a:pt x="3588" y="1026"/>
                  </a:cubicBezTo>
                  <a:cubicBezTo>
                    <a:pt x="3587" y="1027"/>
                    <a:pt x="3587" y="1027"/>
                    <a:pt x="3587" y="1027"/>
                  </a:cubicBezTo>
                  <a:cubicBezTo>
                    <a:pt x="3588" y="1029"/>
                    <a:pt x="3588" y="1029"/>
                    <a:pt x="3588" y="1029"/>
                  </a:cubicBezTo>
                  <a:cubicBezTo>
                    <a:pt x="3588" y="1026"/>
                    <a:pt x="3588" y="1026"/>
                    <a:pt x="3588" y="1026"/>
                  </a:cubicBezTo>
                  <a:cubicBezTo>
                    <a:pt x="3588" y="1034"/>
                    <a:pt x="3588" y="1034"/>
                    <a:pt x="3588" y="1034"/>
                  </a:cubicBezTo>
                  <a:cubicBezTo>
                    <a:pt x="3591" y="1027"/>
                    <a:pt x="3591" y="1027"/>
                    <a:pt x="3591" y="1027"/>
                  </a:cubicBezTo>
                  <a:cubicBezTo>
                    <a:pt x="3589" y="1026"/>
                    <a:pt x="3588" y="1027"/>
                    <a:pt x="3588" y="1026"/>
                  </a:cubicBezTo>
                  <a:cubicBezTo>
                    <a:pt x="3588" y="1034"/>
                    <a:pt x="3588" y="1034"/>
                    <a:pt x="3588" y="1034"/>
                  </a:cubicBezTo>
                  <a:cubicBezTo>
                    <a:pt x="3591" y="1027"/>
                    <a:pt x="3591" y="1027"/>
                    <a:pt x="3591" y="1027"/>
                  </a:cubicBezTo>
                  <a:cubicBezTo>
                    <a:pt x="3588" y="1026"/>
                    <a:pt x="3584" y="1025"/>
                    <a:pt x="3581" y="1025"/>
                  </a:cubicBezTo>
                  <a:cubicBezTo>
                    <a:pt x="3578" y="1025"/>
                    <a:pt x="3576" y="1025"/>
                    <a:pt x="3574" y="1026"/>
                  </a:cubicBezTo>
                  <a:cubicBezTo>
                    <a:pt x="3571" y="1027"/>
                    <a:pt x="3569" y="1028"/>
                    <a:pt x="3567" y="1030"/>
                  </a:cubicBezTo>
                  <a:cubicBezTo>
                    <a:pt x="3566" y="1031"/>
                    <a:pt x="3564" y="1033"/>
                    <a:pt x="3563" y="1034"/>
                  </a:cubicBezTo>
                  <a:cubicBezTo>
                    <a:pt x="3563" y="1034"/>
                    <a:pt x="3563" y="1034"/>
                    <a:pt x="3563" y="1034"/>
                  </a:cubicBezTo>
                  <a:cubicBezTo>
                    <a:pt x="3558" y="1040"/>
                    <a:pt x="3552" y="1047"/>
                    <a:pt x="3547" y="1056"/>
                  </a:cubicBezTo>
                  <a:cubicBezTo>
                    <a:pt x="3544" y="1061"/>
                    <a:pt x="3543" y="1067"/>
                    <a:pt x="3542" y="1072"/>
                  </a:cubicBezTo>
                  <a:cubicBezTo>
                    <a:pt x="3541" y="1076"/>
                    <a:pt x="3541" y="1080"/>
                    <a:pt x="3540" y="1083"/>
                  </a:cubicBezTo>
                  <a:cubicBezTo>
                    <a:pt x="3540" y="1083"/>
                    <a:pt x="3540" y="1083"/>
                    <a:pt x="3540" y="1083"/>
                  </a:cubicBezTo>
                  <a:cubicBezTo>
                    <a:pt x="3540" y="1086"/>
                    <a:pt x="3539" y="1087"/>
                    <a:pt x="3539" y="1089"/>
                  </a:cubicBezTo>
                  <a:cubicBezTo>
                    <a:pt x="3538" y="1090"/>
                    <a:pt x="3538" y="1091"/>
                    <a:pt x="3537" y="1092"/>
                  </a:cubicBezTo>
                  <a:cubicBezTo>
                    <a:pt x="3537" y="1092"/>
                    <a:pt x="3537" y="1092"/>
                    <a:pt x="3537" y="1092"/>
                  </a:cubicBezTo>
                  <a:cubicBezTo>
                    <a:pt x="3535" y="1093"/>
                    <a:pt x="3534" y="1095"/>
                    <a:pt x="3532" y="1098"/>
                  </a:cubicBezTo>
                  <a:cubicBezTo>
                    <a:pt x="3531" y="1100"/>
                    <a:pt x="3530" y="1103"/>
                    <a:pt x="3530" y="1106"/>
                  </a:cubicBezTo>
                  <a:cubicBezTo>
                    <a:pt x="3530" y="1108"/>
                    <a:pt x="3531" y="1110"/>
                    <a:pt x="3531" y="1112"/>
                  </a:cubicBezTo>
                  <a:cubicBezTo>
                    <a:pt x="3532" y="1114"/>
                    <a:pt x="3532" y="1116"/>
                    <a:pt x="3533" y="1117"/>
                  </a:cubicBezTo>
                  <a:cubicBezTo>
                    <a:pt x="3533" y="1117"/>
                    <a:pt x="3533" y="1117"/>
                    <a:pt x="3533" y="1117"/>
                  </a:cubicBezTo>
                  <a:cubicBezTo>
                    <a:pt x="3534" y="1119"/>
                    <a:pt x="3536" y="1123"/>
                    <a:pt x="3537" y="1127"/>
                  </a:cubicBezTo>
                  <a:cubicBezTo>
                    <a:pt x="3539" y="1130"/>
                    <a:pt x="3542" y="1135"/>
                    <a:pt x="3546" y="1139"/>
                  </a:cubicBezTo>
                  <a:cubicBezTo>
                    <a:pt x="3546" y="1139"/>
                    <a:pt x="3546" y="1139"/>
                    <a:pt x="3546" y="1139"/>
                  </a:cubicBezTo>
                  <a:cubicBezTo>
                    <a:pt x="3552" y="1133"/>
                    <a:pt x="3552" y="1133"/>
                    <a:pt x="3552" y="1133"/>
                  </a:cubicBezTo>
                  <a:cubicBezTo>
                    <a:pt x="3544" y="1137"/>
                    <a:pt x="3544" y="1137"/>
                    <a:pt x="3544" y="1137"/>
                  </a:cubicBezTo>
                  <a:cubicBezTo>
                    <a:pt x="3544" y="1138"/>
                    <a:pt x="3545" y="1138"/>
                    <a:pt x="3546" y="1139"/>
                  </a:cubicBezTo>
                  <a:cubicBezTo>
                    <a:pt x="3552" y="1133"/>
                    <a:pt x="3552" y="1133"/>
                    <a:pt x="3552" y="1133"/>
                  </a:cubicBezTo>
                  <a:cubicBezTo>
                    <a:pt x="3544" y="1137"/>
                    <a:pt x="3544" y="1137"/>
                    <a:pt x="3544" y="1137"/>
                  </a:cubicBezTo>
                  <a:cubicBezTo>
                    <a:pt x="3549" y="1135"/>
                    <a:pt x="3549" y="1135"/>
                    <a:pt x="3549" y="1135"/>
                  </a:cubicBezTo>
                  <a:cubicBezTo>
                    <a:pt x="3544" y="1136"/>
                    <a:pt x="3544" y="1136"/>
                    <a:pt x="3544" y="1136"/>
                  </a:cubicBezTo>
                  <a:cubicBezTo>
                    <a:pt x="3544" y="1136"/>
                    <a:pt x="3544" y="1136"/>
                    <a:pt x="3544" y="1137"/>
                  </a:cubicBezTo>
                  <a:cubicBezTo>
                    <a:pt x="3549" y="1135"/>
                    <a:pt x="3549" y="1135"/>
                    <a:pt x="3549" y="1135"/>
                  </a:cubicBezTo>
                  <a:cubicBezTo>
                    <a:pt x="3544" y="1136"/>
                    <a:pt x="3544" y="1136"/>
                    <a:pt x="3544" y="1136"/>
                  </a:cubicBezTo>
                  <a:cubicBezTo>
                    <a:pt x="3545" y="1136"/>
                    <a:pt x="3545" y="1136"/>
                    <a:pt x="3545" y="1136"/>
                  </a:cubicBezTo>
                  <a:cubicBezTo>
                    <a:pt x="3544" y="1136"/>
                    <a:pt x="3544" y="1136"/>
                    <a:pt x="3544" y="1136"/>
                  </a:cubicBezTo>
                  <a:cubicBezTo>
                    <a:pt x="3544" y="1136"/>
                    <a:pt x="3544" y="1136"/>
                    <a:pt x="3544" y="1136"/>
                  </a:cubicBezTo>
                  <a:cubicBezTo>
                    <a:pt x="3545" y="1136"/>
                    <a:pt x="3545" y="1136"/>
                    <a:pt x="3545" y="1136"/>
                  </a:cubicBezTo>
                  <a:cubicBezTo>
                    <a:pt x="3544" y="1136"/>
                    <a:pt x="3544" y="1136"/>
                    <a:pt x="3544" y="1136"/>
                  </a:cubicBezTo>
                  <a:cubicBezTo>
                    <a:pt x="3544" y="1136"/>
                    <a:pt x="3544" y="1136"/>
                    <a:pt x="3544" y="1136"/>
                  </a:cubicBezTo>
                  <a:cubicBezTo>
                    <a:pt x="3544" y="1136"/>
                    <a:pt x="3544" y="1136"/>
                    <a:pt x="3544" y="1136"/>
                  </a:cubicBezTo>
                  <a:cubicBezTo>
                    <a:pt x="3544" y="1136"/>
                    <a:pt x="3544" y="1136"/>
                    <a:pt x="3544" y="1136"/>
                  </a:cubicBezTo>
                  <a:cubicBezTo>
                    <a:pt x="3544" y="1136"/>
                    <a:pt x="3544" y="1136"/>
                    <a:pt x="3544" y="1136"/>
                  </a:cubicBezTo>
                  <a:cubicBezTo>
                    <a:pt x="3544" y="1136"/>
                    <a:pt x="3544" y="1136"/>
                    <a:pt x="3544" y="1136"/>
                  </a:cubicBezTo>
                  <a:cubicBezTo>
                    <a:pt x="3546" y="1136"/>
                    <a:pt x="3546" y="1136"/>
                    <a:pt x="3546" y="1136"/>
                  </a:cubicBezTo>
                  <a:cubicBezTo>
                    <a:pt x="3544" y="1135"/>
                    <a:pt x="3544" y="1135"/>
                    <a:pt x="3544" y="1135"/>
                  </a:cubicBezTo>
                  <a:cubicBezTo>
                    <a:pt x="3544" y="1136"/>
                    <a:pt x="3544" y="1136"/>
                    <a:pt x="3544" y="1136"/>
                  </a:cubicBezTo>
                  <a:cubicBezTo>
                    <a:pt x="3546" y="1136"/>
                    <a:pt x="3546" y="1136"/>
                    <a:pt x="3546" y="1136"/>
                  </a:cubicBezTo>
                  <a:cubicBezTo>
                    <a:pt x="3544" y="1135"/>
                    <a:pt x="3544" y="1135"/>
                    <a:pt x="3544" y="1135"/>
                  </a:cubicBezTo>
                  <a:cubicBezTo>
                    <a:pt x="3544" y="1135"/>
                    <a:pt x="3544" y="1135"/>
                    <a:pt x="3544" y="1135"/>
                  </a:cubicBezTo>
                  <a:cubicBezTo>
                    <a:pt x="3543" y="1137"/>
                    <a:pt x="3543" y="1139"/>
                    <a:pt x="3542" y="1140"/>
                  </a:cubicBezTo>
                  <a:cubicBezTo>
                    <a:pt x="3542" y="1141"/>
                    <a:pt x="3541" y="1142"/>
                    <a:pt x="3541" y="1142"/>
                  </a:cubicBezTo>
                  <a:cubicBezTo>
                    <a:pt x="3541" y="1142"/>
                    <a:pt x="3541" y="1142"/>
                    <a:pt x="3541" y="1142"/>
                  </a:cubicBezTo>
                  <a:cubicBezTo>
                    <a:pt x="3542" y="1144"/>
                    <a:pt x="3542" y="1144"/>
                    <a:pt x="3542" y="1144"/>
                  </a:cubicBezTo>
                  <a:cubicBezTo>
                    <a:pt x="3541" y="1142"/>
                    <a:pt x="3541" y="1142"/>
                    <a:pt x="3541" y="1142"/>
                  </a:cubicBezTo>
                  <a:cubicBezTo>
                    <a:pt x="3541" y="1142"/>
                    <a:pt x="3541" y="1142"/>
                    <a:pt x="3541" y="1142"/>
                  </a:cubicBezTo>
                  <a:cubicBezTo>
                    <a:pt x="3542" y="1144"/>
                    <a:pt x="3542" y="1144"/>
                    <a:pt x="3542" y="1144"/>
                  </a:cubicBezTo>
                  <a:cubicBezTo>
                    <a:pt x="3541" y="1142"/>
                    <a:pt x="3541" y="1142"/>
                    <a:pt x="3541" y="1142"/>
                  </a:cubicBezTo>
                  <a:cubicBezTo>
                    <a:pt x="3542" y="1144"/>
                    <a:pt x="3542" y="1144"/>
                    <a:pt x="3542" y="1144"/>
                  </a:cubicBezTo>
                  <a:cubicBezTo>
                    <a:pt x="3542" y="1142"/>
                    <a:pt x="3542" y="1142"/>
                    <a:pt x="3542" y="1142"/>
                  </a:cubicBezTo>
                  <a:cubicBezTo>
                    <a:pt x="3541" y="1142"/>
                    <a:pt x="3541" y="1142"/>
                    <a:pt x="3541" y="1142"/>
                  </a:cubicBezTo>
                  <a:cubicBezTo>
                    <a:pt x="3542" y="1144"/>
                    <a:pt x="3542" y="1144"/>
                    <a:pt x="3542" y="1144"/>
                  </a:cubicBezTo>
                  <a:cubicBezTo>
                    <a:pt x="3542" y="1142"/>
                    <a:pt x="3542" y="1142"/>
                    <a:pt x="3542" y="1142"/>
                  </a:cubicBezTo>
                  <a:cubicBezTo>
                    <a:pt x="3542" y="1142"/>
                    <a:pt x="3541" y="1142"/>
                    <a:pt x="3540" y="1141"/>
                  </a:cubicBezTo>
                  <a:cubicBezTo>
                    <a:pt x="3539" y="1141"/>
                    <a:pt x="3537" y="1140"/>
                    <a:pt x="3535" y="1139"/>
                  </a:cubicBezTo>
                  <a:cubicBezTo>
                    <a:pt x="3535" y="1139"/>
                    <a:pt x="3535" y="1139"/>
                    <a:pt x="3535" y="1139"/>
                  </a:cubicBezTo>
                  <a:cubicBezTo>
                    <a:pt x="3534" y="1138"/>
                    <a:pt x="3533" y="1138"/>
                    <a:pt x="3532" y="1136"/>
                  </a:cubicBezTo>
                  <a:cubicBezTo>
                    <a:pt x="3531" y="1135"/>
                    <a:pt x="3529" y="1134"/>
                    <a:pt x="3528" y="1132"/>
                  </a:cubicBezTo>
                  <a:cubicBezTo>
                    <a:pt x="3528" y="1132"/>
                    <a:pt x="3528" y="1132"/>
                    <a:pt x="3528" y="1132"/>
                  </a:cubicBezTo>
                  <a:cubicBezTo>
                    <a:pt x="3526" y="1131"/>
                    <a:pt x="3525" y="1130"/>
                    <a:pt x="3524" y="1129"/>
                  </a:cubicBezTo>
                  <a:cubicBezTo>
                    <a:pt x="3513" y="1121"/>
                    <a:pt x="3513" y="1121"/>
                    <a:pt x="3513" y="1121"/>
                  </a:cubicBezTo>
                  <a:cubicBezTo>
                    <a:pt x="3506" y="1133"/>
                    <a:pt x="3506" y="1133"/>
                    <a:pt x="3506" y="1133"/>
                  </a:cubicBezTo>
                  <a:cubicBezTo>
                    <a:pt x="3506" y="1134"/>
                    <a:pt x="3505" y="1135"/>
                    <a:pt x="3504" y="1138"/>
                  </a:cubicBezTo>
                  <a:cubicBezTo>
                    <a:pt x="3515" y="1142"/>
                    <a:pt x="3515" y="1142"/>
                    <a:pt x="3515" y="1142"/>
                  </a:cubicBezTo>
                  <a:cubicBezTo>
                    <a:pt x="3504" y="1138"/>
                    <a:pt x="3504" y="1138"/>
                    <a:pt x="3504" y="1138"/>
                  </a:cubicBezTo>
                  <a:cubicBezTo>
                    <a:pt x="3503" y="1139"/>
                    <a:pt x="3502" y="1141"/>
                    <a:pt x="3502" y="1145"/>
                  </a:cubicBezTo>
                  <a:cubicBezTo>
                    <a:pt x="3502" y="1145"/>
                    <a:pt x="3502" y="1145"/>
                    <a:pt x="3502" y="1145"/>
                  </a:cubicBezTo>
                  <a:cubicBezTo>
                    <a:pt x="3502" y="1149"/>
                    <a:pt x="3501" y="1152"/>
                    <a:pt x="3500" y="1154"/>
                  </a:cubicBezTo>
                  <a:cubicBezTo>
                    <a:pt x="3499" y="1155"/>
                    <a:pt x="3499" y="1156"/>
                    <a:pt x="3498" y="1157"/>
                  </a:cubicBezTo>
                  <a:cubicBezTo>
                    <a:pt x="3497" y="1157"/>
                    <a:pt x="3496" y="1158"/>
                    <a:pt x="3494" y="1159"/>
                  </a:cubicBezTo>
                  <a:cubicBezTo>
                    <a:pt x="3494" y="1159"/>
                    <a:pt x="3494" y="1159"/>
                    <a:pt x="3494" y="1159"/>
                  </a:cubicBezTo>
                  <a:cubicBezTo>
                    <a:pt x="3492" y="1160"/>
                    <a:pt x="3489" y="1161"/>
                    <a:pt x="3487" y="1163"/>
                  </a:cubicBezTo>
                  <a:cubicBezTo>
                    <a:pt x="3486" y="1165"/>
                    <a:pt x="3485" y="1166"/>
                    <a:pt x="3484" y="1168"/>
                  </a:cubicBezTo>
                  <a:cubicBezTo>
                    <a:pt x="3483" y="1170"/>
                    <a:pt x="3483" y="1172"/>
                    <a:pt x="3482" y="1173"/>
                  </a:cubicBezTo>
                  <a:cubicBezTo>
                    <a:pt x="3482" y="1174"/>
                    <a:pt x="3482" y="1175"/>
                    <a:pt x="3481" y="1176"/>
                  </a:cubicBezTo>
                  <a:cubicBezTo>
                    <a:pt x="3481" y="1176"/>
                    <a:pt x="3481" y="1176"/>
                    <a:pt x="3481" y="1176"/>
                  </a:cubicBezTo>
                  <a:cubicBezTo>
                    <a:pt x="3479" y="1184"/>
                    <a:pt x="3478" y="1191"/>
                    <a:pt x="3477" y="1196"/>
                  </a:cubicBezTo>
                  <a:cubicBezTo>
                    <a:pt x="3476" y="1199"/>
                    <a:pt x="3475" y="1201"/>
                    <a:pt x="3474" y="1203"/>
                  </a:cubicBezTo>
                  <a:cubicBezTo>
                    <a:pt x="3474" y="1205"/>
                    <a:pt x="3472" y="1207"/>
                    <a:pt x="3471" y="1208"/>
                  </a:cubicBezTo>
                  <a:cubicBezTo>
                    <a:pt x="3471" y="1208"/>
                    <a:pt x="3471" y="1208"/>
                    <a:pt x="3471" y="1208"/>
                  </a:cubicBezTo>
                  <a:cubicBezTo>
                    <a:pt x="3469" y="1210"/>
                    <a:pt x="3467" y="1212"/>
                    <a:pt x="3465" y="1215"/>
                  </a:cubicBezTo>
                  <a:cubicBezTo>
                    <a:pt x="3474" y="1222"/>
                    <a:pt x="3474" y="1222"/>
                    <a:pt x="3474" y="1222"/>
                  </a:cubicBezTo>
                  <a:cubicBezTo>
                    <a:pt x="3465" y="1215"/>
                    <a:pt x="3465" y="1215"/>
                    <a:pt x="3465" y="1215"/>
                  </a:cubicBezTo>
                  <a:cubicBezTo>
                    <a:pt x="3465" y="1215"/>
                    <a:pt x="3465" y="1215"/>
                    <a:pt x="3464" y="1216"/>
                  </a:cubicBezTo>
                  <a:cubicBezTo>
                    <a:pt x="3463" y="1217"/>
                    <a:pt x="3462" y="1218"/>
                    <a:pt x="3460" y="1220"/>
                  </a:cubicBezTo>
                  <a:cubicBezTo>
                    <a:pt x="3459" y="1221"/>
                    <a:pt x="3458" y="1222"/>
                    <a:pt x="3458" y="1224"/>
                  </a:cubicBezTo>
                  <a:cubicBezTo>
                    <a:pt x="3457" y="1225"/>
                    <a:pt x="3456" y="1228"/>
                    <a:pt x="3456" y="1230"/>
                  </a:cubicBezTo>
                  <a:cubicBezTo>
                    <a:pt x="3456" y="1233"/>
                    <a:pt x="3456" y="1236"/>
                    <a:pt x="3455" y="1238"/>
                  </a:cubicBezTo>
                  <a:cubicBezTo>
                    <a:pt x="3454" y="1240"/>
                    <a:pt x="3453" y="1242"/>
                    <a:pt x="3452" y="1244"/>
                  </a:cubicBezTo>
                  <a:cubicBezTo>
                    <a:pt x="3452" y="1244"/>
                    <a:pt x="3452" y="1244"/>
                    <a:pt x="3452" y="1244"/>
                  </a:cubicBezTo>
                  <a:cubicBezTo>
                    <a:pt x="3452" y="1244"/>
                    <a:pt x="3452" y="1244"/>
                    <a:pt x="3452" y="1244"/>
                  </a:cubicBezTo>
                  <a:cubicBezTo>
                    <a:pt x="3451" y="1246"/>
                    <a:pt x="3450" y="1247"/>
                    <a:pt x="3450" y="1248"/>
                  </a:cubicBezTo>
                  <a:cubicBezTo>
                    <a:pt x="3450" y="1250"/>
                    <a:pt x="3450" y="1251"/>
                    <a:pt x="3450" y="1252"/>
                  </a:cubicBezTo>
                  <a:cubicBezTo>
                    <a:pt x="3450" y="1254"/>
                    <a:pt x="3450" y="1255"/>
                    <a:pt x="3450" y="1256"/>
                  </a:cubicBezTo>
                  <a:cubicBezTo>
                    <a:pt x="3451" y="1258"/>
                    <a:pt x="3451" y="1259"/>
                    <a:pt x="3452" y="1260"/>
                  </a:cubicBezTo>
                  <a:cubicBezTo>
                    <a:pt x="3453" y="1261"/>
                    <a:pt x="3453" y="1263"/>
                    <a:pt x="3455" y="1264"/>
                  </a:cubicBezTo>
                  <a:cubicBezTo>
                    <a:pt x="3454" y="1264"/>
                    <a:pt x="3454" y="1264"/>
                    <a:pt x="3454" y="1264"/>
                  </a:cubicBezTo>
                  <a:cubicBezTo>
                    <a:pt x="3457" y="1266"/>
                    <a:pt x="3458" y="1268"/>
                    <a:pt x="3460" y="1270"/>
                  </a:cubicBezTo>
                  <a:cubicBezTo>
                    <a:pt x="3461" y="1271"/>
                    <a:pt x="3462" y="1272"/>
                    <a:pt x="3463" y="1273"/>
                  </a:cubicBezTo>
                  <a:cubicBezTo>
                    <a:pt x="3463" y="1273"/>
                    <a:pt x="3464" y="1274"/>
                    <a:pt x="3464" y="1274"/>
                  </a:cubicBezTo>
                  <a:cubicBezTo>
                    <a:pt x="3466" y="1273"/>
                    <a:pt x="3466" y="1273"/>
                    <a:pt x="3466" y="1273"/>
                  </a:cubicBezTo>
                  <a:cubicBezTo>
                    <a:pt x="3464" y="1274"/>
                    <a:pt x="3464" y="1274"/>
                    <a:pt x="3464" y="1274"/>
                  </a:cubicBezTo>
                  <a:cubicBezTo>
                    <a:pt x="3464" y="1274"/>
                    <a:pt x="3464" y="1274"/>
                    <a:pt x="3464" y="1274"/>
                  </a:cubicBezTo>
                  <a:cubicBezTo>
                    <a:pt x="3466" y="1273"/>
                    <a:pt x="3466" y="1273"/>
                    <a:pt x="3466" y="1273"/>
                  </a:cubicBezTo>
                  <a:cubicBezTo>
                    <a:pt x="3464" y="1274"/>
                    <a:pt x="3464" y="1274"/>
                    <a:pt x="3464" y="1274"/>
                  </a:cubicBezTo>
                  <a:cubicBezTo>
                    <a:pt x="3469" y="1272"/>
                    <a:pt x="3469" y="1272"/>
                    <a:pt x="3469" y="1272"/>
                  </a:cubicBezTo>
                  <a:cubicBezTo>
                    <a:pt x="3463" y="1272"/>
                    <a:pt x="3463" y="1272"/>
                    <a:pt x="3463" y="1272"/>
                  </a:cubicBezTo>
                  <a:cubicBezTo>
                    <a:pt x="3463" y="1273"/>
                    <a:pt x="3464" y="1273"/>
                    <a:pt x="3464" y="1274"/>
                  </a:cubicBezTo>
                  <a:cubicBezTo>
                    <a:pt x="3469" y="1272"/>
                    <a:pt x="3469" y="1272"/>
                    <a:pt x="3469" y="1272"/>
                  </a:cubicBezTo>
                  <a:cubicBezTo>
                    <a:pt x="3463" y="1272"/>
                    <a:pt x="3463" y="1272"/>
                    <a:pt x="3463" y="1272"/>
                  </a:cubicBezTo>
                  <a:cubicBezTo>
                    <a:pt x="3470" y="1272"/>
                    <a:pt x="3470" y="1272"/>
                    <a:pt x="3470" y="1272"/>
                  </a:cubicBezTo>
                  <a:cubicBezTo>
                    <a:pt x="3464" y="1270"/>
                    <a:pt x="3464" y="1270"/>
                    <a:pt x="3464" y="1270"/>
                  </a:cubicBezTo>
                  <a:cubicBezTo>
                    <a:pt x="3464" y="1271"/>
                    <a:pt x="3463" y="1272"/>
                    <a:pt x="3463" y="1272"/>
                  </a:cubicBezTo>
                  <a:cubicBezTo>
                    <a:pt x="3470" y="1272"/>
                    <a:pt x="3470" y="1272"/>
                    <a:pt x="3470" y="1272"/>
                  </a:cubicBezTo>
                  <a:cubicBezTo>
                    <a:pt x="3464" y="1270"/>
                    <a:pt x="3464" y="1270"/>
                    <a:pt x="3464" y="1270"/>
                  </a:cubicBezTo>
                  <a:cubicBezTo>
                    <a:pt x="3468" y="1272"/>
                    <a:pt x="3468" y="1272"/>
                    <a:pt x="3468" y="1272"/>
                  </a:cubicBezTo>
                  <a:cubicBezTo>
                    <a:pt x="3465" y="1268"/>
                    <a:pt x="3465" y="1268"/>
                    <a:pt x="3465" y="1268"/>
                  </a:cubicBezTo>
                  <a:cubicBezTo>
                    <a:pt x="3465" y="1268"/>
                    <a:pt x="3464" y="1269"/>
                    <a:pt x="3464" y="1270"/>
                  </a:cubicBezTo>
                  <a:cubicBezTo>
                    <a:pt x="3468" y="1272"/>
                    <a:pt x="3468" y="1272"/>
                    <a:pt x="3468" y="1272"/>
                  </a:cubicBezTo>
                  <a:cubicBezTo>
                    <a:pt x="3465" y="1268"/>
                    <a:pt x="3465" y="1268"/>
                    <a:pt x="3465" y="1268"/>
                  </a:cubicBezTo>
                  <a:cubicBezTo>
                    <a:pt x="3465" y="1269"/>
                    <a:pt x="3465" y="1269"/>
                    <a:pt x="3465" y="1269"/>
                  </a:cubicBezTo>
                  <a:cubicBezTo>
                    <a:pt x="3465" y="1268"/>
                    <a:pt x="3465" y="1268"/>
                    <a:pt x="3465" y="1268"/>
                  </a:cubicBezTo>
                  <a:cubicBezTo>
                    <a:pt x="3465" y="1268"/>
                    <a:pt x="3465" y="1268"/>
                    <a:pt x="3465" y="1268"/>
                  </a:cubicBezTo>
                  <a:cubicBezTo>
                    <a:pt x="3465" y="1269"/>
                    <a:pt x="3465" y="1269"/>
                    <a:pt x="3465" y="1269"/>
                  </a:cubicBezTo>
                  <a:cubicBezTo>
                    <a:pt x="3465" y="1268"/>
                    <a:pt x="3465" y="1268"/>
                    <a:pt x="3465" y="1268"/>
                  </a:cubicBezTo>
                  <a:cubicBezTo>
                    <a:pt x="3465" y="1268"/>
                    <a:pt x="3465" y="1269"/>
                    <a:pt x="3464" y="1269"/>
                  </a:cubicBezTo>
                  <a:cubicBezTo>
                    <a:pt x="3464" y="1269"/>
                    <a:pt x="3464" y="1269"/>
                    <a:pt x="3464" y="1269"/>
                  </a:cubicBezTo>
                  <a:cubicBezTo>
                    <a:pt x="3459" y="1271"/>
                    <a:pt x="3455" y="1274"/>
                    <a:pt x="3452" y="1278"/>
                  </a:cubicBezTo>
                  <a:cubicBezTo>
                    <a:pt x="3448" y="1282"/>
                    <a:pt x="3446" y="1286"/>
                    <a:pt x="3444" y="1290"/>
                  </a:cubicBezTo>
                  <a:cubicBezTo>
                    <a:pt x="3444" y="1290"/>
                    <a:pt x="3444" y="1290"/>
                    <a:pt x="3444" y="1290"/>
                  </a:cubicBezTo>
                  <a:cubicBezTo>
                    <a:pt x="3444" y="1290"/>
                    <a:pt x="3443" y="1291"/>
                    <a:pt x="3443" y="1292"/>
                  </a:cubicBezTo>
                  <a:cubicBezTo>
                    <a:pt x="3442" y="1294"/>
                    <a:pt x="3441" y="1296"/>
                    <a:pt x="3441" y="1299"/>
                  </a:cubicBezTo>
                  <a:cubicBezTo>
                    <a:pt x="3441" y="1300"/>
                    <a:pt x="3441" y="1302"/>
                    <a:pt x="3442" y="1303"/>
                  </a:cubicBezTo>
                  <a:cubicBezTo>
                    <a:pt x="3443" y="1306"/>
                    <a:pt x="3444" y="1308"/>
                    <a:pt x="3445" y="1309"/>
                  </a:cubicBezTo>
                  <a:cubicBezTo>
                    <a:pt x="3447" y="1311"/>
                    <a:pt x="3448" y="1312"/>
                    <a:pt x="3450" y="1313"/>
                  </a:cubicBezTo>
                  <a:cubicBezTo>
                    <a:pt x="3450" y="1313"/>
                    <a:pt x="3450" y="1313"/>
                    <a:pt x="3450" y="1313"/>
                  </a:cubicBezTo>
                  <a:cubicBezTo>
                    <a:pt x="3450" y="1313"/>
                    <a:pt x="3451" y="1313"/>
                    <a:pt x="3451" y="1313"/>
                  </a:cubicBezTo>
                  <a:cubicBezTo>
                    <a:pt x="3451" y="1314"/>
                    <a:pt x="3451" y="1314"/>
                    <a:pt x="3451" y="1314"/>
                  </a:cubicBezTo>
                  <a:cubicBezTo>
                    <a:pt x="3451" y="1314"/>
                    <a:pt x="3451" y="1314"/>
                    <a:pt x="3451" y="1314"/>
                  </a:cubicBezTo>
                  <a:cubicBezTo>
                    <a:pt x="3452" y="1313"/>
                    <a:pt x="3452" y="1313"/>
                    <a:pt x="3452" y="1313"/>
                  </a:cubicBezTo>
                  <a:cubicBezTo>
                    <a:pt x="3451" y="1313"/>
                    <a:pt x="3451" y="1313"/>
                    <a:pt x="3451" y="1313"/>
                  </a:cubicBezTo>
                  <a:cubicBezTo>
                    <a:pt x="3451" y="1314"/>
                    <a:pt x="3451" y="1314"/>
                    <a:pt x="3451" y="1314"/>
                  </a:cubicBezTo>
                  <a:cubicBezTo>
                    <a:pt x="3452" y="1313"/>
                    <a:pt x="3452" y="1313"/>
                    <a:pt x="3452" y="1313"/>
                  </a:cubicBezTo>
                  <a:cubicBezTo>
                    <a:pt x="3451" y="1313"/>
                    <a:pt x="3451" y="1313"/>
                    <a:pt x="3451" y="1313"/>
                  </a:cubicBezTo>
                  <a:cubicBezTo>
                    <a:pt x="3451" y="1313"/>
                    <a:pt x="3451" y="1313"/>
                    <a:pt x="3451" y="1313"/>
                  </a:cubicBezTo>
                  <a:cubicBezTo>
                    <a:pt x="3451" y="1313"/>
                    <a:pt x="3451" y="1313"/>
                    <a:pt x="3451" y="1313"/>
                  </a:cubicBezTo>
                  <a:cubicBezTo>
                    <a:pt x="3451" y="1313"/>
                    <a:pt x="3451" y="1313"/>
                    <a:pt x="3451" y="1313"/>
                  </a:cubicBezTo>
                  <a:cubicBezTo>
                    <a:pt x="3451" y="1313"/>
                    <a:pt x="3451" y="1313"/>
                    <a:pt x="3451" y="1313"/>
                  </a:cubicBezTo>
                  <a:cubicBezTo>
                    <a:pt x="3451" y="1313"/>
                    <a:pt x="3451" y="1313"/>
                    <a:pt x="3451" y="1313"/>
                  </a:cubicBezTo>
                  <a:cubicBezTo>
                    <a:pt x="3451" y="1313"/>
                    <a:pt x="3451" y="1313"/>
                    <a:pt x="3451" y="1313"/>
                  </a:cubicBezTo>
                  <a:cubicBezTo>
                    <a:pt x="3451" y="1313"/>
                    <a:pt x="3451" y="1313"/>
                    <a:pt x="3451" y="1313"/>
                  </a:cubicBezTo>
                  <a:cubicBezTo>
                    <a:pt x="3451" y="1314"/>
                    <a:pt x="3450" y="1316"/>
                    <a:pt x="3448" y="1317"/>
                  </a:cubicBezTo>
                  <a:cubicBezTo>
                    <a:pt x="3447" y="1318"/>
                    <a:pt x="3445" y="1319"/>
                    <a:pt x="3444" y="1319"/>
                  </a:cubicBezTo>
                  <a:cubicBezTo>
                    <a:pt x="3444" y="1319"/>
                    <a:pt x="3444" y="1319"/>
                    <a:pt x="3444" y="1319"/>
                  </a:cubicBezTo>
                  <a:cubicBezTo>
                    <a:pt x="3442" y="1319"/>
                    <a:pt x="3439" y="1319"/>
                    <a:pt x="3434" y="1320"/>
                  </a:cubicBezTo>
                  <a:cubicBezTo>
                    <a:pt x="3432" y="1320"/>
                    <a:pt x="3429" y="1321"/>
                    <a:pt x="3426" y="1322"/>
                  </a:cubicBezTo>
                  <a:cubicBezTo>
                    <a:pt x="3423" y="1324"/>
                    <a:pt x="3421" y="1326"/>
                    <a:pt x="3419" y="1328"/>
                  </a:cubicBezTo>
                  <a:cubicBezTo>
                    <a:pt x="3419" y="1328"/>
                    <a:pt x="3419" y="1328"/>
                    <a:pt x="3419" y="1328"/>
                  </a:cubicBezTo>
                  <a:cubicBezTo>
                    <a:pt x="3427" y="1335"/>
                    <a:pt x="3427" y="1335"/>
                    <a:pt x="3427" y="1335"/>
                  </a:cubicBezTo>
                  <a:cubicBezTo>
                    <a:pt x="3422" y="1326"/>
                    <a:pt x="3422" y="1326"/>
                    <a:pt x="3422" y="1326"/>
                  </a:cubicBezTo>
                  <a:cubicBezTo>
                    <a:pt x="3421" y="1326"/>
                    <a:pt x="3420" y="1327"/>
                    <a:pt x="3419" y="1328"/>
                  </a:cubicBezTo>
                  <a:cubicBezTo>
                    <a:pt x="3427" y="1335"/>
                    <a:pt x="3427" y="1335"/>
                    <a:pt x="3427" y="1335"/>
                  </a:cubicBezTo>
                  <a:cubicBezTo>
                    <a:pt x="3422" y="1326"/>
                    <a:pt x="3422" y="1326"/>
                    <a:pt x="3422" y="1326"/>
                  </a:cubicBezTo>
                  <a:cubicBezTo>
                    <a:pt x="3426" y="1333"/>
                    <a:pt x="3426" y="1333"/>
                    <a:pt x="3426" y="1333"/>
                  </a:cubicBezTo>
                  <a:cubicBezTo>
                    <a:pt x="3424" y="1325"/>
                    <a:pt x="3424" y="1325"/>
                    <a:pt x="3424" y="1325"/>
                  </a:cubicBezTo>
                  <a:cubicBezTo>
                    <a:pt x="3424" y="1325"/>
                    <a:pt x="3423" y="1325"/>
                    <a:pt x="3422" y="1326"/>
                  </a:cubicBezTo>
                  <a:cubicBezTo>
                    <a:pt x="3426" y="1333"/>
                    <a:pt x="3426" y="1333"/>
                    <a:pt x="3426" y="1333"/>
                  </a:cubicBezTo>
                  <a:cubicBezTo>
                    <a:pt x="3424" y="1325"/>
                    <a:pt x="3424" y="1325"/>
                    <a:pt x="3424" y="1325"/>
                  </a:cubicBezTo>
                  <a:cubicBezTo>
                    <a:pt x="3425" y="1330"/>
                    <a:pt x="3425" y="1330"/>
                    <a:pt x="3425" y="1330"/>
                  </a:cubicBezTo>
                  <a:cubicBezTo>
                    <a:pt x="3425" y="1325"/>
                    <a:pt x="3425" y="1325"/>
                    <a:pt x="3425" y="1325"/>
                  </a:cubicBezTo>
                  <a:cubicBezTo>
                    <a:pt x="3425" y="1325"/>
                    <a:pt x="3424" y="1325"/>
                    <a:pt x="3424" y="1325"/>
                  </a:cubicBezTo>
                  <a:cubicBezTo>
                    <a:pt x="3425" y="1330"/>
                    <a:pt x="3425" y="1330"/>
                    <a:pt x="3425" y="1330"/>
                  </a:cubicBezTo>
                  <a:cubicBezTo>
                    <a:pt x="3425" y="1325"/>
                    <a:pt x="3425" y="1325"/>
                    <a:pt x="3425" y="1325"/>
                  </a:cubicBezTo>
                  <a:cubicBezTo>
                    <a:pt x="3425" y="1331"/>
                    <a:pt x="3425" y="1331"/>
                    <a:pt x="3425" y="1331"/>
                  </a:cubicBezTo>
                  <a:cubicBezTo>
                    <a:pt x="3426" y="1325"/>
                    <a:pt x="3426" y="1325"/>
                    <a:pt x="3426" y="1325"/>
                  </a:cubicBezTo>
                  <a:cubicBezTo>
                    <a:pt x="3426" y="1325"/>
                    <a:pt x="3425" y="1325"/>
                    <a:pt x="3425" y="1325"/>
                  </a:cubicBezTo>
                  <a:cubicBezTo>
                    <a:pt x="3425" y="1331"/>
                    <a:pt x="3425" y="1331"/>
                    <a:pt x="3425" y="1331"/>
                  </a:cubicBezTo>
                  <a:cubicBezTo>
                    <a:pt x="3426" y="1325"/>
                    <a:pt x="3426" y="1325"/>
                    <a:pt x="3426" y="1325"/>
                  </a:cubicBezTo>
                  <a:cubicBezTo>
                    <a:pt x="3424" y="1334"/>
                    <a:pt x="3424" y="1334"/>
                    <a:pt x="3424" y="1334"/>
                  </a:cubicBezTo>
                  <a:cubicBezTo>
                    <a:pt x="3429" y="1326"/>
                    <a:pt x="3429" y="1326"/>
                    <a:pt x="3429" y="1326"/>
                  </a:cubicBezTo>
                  <a:cubicBezTo>
                    <a:pt x="3427" y="1325"/>
                    <a:pt x="3427" y="1325"/>
                    <a:pt x="3426" y="1325"/>
                  </a:cubicBezTo>
                  <a:cubicBezTo>
                    <a:pt x="3424" y="1334"/>
                    <a:pt x="3424" y="1334"/>
                    <a:pt x="3424" y="1334"/>
                  </a:cubicBezTo>
                  <a:cubicBezTo>
                    <a:pt x="3429" y="1326"/>
                    <a:pt x="3429" y="1326"/>
                    <a:pt x="3429" y="1326"/>
                  </a:cubicBezTo>
                  <a:cubicBezTo>
                    <a:pt x="3429" y="1326"/>
                    <a:pt x="3429" y="1326"/>
                    <a:pt x="3429" y="1326"/>
                  </a:cubicBezTo>
                  <a:cubicBezTo>
                    <a:pt x="3424" y="1324"/>
                    <a:pt x="3420" y="1322"/>
                    <a:pt x="3415" y="1322"/>
                  </a:cubicBezTo>
                  <a:cubicBezTo>
                    <a:pt x="3412" y="1322"/>
                    <a:pt x="3408" y="1323"/>
                    <a:pt x="3405" y="1324"/>
                  </a:cubicBezTo>
                  <a:cubicBezTo>
                    <a:pt x="3402" y="1325"/>
                    <a:pt x="3399" y="1327"/>
                    <a:pt x="3397" y="1329"/>
                  </a:cubicBezTo>
                  <a:cubicBezTo>
                    <a:pt x="3397" y="1329"/>
                    <a:pt x="3397" y="1329"/>
                    <a:pt x="3397" y="1329"/>
                  </a:cubicBezTo>
                  <a:cubicBezTo>
                    <a:pt x="3397" y="1329"/>
                    <a:pt x="3397" y="1329"/>
                    <a:pt x="3397" y="1329"/>
                  </a:cubicBezTo>
                  <a:cubicBezTo>
                    <a:pt x="3400" y="1333"/>
                    <a:pt x="3400" y="1333"/>
                    <a:pt x="3400" y="1333"/>
                  </a:cubicBezTo>
                  <a:cubicBezTo>
                    <a:pt x="3397" y="1329"/>
                    <a:pt x="3397" y="1329"/>
                    <a:pt x="3397" y="1329"/>
                  </a:cubicBezTo>
                  <a:cubicBezTo>
                    <a:pt x="3397" y="1329"/>
                    <a:pt x="3397" y="1329"/>
                    <a:pt x="3397" y="1329"/>
                  </a:cubicBezTo>
                  <a:cubicBezTo>
                    <a:pt x="3400" y="1333"/>
                    <a:pt x="3400" y="1333"/>
                    <a:pt x="3400" y="1333"/>
                  </a:cubicBezTo>
                  <a:cubicBezTo>
                    <a:pt x="3397" y="1329"/>
                    <a:pt x="3397" y="1329"/>
                    <a:pt x="3397" y="1329"/>
                  </a:cubicBezTo>
                  <a:cubicBezTo>
                    <a:pt x="3402" y="1337"/>
                    <a:pt x="3402" y="1337"/>
                    <a:pt x="3402" y="1337"/>
                  </a:cubicBezTo>
                  <a:cubicBezTo>
                    <a:pt x="3399" y="1328"/>
                    <a:pt x="3399" y="1328"/>
                    <a:pt x="3399" y="1328"/>
                  </a:cubicBezTo>
                  <a:cubicBezTo>
                    <a:pt x="3398" y="1328"/>
                    <a:pt x="3398" y="1329"/>
                    <a:pt x="3397" y="1329"/>
                  </a:cubicBezTo>
                  <a:cubicBezTo>
                    <a:pt x="3402" y="1337"/>
                    <a:pt x="3402" y="1337"/>
                    <a:pt x="3402" y="1337"/>
                  </a:cubicBezTo>
                  <a:cubicBezTo>
                    <a:pt x="3399" y="1328"/>
                    <a:pt x="3399" y="1328"/>
                    <a:pt x="3399" y="1328"/>
                  </a:cubicBezTo>
                  <a:cubicBezTo>
                    <a:pt x="3402" y="1338"/>
                    <a:pt x="3402" y="1338"/>
                    <a:pt x="3402" y="1338"/>
                  </a:cubicBezTo>
                  <a:cubicBezTo>
                    <a:pt x="3402" y="1327"/>
                    <a:pt x="3402" y="1327"/>
                    <a:pt x="3402" y="1327"/>
                  </a:cubicBezTo>
                  <a:cubicBezTo>
                    <a:pt x="3401" y="1327"/>
                    <a:pt x="3399" y="1328"/>
                    <a:pt x="3399" y="1328"/>
                  </a:cubicBezTo>
                  <a:cubicBezTo>
                    <a:pt x="3402" y="1338"/>
                    <a:pt x="3402" y="1338"/>
                    <a:pt x="3402" y="1338"/>
                  </a:cubicBezTo>
                  <a:cubicBezTo>
                    <a:pt x="3402" y="1327"/>
                    <a:pt x="3402" y="1327"/>
                    <a:pt x="3402" y="1327"/>
                  </a:cubicBezTo>
                  <a:cubicBezTo>
                    <a:pt x="3402" y="1339"/>
                    <a:pt x="3402" y="1339"/>
                    <a:pt x="3402" y="1339"/>
                  </a:cubicBezTo>
                  <a:cubicBezTo>
                    <a:pt x="3405" y="1328"/>
                    <a:pt x="3405" y="1328"/>
                    <a:pt x="3405" y="1328"/>
                  </a:cubicBezTo>
                  <a:cubicBezTo>
                    <a:pt x="3404" y="1328"/>
                    <a:pt x="3403" y="1327"/>
                    <a:pt x="3402" y="1327"/>
                  </a:cubicBezTo>
                  <a:cubicBezTo>
                    <a:pt x="3402" y="1339"/>
                    <a:pt x="3402" y="1339"/>
                    <a:pt x="3402" y="1339"/>
                  </a:cubicBezTo>
                  <a:cubicBezTo>
                    <a:pt x="3405" y="1328"/>
                    <a:pt x="3405" y="1328"/>
                    <a:pt x="3405" y="1328"/>
                  </a:cubicBezTo>
                  <a:cubicBezTo>
                    <a:pt x="3402" y="1339"/>
                    <a:pt x="3402" y="1339"/>
                    <a:pt x="3402" y="1339"/>
                  </a:cubicBezTo>
                  <a:cubicBezTo>
                    <a:pt x="3406" y="1328"/>
                    <a:pt x="3406" y="1328"/>
                    <a:pt x="3406" y="1328"/>
                  </a:cubicBezTo>
                  <a:cubicBezTo>
                    <a:pt x="3403" y="1327"/>
                    <a:pt x="3401" y="1327"/>
                    <a:pt x="3398" y="1327"/>
                  </a:cubicBezTo>
                  <a:cubicBezTo>
                    <a:pt x="3395" y="1327"/>
                    <a:pt x="3392" y="1328"/>
                    <a:pt x="3389" y="1329"/>
                  </a:cubicBezTo>
                  <a:cubicBezTo>
                    <a:pt x="3385" y="1331"/>
                    <a:pt x="3382" y="1333"/>
                    <a:pt x="3380" y="1335"/>
                  </a:cubicBezTo>
                  <a:cubicBezTo>
                    <a:pt x="3378" y="1337"/>
                    <a:pt x="3376" y="1339"/>
                    <a:pt x="3375" y="1340"/>
                  </a:cubicBezTo>
                  <a:cubicBezTo>
                    <a:pt x="3375" y="1340"/>
                    <a:pt x="3375" y="1340"/>
                    <a:pt x="3375" y="1340"/>
                  </a:cubicBezTo>
                  <a:cubicBezTo>
                    <a:pt x="3375" y="1340"/>
                    <a:pt x="3375" y="1340"/>
                    <a:pt x="3375" y="1340"/>
                  </a:cubicBezTo>
                  <a:cubicBezTo>
                    <a:pt x="3375" y="1340"/>
                    <a:pt x="3374" y="1341"/>
                    <a:pt x="3372" y="1341"/>
                  </a:cubicBezTo>
                  <a:cubicBezTo>
                    <a:pt x="3372" y="1341"/>
                    <a:pt x="3372" y="1341"/>
                    <a:pt x="3372" y="1341"/>
                  </a:cubicBezTo>
                  <a:cubicBezTo>
                    <a:pt x="3369" y="1342"/>
                    <a:pt x="3365" y="1343"/>
                    <a:pt x="3359" y="1345"/>
                  </a:cubicBezTo>
                  <a:cubicBezTo>
                    <a:pt x="3357" y="1346"/>
                    <a:pt x="3354" y="1348"/>
                    <a:pt x="3351" y="1351"/>
                  </a:cubicBezTo>
                  <a:cubicBezTo>
                    <a:pt x="3349" y="1353"/>
                    <a:pt x="3346" y="1356"/>
                    <a:pt x="3345" y="1360"/>
                  </a:cubicBezTo>
                  <a:cubicBezTo>
                    <a:pt x="3356" y="1365"/>
                    <a:pt x="3356" y="1365"/>
                    <a:pt x="3356" y="1365"/>
                  </a:cubicBezTo>
                  <a:cubicBezTo>
                    <a:pt x="3355" y="1353"/>
                    <a:pt x="3355" y="1353"/>
                    <a:pt x="3355" y="1353"/>
                  </a:cubicBezTo>
                  <a:cubicBezTo>
                    <a:pt x="3351" y="1353"/>
                    <a:pt x="3348" y="1354"/>
                    <a:pt x="3344" y="1355"/>
                  </a:cubicBezTo>
                  <a:cubicBezTo>
                    <a:pt x="3342" y="1357"/>
                    <a:pt x="3340" y="1358"/>
                    <a:pt x="3339" y="1360"/>
                  </a:cubicBezTo>
                  <a:cubicBezTo>
                    <a:pt x="3337" y="1362"/>
                    <a:pt x="3335" y="1364"/>
                    <a:pt x="3334" y="1365"/>
                  </a:cubicBezTo>
                  <a:cubicBezTo>
                    <a:pt x="3333" y="1367"/>
                    <a:pt x="3332" y="1367"/>
                    <a:pt x="3332" y="1368"/>
                  </a:cubicBezTo>
                  <a:cubicBezTo>
                    <a:pt x="3332" y="1368"/>
                    <a:pt x="3332" y="1368"/>
                    <a:pt x="3332" y="1368"/>
                  </a:cubicBezTo>
                  <a:cubicBezTo>
                    <a:pt x="3332" y="1368"/>
                    <a:pt x="3331" y="1368"/>
                    <a:pt x="3328" y="1369"/>
                  </a:cubicBezTo>
                  <a:cubicBezTo>
                    <a:pt x="3326" y="1370"/>
                    <a:pt x="3323" y="1370"/>
                    <a:pt x="3319" y="1371"/>
                  </a:cubicBezTo>
                  <a:cubicBezTo>
                    <a:pt x="3319" y="1371"/>
                    <a:pt x="3319" y="1371"/>
                    <a:pt x="3319" y="1371"/>
                  </a:cubicBezTo>
                  <a:cubicBezTo>
                    <a:pt x="3319" y="1371"/>
                    <a:pt x="3319" y="1371"/>
                    <a:pt x="3319" y="1371"/>
                  </a:cubicBezTo>
                  <a:cubicBezTo>
                    <a:pt x="3321" y="1378"/>
                    <a:pt x="3321" y="1378"/>
                    <a:pt x="3321" y="1378"/>
                  </a:cubicBezTo>
                  <a:cubicBezTo>
                    <a:pt x="3320" y="1371"/>
                    <a:pt x="3320" y="1371"/>
                    <a:pt x="3320" y="1371"/>
                  </a:cubicBezTo>
                  <a:cubicBezTo>
                    <a:pt x="3320" y="1371"/>
                    <a:pt x="3320" y="1371"/>
                    <a:pt x="3319" y="1371"/>
                  </a:cubicBezTo>
                  <a:cubicBezTo>
                    <a:pt x="3321" y="1378"/>
                    <a:pt x="3321" y="1378"/>
                    <a:pt x="3321" y="1378"/>
                  </a:cubicBezTo>
                  <a:cubicBezTo>
                    <a:pt x="3320" y="1371"/>
                    <a:pt x="3320" y="1371"/>
                    <a:pt x="3320" y="1371"/>
                  </a:cubicBezTo>
                  <a:cubicBezTo>
                    <a:pt x="3321" y="1374"/>
                    <a:pt x="3321" y="1374"/>
                    <a:pt x="3321" y="1374"/>
                  </a:cubicBezTo>
                  <a:cubicBezTo>
                    <a:pt x="3320" y="1371"/>
                    <a:pt x="3320" y="1371"/>
                    <a:pt x="3320" y="1371"/>
                  </a:cubicBezTo>
                  <a:cubicBezTo>
                    <a:pt x="3320" y="1371"/>
                    <a:pt x="3320" y="1371"/>
                    <a:pt x="3320" y="1371"/>
                  </a:cubicBezTo>
                  <a:cubicBezTo>
                    <a:pt x="3321" y="1374"/>
                    <a:pt x="3321" y="1374"/>
                    <a:pt x="3321" y="1374"/>
                  </a:cubicBezTo>
                  <a:cubicBezTo>
                    <a:pt x="3320" y="1371"/>
                    <a:pt x="3320" y="1371"/>
                    <a:pt x="3320" y="1371"/>
                  </a:cubicBezTo>
                  <a:cubicBezTo>
                    <a:pt x="3320" y="1372"/>
                    <a:pt x="3320" y="1372"/>
                    <a:pt x="3320" y="1372"/>
                  </a:cubicBezTo>
                  <a:cubicBezTo>
                    <a:pt x="3320" y="1371"/>
                    <a:pt x="3320" y="1371"/>
                    <a:pt x="3320" y="1371"/>
                  </a:cubicBezTo>
                  <a:cubicBezTo>
                    <a:pt x="3320" y="1371"/>
                    <a:pt x="3320" y="1371"/>
                    <a:pt x="3320" y="1371"/>
                  </a:cubicBezTo>
                  <a:cubicBezTo>
                    <a:pt x="3320" y="1372"/>
                    <a:pt x="3320" y="1372"/>
                    <a:pt x="3320" y="1372"/>
                  </a:cubicBezTo>
                  <a:cubicBezTo>
                    <a:pt x="3320" y="1371"/>
                    <a:pt x="3320" y="1371"/>
                    <a:pt x="3320" y="1371"/>
                  </a:cubicBezTo>
                  <a:cubicBezTo>
                    <a:pt x="3320" y="1371"/>
                    <a:pt x="3319" y="1371"/>
                    <a:pt x="3317" y="1371"/>
                  </a:cubicBezTo>
                  <a:cubicBezTo>
                    <a:pt x="3316" y="1371"/>
                    <a:pt x="3315" y="1371"/>
                    <a:pt x="3313" y="1372"/>
                  </a:cubicBezTo>
                  <a:cubicBezTo>
                    <a:pt x="3313" y="1372"/>
                    <a:pt x="3312" y="1373"/>
                    <a:pt x="3310" y="1373"/>
                  </a:cubicBezTo>
                  <a:cubicBezTo>
                    <a:pt x="3309" y="1374"/>
                    <a:pt x="3308" y="1375"/>
                    <a:pt x="3307" y="1376"/>
                  </a:cubicBezTo>
                  <a:cubicBezTo>
                    <a:pt x="3316" y="1384"/>
                    <a:pt x="3316" y="1384"/>
                    <a:pt x="3316" y="1384"/>
                  </a:cubicBezTo>
                  <a:cubicBezTo>
                    <a:pt x="3307" y="1376"/>
                    <a:pt x="3307" y="1376"/>
                    <a:pt x="3307" y="1376"/>
                  </a:cubicBezTo>
                  <a:cubicBezTo>
                    <a:pt x="3306" y="1378"/>
                    <a:pt x="3303" y="1379"/>
                    <a:pt x="3300" y="1381"/>
                  </a:cubicBezTo>
                  <a:cubicBezTo>
                    <a:pt x="3297" y="1383"/>
                    <a:pt x="3294" y="1384"/>
                    <a:pt x="3290" y="1386"/>
                  </a:cubicBezTo>
                  <a:cubicBezTo>
                    <a:pt x="3290" y="1386"/>
                    <a:pt x="3290" y="1386"/>
                    <a:pt x="3290" y="1386"/>
                  </a:cubicBezTo>
                  <a:cubicBezTo>
                    <a:pt x="3288" y="1387"/>
                    <a:pt x="3286" y="1388"/>
                    <a:pt x="3285" y="1389"/>
                  </a:cubicBezTo>
                  <a:cubicBezTo>
                    <a:pt x="3283" y="1390"/>
                    <a:pt x="3282" y="1392"/>
                    <a:pt x="3282" y="1393"/>
                  </a:cubicBezTo>
                  <a:cubicBezTo>
                    <a:pt x="3281" y="1394"/>
                    <a:pt x="3280" y="1394"/>
                    <a:pt x="3280" y="1395"/>
                  </a:cubicBezTo>
                  <a:cubicBezTo>
                    <a:pt x="3289" y="1402"/>
                    <a:pt x="3289" y="1402"/>
                    <a:pt x="3289" y="1402"/>
                  </a:cubicBezTo>
                  <a:cubicBezTo>
                    <a:pt x="3280" y="1395"/>
                    <a:pt x="3280" y="1395"/>
                    <a:pt x="3280" y="1395"/>
                  </a:cubicBezTo>
                  <a:cubicBezTo>
                    <a:pt x="3279" y="1396"/>
                    <a:pt x="3279" y="1397"/>
                    <a:pt x="3278" y="1398"/>
                  </a:cubicBezTo>
                  <a:cubicBezTo>
                    <a:pt x="3278" y="1398"/>
                    <a:pt x="3278" y="1399"/>
                    <a:pt x="3278" y="1399"/>
                  </a:cubicBezTo>
                  <a:cubicBezTo>
                    <a:pt x="3277" y="1399"/>
                    <a:pt x="3277" y="1399"/>
                    <a:pt x="3277" y="1399"/>
                  </a:cubicBezTo>
                  <a:cubicBezTo>
                    <a:pt x="3277" y="1399"/>
                    <a:pt x="3277" y="1399"/>
                    <a:pt x="3277" y="1399"/>
                  </a:cubicBezTo>
                  <a:cubicBezTo>
                    <a:pt x="3281" y="1401"/>
                    <a:pt x="3281" y="1401"/>
                    <a:pt x="3281" y="1401"/>
                  </a:cubicBezTo>
                  <a:cubicBezTo>
                    <a:pt x="3278" y="1399"/>
                    <a:pt x="3278" y="1399"/>
                    <a:pt x="3278" y="1399"/>
                  </a:cubicBezTo>
                  <a:cubicBezTo>
                    <a:pt x="3277" y="1399"/>
                    <a:pt x="3277" y="1399"/>
                    <a:pt x="3277" y="1399"/>
                  </a:cubicBezTo>
                  <a:cubicBezTo>
                    <a:pt x="3281" y="1401"/>
                    <a:pt x="3281" y="1401"/>
                    <a:pt x="3281" y="1401"/>
                  </a:cubicBezTo>
                  <a:cubicBezTo>
                    <a:pt x="3278" y="1399"/>
                    <a:pt x="3278" y="1399"/>
                    <a:pt x="3278" y="1399"/>
                  </a:cubicBezTo>
                  <a:cubicBezTo>
                    <a:pt x="3285" y="1403"/>
                    <a:pt x="3285" y="1403"/>
                    <a:pt x="3285" y="1403"/>
                  </a:cubicBezTo>
                  <a:cubicBezTo>
                    <a:pt x="3278" y="1398"/>
                    <a:pt x="3278" y="1398"/>
                    <a:pt x="3278" y="1398"/>
                  </a:cubicBezTo>
                  <a:cubicBezTo>
                    <a:pt x="3278" y="1398"/>
                    <a:pt x="3278" y="1399"/>
                    <a:pt x="3278" y="1399"/>
                  </a:cubicBezTo>
                  <a:cubicBezTo>
                    <a:pt x="3285" y="1403"/>
                    <a:pt x="3285" y="1403"/>
                    <a:pt x="3285" y="1403"/>
                  </a:cubicBezTo>
                  <a:cubicBezTo>
                    <a:pt x="3278" y="1398"/>
                    <a:pt x="3278" y="1398"/>
                    <a:pt x="3278" y="1398"/>
                  </a:cubicBezTo>
                  <a:cubicBezTo>
                    <a:pt x="3286" y="1404"/>
                    <a:pt x="3286" y="1404"/>
                    <a:pt x="3286" y="1404"/>
                  </a:cubicBezTo>
                  <a:cubicBezTo>
                    <a:pt x="3281" y="1396"/>
                    <a:pt x="3281" y="1396"/>
                    <a:pt x="3281" y="1396"/>
                  </a:cubicBezTo>
                  <a:cubicBezTo>
                    <a:pt x="3280" y="1396"/>
                    <a:pt x="3279" y="1397"/>
                    <a:pt x="3278" y="1398"/>
                  </a:cubicBezTo>
                  <a:cubicBezTo>
                    <a:pt x="3286" y="1404"/>
                    <a:pt x="3286" y="1404"/>
                    <a:pt x="3286" y="1404"/>
                  </a:cubicBezTo>
                  <a:cubicBezTo>
                    <a:pt x="3281" y="1396"/>
                    <a:pt x="3281" y="1396"/>
                    <a:pt x="3281" y="1396"/>
                  </a:cubicBezTo>
                  <a:cubicBezTo>
                    <a:pt x="3281" y="1396"/>
                    <a:pt x="3281" y="1396"/>
                    <a:pt x="3281" y="1396"/>
                  </a:cubicBezTo>
                  <a:cubicBezTo>
                    <a:pt x="3281" y="1396"/>
                    <a:pt x="3280" y="1396"/>
                    <a:pt x="3279" y="1396"/>
                  </a:cubicBezTo>
                  <a:cubicBezTo>
                    <a:pt x="3277" y="1397"/>
                    <a:pt x="3275" y="1398"/>
                    <a:pt x="3273" y="1399"/>
                  </a:cubicBezTo>
                  <a:cubicBezTo>
                    <a:pt x="3271" y="1400"/>
                    <a:pt x="3270" y="1401"/>
                    <a:pt x="3268" y="1402"/>
                  </a:cubicBezTo>
                  <a:cubicBezTo>
                    <a:pt x="3267" y="1403"/>
                    <a:pt x="3265" y="1405"/>
                    <a:pt x="3264" y="1407"/>
                  </a:cubicBezTo>
                  <a:cubicBezTo>
                    <a:pt x="3264" y="1407"/>
                    <a:pt x="3264" y="1407"/>
                    <a:pt x="3264" y="1407"/>
                  </a:cubicBezTo>
                  <a:cubicBezTo>
                    <a:pt x="3262" y="1410"/>
                    <a:pt x="3262" y="1412"/>
                    <a:pt x="3261" y="1413"/>
                  </a:cubicBezTo>
                  <a:cubicBezTo>
                    <a:pt x="3260" y="1414"/>
                    <a:pt x="3260" y="1414"/>
                    <a:pt x="3260" y="1414"/>
                  </a:cubicBezTo>
                  <a:cubicBezTo>
                    <a:pt x="3260" y="1414"/>
                    <a:pt x="3260" y="1414"/>
                    <a:pt x="3260" y="1414"/>
                  </a:cubicBezTo>
                  <a:cubicBezTo>
                    <a:pt x="3258" y="1415"/>
                    <a:pt x="3257" y="1416"/>
                    <a:pt x="3255" y="1418"/>
                  </a:cubicBezTo>
                  <a:cubicBezTo>
                    <a:pt x="3254" y="1419"/>
                    <a:pt x="3253" y="1420"/>
                    <a:pt x="3252" y="1421"/>
                  </a:cubicBezTo>
                  <a:cubicBezTo>
                    <a:pt x="3252" y="1423"/>
                    <a:pt x="3251" y="1424"/>
                    <a:pt x="3250" y="1427"/>
                  </a:cubicBezTo>
                  <a:cubicBezTo>
                    <a:pt x="3262" y="1429"/>
                    <a:pt x="3262" y="1429"/>
                    <a:pt x="3262" y="1429"/>
                  </a:cubicBezTo>
                  <a:cubicBezTo>
                    <a:pt x="3250" y="1427"/>
                    <a:pt x="3250" y="1427"/>
                    <a:pt x="3250" y="1427"/>
                  </a:cubicBezTo>
                  <a:cubicBezTo>
                    <a:pt x="3250" y="1428"/>
                    <a:pt x="3249" y="1429"/>
                    <a:pt x="3249" y="1429"/>
                  </a:cubicBezTo>
                  <a:cubicBezTo>
                    <a:pt x="3248" y="1430"/>
                    <a:pt x="3247" y="1431"/>
                    <a:pt x="3245" y="1432"/>
                  </a:cubicBezTo>
                  <a:cubicBezTo>
                    <a:pt x="3245" y="1431"/>
                    <a:pt x="3245" y="1431"/>
                    <a:pt x="3245" y="1431"/>
                  </a:cubicBezTo>
                  <a:cubicBezTo>
                    <a:pt x="3244" y="1432"/>
                    <a:pt x="3242" y="1433"/>
                    <a:pt x="3239" y="1435"/>
                  </a:cubicBezTo>
                  <a:cubicBezTo>
                    <a:pt x="3237" y="1436"/>
                    <a:pt x="3236" y="1437"/>
                    <a:pt x="3234" y="1439"/>
                  </a:cubicBezTo>
                  <a:cubicBezTo>
                    <a:pt x="3233" y="1441"/>
                    <a:pt x="3232" y="1444"/>
                    <a:pt x="3232" y="1447"/>
                  </a:cubicBezTo>
                  <a:cubicBezTo>
                    <a:pt x="3232" y="1449"/>
                    <a:pt x="3233" y="1451"/>
                    <a:pt x="3233" y="1452"/>
                  </a:cubicBezTo>
                  <a:cubicBezTo>
                    <a:pt x="3234" y="1454"/>
                    <a:pt x="3235" y="1455"/>
                    <a:pt x="3235" y="1456"/>
                  </a:cubicBezTo>
                  <a:cubicBezTo>
                    <a:pt x="3235" y="1456"/>
                    <a:pt x="3235" y="1456"/>
                    <a:pt x="3235" y="1456"/>
                  </a:cubicBezTo>
                  <a:cubicBezTo>
                    <a:pt x="3241" y="1453"/>
                    <a:pt x="3241" y="1453"/>
                    <a:pt x="3241" y="1453"/>
                  </a:cubicBezTo>
                  <a:cubicBezTo>
                    <a:pt x="3234" y="1454"/>
                    <a:pt x="3234" y="1454"/>
                    <a:pt x="3234" y="1454"/>
                  </a:cubicBezTo>
                  <a:cubicBezTo>
                    <a:pt x="3235" y="1455"/>
                    <a:pt x="3235" y="1455"/>
                    <a:pt x="3235" y="1456"/>
                  </a:cubicBezTo>
                  <a:cubicBezTo>
                    <a:pt x="3241" y="1453"/>
                    <a:pt x="3241" y="1453"/>
                    <a:pt x="3241" y="1453"/>
                  </a:cubicBezTo>
                  <a:cubicBezTo>
                    <a:pt x="3234" y="1454"/>
                    <a:pt x="3234" y="1454"/>
                    <a:pt x="3234" y="1454"/>
                  </a:cubicBezTo>
                  <a:cubicBezTo>
                    <a:pt x="3237" y="1454"/>
                    <a:pt x="3237" y="1454"/>
                    <a:pt x="3237" y="1454"/>
                  </a:cubicBezTo>
                  <a:cubicBezTo>
                    <a:pt x="3234" y="1454"/>
                    <a:pt x="3234" y="1454"/>
                    <a:pt x="3234" y="1454"/>
                  </a:cubicBezTo>
                  <a:cubicBezTo>
                    <a:pt x="3234" y="1454"/>
                    <a:pt x="3234" y="1454"/>
                    <a:pt x="3234" y="1454"/>
                  </a:cubicBezTo>
                  <a:cubicBezTo>
                    <a:pt x="3237" y="1454"/>
                    <a:pt x="3237" y="1454"/>
                    <a:pt x="3237" y="1454"/>
                  </a:cubicBezTo>
                  <a:cubicBezTo>
                    <a:pt x="3234" y="1454"/>
                    <a:pt x="3234" y="1454"/>
                    <a:pt x="3234" y="1454"/>
                  </a:cubicBezTo>
                  <a:cubicBezTo>
                    <a:pt x="3240" y="1454"/>
                    <a:pt x="3240" y="1454"/>
                    <a:pt x="3240" y="1454"/>
                  </a:cubicBezTo>
                  <a:cubicBezTo>
                    <a:pt x="3235" y="1452"/>
                    <a:pt x="3235" y="1452"/>
                    <a:pt x="3235" y="1452"/>
                  </a:cubicBezTo>
                  <a:cubicBezTo>
                    <a:pt x="3234" y="1453"/>
                    <a:pt x="3234" y="1453"/>
                    <a:pt x="3234" y="1454"/>
                  </a:cubicBezTo>
                  <a:cubicBezTo>
                    <a:pt x="3240" y="1454"/>
                    <a:pt x="3240" y="1454"/>
                    <a:pt x="3240" y="1454"/>
                  </a:cubicBezTo>
                  <a:cubicBezTo>
                    <a:pt x="3235" y="1452"/>
                    <a:pt x="3235" y="1452"/>
                    <a:pt x="3235" y="1452"/>
                  </a:cubicBezTo>
                  <a:cubicBezTo>
                    <a:pt x="3243" y="1454"/>
                    <a:pt x="3243" y="1454"/>
                    <a:pt x="3243" y="1454"/>
                  </a:cubicBezTo>
                  <a:cubicBezTo>
                    <a:pt x="3235" y="1451"/>
                    <a:pt x="3235" y="1451"/>
                    <a:pt x="3235" y="1451"/>
                  </a:cubicBezTo>
                  <a:cubicBezTo>
                    <a:pt x="3235" y="1451"/>
                    <a:pt x="3235" y="1452"/>
                    <a:pt x="3235" y="1452"/>
                  </a:cubicBezTo>
                  <a:cubicBezTo>
                    <a:pt x="3243" y="1454"/>
                    <a:pt x="3243" y="1454"/>
                    <a:pt x="3243" y="1454"/>
                  </a:cubicBezTo>
                  <a:cubicBezTo>
                    <a:pt x="3235" y="1451"/>
                    <a:pt x="3235" y="1451"/>
                    <a:pt x="3235" y="1451"/>
                  </a:cubicBezTo>
                  <a:cubicBezTo>
                    <a:pt x="3244" y="1455"/>
                    <a:pt x="3244" y="1455"/>
                    <a:pt x="3244" y="1455"/>
                  </a:cubicBezTo>
                  <a:cubicBezTo>
                    <a:pt x="3237" y="1448"/>
                    <a:pt x="3237" y="1448"/>
                    <a:pt x="3237" y="1448"/>
                  </a:cubicBezTo>
                  <a:cubicBezTo>
                    <a:pt x="3236" y="1449"/>
                    <a:pt x="3236" y="1450"/>
                    <a:pt x="3235" y="1451"/>
                  </a:cubicBezTo>
                  <a:cubicBezTo>
                    <a:pt x="3244" y="1455"/>
                    <a:pt x="3244" y="1455"/>
                    <a:pt x="3244" y="1455"/>
                  </a:cubicBezTo>
                  <a:cubicBezTo>
                    <a:pt x="3237" y="1448"/>
                    <a:pt x="3237" y="1448"/>
                    <a:pt x="3237" y="1448"/>
                  </a:cubicBezTo>
                  <a:cubicBezTo>
                    <a:pt x="3237" y="1448"/>
                    <a:pt x="3237" y="1448"/>
                    <a:pt x="3237" y="1448"/>
                  </a:cubicBezTo>
                  <a:cubicBezTo>
                    <a:pt x="3233" y="1452"/>
                    <a:pt x="3230" y="1455"/>
                    <a:pt x="3228" y="1458"/>
                  </a:cubicBezTo>
                  <a:cubicBezTo>
                    <a:pt x="3226" y="1459"/>
                    <a:pt x="3225" y="1460"/>
                    <a:pt x="3224" y="1461"/>
                  </a:cubicBezTo>
                  <a:cubicBezTo>
                    <a:pt x="3223" y="1461"/>
                    <a:pt x="3222" y="1462"/>
                    <a:pt x="3221" y="1462"/>
                  </a:cubicBezTo>
                  <a:cubicBezTo>
                    <a:pt x="3220" y="1462"/>
                    <a:pt x="3219" y="1463"/>
                    <a:pt x="3218" y="1463"/>
                  </a:cubicBezTo>
                  <a:cubicBezTo>
                    <a:pt x="3216" y="1464"/>
                    <a:pt x="3214" y="1465"/>
                    <a:pt x="3212" y="1467"/>
                  </a:cubicBezTo>
                  <a:cubicBezTo>
                    <a:pt x="3210" y="1468"/>
                    <a:pt x="3209" y="1470"/>
                    <a:pt x="3207" y="1472"/>
                  </a:cubicBezTo>
                  <a:cubicBezTo>
                    <a:pt x="3207" y="1472"/>
                    <a:pt x="3207" y="1472"/>
                    <a:pt x="3207" y="1472"/>
                  </a:cubicBezTo>
                  <a:cubicBezTo>
                    <a:pt x="3204" y="1478"/>
                    <a:pt x="3201" y="1483"/>
                    <a:pt x="3197" y="1490"/>
                  </a:cubicBezTo>
                  <a:cubicBezTo>
                    <a:pt x="3193" y="1496"/>
                    <a:pt x="3189" y="1503"/>
                    <a:pt x="3187" y="1512"/>
                  </a:cubicBezTo>
                  <a:cubicBezTo>
                    <a:pt x="3187" y="1512"/>
                    <a:pt x="3187" y="1512"/>
                    <a:pt x="3187" y="1512"/>
                  </a:cubicBezTo>
                  <a:cubicBezTo>
                    <a:pt x="3187" y="1512"/>
                    <a:pt x="3187" y="1512"/>
                    <a:pt x="3187" y="1512"/>
                  </a:cubicBezTo>
                  <a:cubicBezTo>
                    <a:pt x="3187" y="1512"/>
                    <a:pt x="3187" y="1513"/>
                    <a:pt x="3187" y="1513"/>
                  </a:cubicBezTo>
                  <a:cubicBezTo>
                    <a:pt x="3187" y="1513"/>
                    <a:pt x="3187" y="1513"/>
                    <a:pt x="3187" y="1513"/>
                  </a:cubicBezTo>
                  <a:cubicBezTo>
                    <a:pt x="3190" y="1514"/>
                    <a:pt x="3190" y="1514"/>
                    <a:pt x="3190" y="1514"/>
                  </a:cubicBezTo>
                  <a:cubicBezTo>
                    <a:pt x="3187" y="1513"/>
                    <a:pt x="3187" y="1513"/>
                    <a:pt x="3187" y="1513"/>
                  </a:cubicBezTo>
                  <a:cubicBezTo>
                    <a:pt x="3187" y="1513"/>
                    <a:pt x="3187" y="1513"/>
                    <a:pt x="3187" y="1513"/>
                  </a:cubicBezTo>
                  <a:cubicBezTo>
                    <a:pt x="3190" y="1514"/>
                    <a:pt x="3190" y="1514"/>
                    <a:pt x="3190" y="1514"/>
                  </a:cubicBezTo>
                  <a:cubicBezTo>
                    <a:pt x="3187" y="1513"/>
                    <a:pt x="3187" y="1513"/>
                    <a:pt x="3187" y="1513"/>
                  </a:cubicBezTo>
                  <a:cubicBezTo>
                    <a:pt x="3194" y="1517"/>
                    <a:pt x="3194" y="1517"/>
                    <a:pt x="3194" y="1517"/>
                  </a:cubicBezTo>
                  <a:cubicBezTo>
                    <a:pt x="3189" y="1510"/>
                    <a:pt x="3189" y="1510"/>
                    <a:pt x="3189" y="1510"/>
                  </a:cubicBezTo>
                  <a:cubicBezTo>
                    <a:pt x="3188" y="1511"/>
                    <a:pt x="3187" y="1512"/>
                    <a:pt x="3187" y="1513"/>
                  </a:cubicBezTo>
                  <a:cubicBezTo>
                    <a:pt x="3194" y="1517"/>
                    <a:pt x="3194" y="1517"/>
                    <a:pt x="3194" y="1517"/>
                  </a:cubicBezTo>
                  <a:cubicBezTo>
                    <a:pt x="3189" y="1510"/>
                    <a:pt x="3189" y="1510"/>
                    <a:pt x="3189" y="1510"/>
                  </a:cubicBezTo>
                  <a:cubicBezTo>
                    <a:pt x="3189" y="1510"/>
                    <a:pt x="3189" y="1510"/>
                    <a:pt x="3189" y="1510"/>
                  </a:cubicBezTo>
                  <a:cubicBezTo>
                    <a:pt x="3186" y="1513"/>
                    <a:pt x="3183" y="1516"/>
                    <a:pt x="3182" y="1519"/>
                  </a:cubicBezTo>
                  <a:cubicBezTo>
                    <a:pt x="3179" y="1523"/>
                    <a:pt x="3178" y="1528"/>
                    <a:pt x="3177" y="1531"/>
                  </a:cubicBezTo>
                  <a:cubicBezTo>
                    <a:pt x="3176" y="1534"/>
                    <a:pt x="3175" y="1537"/>
                    <a:pt x="3174" y="1539"/>
                  </a:cubicBezTo>
                  <a:cubicBezTo>
                    <a:pt x="3174" y="1539"/>
                    <a:pt x="3174" y="1539"/>
                    <a:pt x="3174" y="1539"/>
                  </a:cubicBezTo>
                  <a:cubicBezTo>
                    <a:pt x="3174" y="1539"/>
                    <a:pt x="3174" y="1539"/>
                    <a:pt x="3174" y="1539"/>
                  </a:cubicBezTo>
                  <a:cubicBezTo>
                    <a:pt x="3171" y="1545"/>
                    <a:pt x="3168" y="1550"/>
                    <a:pt x="3165" y="1555"/>
                  </a:cubicBezTo>
                  <a:cubicBezTo>
                    <a:pt x="3165" y="1555"/>
                    <a:pt x="3165" y="1555"/>
                    <a:pt x="3165" y="1555"/>
                  </a:cubicBezTo>
                  <a:cubicBezTo>
                    <a:pt x="3162" y="1559"/>
                    <a:pt x="3157" y="1564"/>
                    <a:pt x="3151" y="1571"/>
                  </a:cubicBezTo>
                  <a:cubicBezTo>
                    <a:pt x="3151" y="1570"/>
                    <a:pt x="3151" y="1570"/>
                    <a:pt x="3151" y="1570"/>
                  </a:cubicBezTo>
                  <a:cubicBezTo>
                    <a:pt x="3150" y="1572"/>
                    <a:pt x="3149" y="1574"/>
                    <a:pt x="3148" y="1576"/>
                  </a:cubicBezTo>
                  <a:cubicBezTo>
                    <a:pt x="3147" y="1578"/>
                    <a:pt x="3146" y="1581"/>
                    <a:pt x="3146" y="1583"/>
                  </a:cubicBezTo>
                  <a:cubicBezTo>
                    <a:pt x="3146" y="1583"/>
                    <a:pt x="3146" y="1583"/>
                    <a:pt x="3146" y="1583"/>
                  </a:cubicBezTo>
                  <a:cubicBezTo>
                    <a:pt x="3146" y="1584"/>
                    <a:pt x="3145" y="1586"/>
                    <a:pt x="3145" y="1589"/>
                  </a:cubicBezTo>
                  <a:cubicBezTo>
                    <a:pt x="3145" y="1590"/>
                    <a:pt x="3145" y="1592"/>
                    <a:pt x="3146" y="1594"/>
                  </a:cubicBezTo>
                  <a:cubicBezTo>
                    <a:pt x="3146" y="1595"/>
                    <a:pt x="3147" y="1597"/>
                    <a:pt x="3148" y="1598"/>
                  </a:cubicBezTo>
                  <a:cubicBezTo>
                    <a:pt x="3150" y="1601"/>
                    <a:pt x="3153" y="1603"/>
                    <a:pt x="3155" y="1603"/>
                  </a:cubicBezTo>
                  <a:cubicBezTo>
                    <a:pt x="3158" y="1604"/>
                    <a:pt x="3160" y="1604"/>
                    <a:pt x="3162" y="1605"/>
                  </a:cubicBezTo>
                  <a:cubicBezTo>
                    <a:pt x="3163" y="1605"/>
                    <a:pt x="3163" y="1604"/>
                    <a:pt x="3164" y="1604"/>
                  </a:cubicBezTo>
                  <a:cubicBezTo>
                    <a:pt x="3164" y="1604"/>
                    <a:pt x="3164" y="1604"/>
                    <a:pt x="3164" y="1604"/>
                  </a:cubicBezTo>
                  <a:cubicBezTo>
                    <a:pt x="3164" y="1598"/>
                    <a:pt x="3164" y="1598"/>
                    <a:pt x="3164" y="1598"/>
                  </a:cubicBezTo>
                  <a:cubicBezTo>
                    <a:pt x="3164" y="1604"/>
                    <a:pt x="3164" y="1604"/>
                    <a:pt x="3164" y="1604"/>
                  </a:cubicBezTo>
                  <a:cubicBezTo>
                    <a:pt x="3164" y="1604"/>
                    <a:pt x="3164" y="1604"/>
                    <a:pt x="3164" y="1604"/>
                  </a:cubicBezTo>
                  <a:cubicBezTo>
                    <a:pt x="3164" y="1598"/>
                    <a:pt x="3164" y="1598"/>
                    <a:pt x="3164" y="1598"/>
                  </a:cubicBezTo>
                  <a:cubicBezTo>
                    <a:pt x="3164" y="1604"/>
                    <a:pt x="3164" y="1604"/>
                    <a:pt x="3164" y="1604"/>
                  </a:cubicBezTo>
                  <a:cubicBezTo>
                    <a:pt x="3164" y="1598"/>
                    <a:pt x="3164" y="1598"/>
                    <a:pt x="3164" y="1598"/>
                  </a:cubicBezTo>
                  <a:cubicBezTo>
                    <a:pt x="3160" y="1604"/>
                    <a:pt x="3160" y="1604"/>
                    <a:pt x="3160" y="1604"/>
                  </a:cubicBezTo>
                  <a:cubicBezTo>
                    <a:pt x="3161" y="1604"/>
                    <a:pt x="3163" y="1604"/>
                    <a:pt x="3164" y="1604"/>
                  </a:cubicBezTo>
                  <a:cubicBezTo>
                    <a:pt x="3164" y="1598"/>
                    <a:pt x="3164" y="1598"/>
                    <a:pt x="3164" y="1598"/>
                  </a:cubicBezTo>
                  <a:cubicBezTo>
                    <a:pt x="3160" y="1604"/>
                    <a:pt x="3160" y="1604"/>
                    <a:pt x="3160" y="1604"/>
                  </a:cubicBezTo>
                  <a:cubicBezTo>
                    <a:pt x="3163" y="1599"/>
                    <a:pt x="3163" y="1599"/>
                    <a:pt x="3163" y="1599"/>
                  </a:cubicBezTo>
                  <a:cubicBezTo>
                    <a:pt x="3159" y="1602"/>
                    <a:pt x="3159" y="1602"/>
                    <a:pt x="3159" y="1602"/>
                  </a:cubicBezTo>
                  <a:cubicBezTo>
                    <a:pt x="3159" y="1603"/>
                    <a:pt x="3160" y="1603"/>
                    <a:pt x="3160" y="1604"/>
                  </a:cubicBezTo>
                  <a:cubicBezTo>
                    <a:pt x="3163" y="1599"/>
                    <a:pt x="3163" y="1599"/>
                    <a:pt x="3163" y="1599"/>
                  </a:cubicBezTo>
                  <a:cubicBezTo>
                    <a:pt x="3159" y="1602"/>
                    <a:pt x="3159" y="1602"/>
                    <a:pt x="3159" y="1602"/>
                  </a:cubicBezTo>
                  <a:cubicBezTo>
                    <a:pt x="3161" y="1600"/>
                    <a:pt x="3161" y="1600"/>
                    <a:pt x="3161" y="1600"/>
                  </a:cubicBezTo>
                  <a:cubicBezTo>
                    <a:pt x="3158" y="1602"/>
                    <a:pt x="3158" y="1602"/>
                    <a:pt x="3158" y="1602"/>
                  </a:cubicBezTo>
                  <a:cubicBezTo>
                    <a:pt x="3159" y="1602"/>
                    <a:pt x="3159" y="1602"/>
                    <a:pt x="3159" y="1602"/>
                  </a:cubicBezTo>
                  <a:cubicBezTo>
                    <a:pt x="3161" y="1600"/>
                    <a:pt x="3161" y="1600"/>
                    <a:pt x="3161" y="1600"/>
                  </a:cubicBezTo>
                  <a:cubicBezTo>
                    <a:pt x="3158" y="1602"/>
                    <a:pt x="3158" y="1602"/>
                    <a:pt x="3158" y="1602"/>
                  </a:cubicBezTo>
                  <a:cubicBezTo>
                    <a:pt x="3159" y="1601"/>
                    <a:pt x="3159" y="1601"/>
                    <a:pt x="3159" y="1601"/>
                  </a:cubicBezTo>
                  <a:cubicBezTo>
                    <a:pt x="3158" y="1602"/>
                    <a:pt x="3158" y="1602"/>
                    <a:pt x="3158" y="1602"/>
                  </a:cubicBezTo>
                  <a:cubicBezTo>
                    <a:pt x="3158" y="1602"/>
                    <a:pt x="3158" y="1602"/>
                    <a:pt x="3158" y="1602"/>
                  </a:cubicBezTo>
                  <a:cubicBezTo>
                    <a:pt x="3159" y="1601"/>
                    <a:pt x="3159" y="1601"/>
                    <a:pt x="3159" y="1601"/>
                  </a:cubicBezTo>
                  <a:cubicBezTo>
                    <a:pt x="3158" y="1602"/>
                    <a:pt x="3158" y="1602"/>
                    <a:pt x="3158" y="1602"/>
                  </a:cubicBezTo>
                  <a:cubicBezTo>
                    <a:pt x="3159" y="1602"/>
                    <a:pt x="3159" y="1602"/>
                    <a:pt x="3159" y="1602"/>
                  </a:cubicBezTo>
                  <a:cubicBezTo>
                    <a:pt x="3159" y="1602"/>
                    <a:pt x="3159" y="1603"/>
                    <a:pt x="3159" y="1603"/>
                  </a:cubicBezTo>
                  <a:cubicBezTo>
                    <a:pt x="3159" y="1603"/>
                    <a:pt x="3159" y="1603"/>
                    <a:pt x="3159" y="1603"/>
                  </a:cubicBezTo>
                  <a:cubicBezTo>
                    <a:pt x="3159" y="1605"/>
                    <a:pt x="3159" y="1606"/>
                    <a:pt x="3159" y="1608"/>
                  </a:cubicBezTo>
                  <a:cubicBezTo>
                    <a:pt x="3159" y="1611"/>
                    <a:pt x="3159" y="1614"/>
                    <a:pt x="3157" y="1617"/>
                  </a:cubicBezTo>
                  <a:cubicBezTo>
                    <a:pt x="3156" y="1620"/>
                    <a:pt x="3155" y="1623"/>
                    <a:pt x="3152" y="1626"/>
                  </a:cubicBezTo>
                  <a:cubicBezTo>
                    <a:pt x="3152" y="1626"/>
                    <a:pt x="3152" y="1626"/>
                    <a:pt x="3152" y="1626"/>
                  </a:cubicBezTo>
                  <a:cubicBezTo>
                    <a:pt x="3152" y="1626"/>
                    <a:pt x="3152" y="1626"/>
                    <a:pt x="3152" y="1626"/>
                  </a:cubicBezTo>
                  <a:cubicBezTo>
                    <a:pt x="3150" y="1628"/>
                    <a:pt x="3148" y="1631"/>
                    <a:pt x="3147" y="1634"/>
                  </a:cubicBezTo>
                  <a:cubicBezTo>
                    <a:pt x="3146" y="1637"/>
                    <a:pt x="3146" y="1640"/>
                    <a:pt x="3146" y="1643"/>
                  </a:cubicBezTo>
                  <a:cubicBezTo>
                    <a:pt x="3146" y="1645"/>
                    <a:pt x="3145" y="1647"/>
                    <a:pt x="3145" y="1647"/>
                  </a:cubicBezTo>
                  <a:cubicBezTo>
                    <a:pt x="3145" y="1648"/>
                    <a:pt x="3145" y="1648"/>
                    <a:pt x="3145" y="1648"/>
                  </a:cubicBezTo>
                  <a:cubicBezTo>
                    <a:pt x="3146" y="1648"/>
                    <a:pt x="3146" y="1648"/>
                    <a:pt x="3146" y="1648"/>
                  </a:cubicBezTo>
                  <a:cubicBezTo>
                    <a:pt x="3145" y="1647"/>
                    <a:pt x="3145" y="1647"/>
                    <a:pt x="3145" y="1647"/>
                  </a:cubicBezTo>
                  <a:cubicBezTo>
                    <a:pt x="3145" y="1648"/>
                    <a:pt x="3145" y="1648"/>
                    <a:pt x="3145" y="1648"/>
                  </a:cubicBezTo>
                  <a:cubicBezTo>
                    <a:pt x="3146" y="1648"/>
                    <a:pt x="3146" y="1648"/>
                    <a:pt x="3146" y="1648"/>
                  </a:cubicBezTo>
                  <a:cubicBezTo>
                    <a:pt x="3145" y="1647"/>
                    <a:pt x="3145" y="1647"/>
                    <a:pt x="3145" y="1647"/>
                  </a:cubicBezTo>
                  <a:cubicBezTo>
                    <a:pt x="3148" y="1649"/>
                    <a:pt x="3148" y="1649"/>
                    <a:pt x="3148" y="1649"/>
                  </a:cubicBezTo>
                  <a:cubicBezTo>
                    <a:pt x="3147" y="1646"/>
                    <a:pt x="3147" y="1646"/>
                    <a:pt x="3147" y="1646"/>
                  </a:cubicBezTo>
                  <a:cubicBezTo>
                    <a:pt x="3146" y="1646"/>
                    <a:pt x="3145" y="1647"/>
                    <a:pt x="3145" y="1647"/>
                  </a:cubicBezTo>
                  <a:cubicBezTo>
                    <a:pt x="3148" y="1649"/>
                    <a:pt x="3148" y="1649"/>
                    <a:pt x="3148" y="1649"/>
                  </a:cubicBezTo>
                  <a:cubicBezTo>
                    <a:pt x="3147" y="1646"/>
                    <a:pt x="3147" y="1646"/>
                    <a:pt x="3147" y="1646"/>
                  </a:cubicBezTo>
                  <a:cubicBezTo>
                    <a:pt x="3147" y="1647"/>
                    <a:pt x="3147" y="1647"/>
                    <a:pt x="3147" y="1647"/>
                  </a:cubicBezTo>
                  <a:cubicBezTo>
                    <a:pt x="3147" y="1646"/>
                    <a:pt x="3147" y="1646"/>
                    <a:pt x="3147" y="1646"/>
                  </a:cubicBezTo>
                  <a:cubicBezTo>
                    <a:pt x="3147" y="1646"/>
                    <a:pt x="3147" y="1646"/>
                    <a:pt x="3147" y="1646"/>
                  </a:cubicBezTo>
                  <a:cubicBezTo>
                    <a:pt x="3147" y="1647"/>
                    <a:pt x="3147" y="1647"/>
                    <a:pt x="3147" y="1647"/>
                  </a:cubicBezTo>
                  <a:cubicBezTo>
                    <a:pt x="3147" y="1646"/>
                    <a:pt x="3147" y="1646"/>
                    <a:pt x="3147" y="1646"/>
                  </a:cubicBezTo>
                  <a:cubicBezTo>
                    <a:pt x="3147" y="1646"/>
                    <a:pt x="3147" y="1646"/>
                    <a:pt x="3147" y="1646"/>
                  </a:cubicBezTo>
                  <a:cubicBezTo>
                    <a:pt x="3147" y="1646"/>
                    <a:pt x="3147" y="1646"/>
                    <a:pt x="3147" y="1646"/>
                  </a:cubicBezTo>
                  <a:cubicBezTo>
                    <a:pt x="3147" y="1646"/>
                    <a:pt x="3147" y="1646"/>
                    <a:pt x="3147" y="1646"/>
                  </a:cubicBezTo>
                  <a:cubicBezTo>
                    <a:pt x="3147" y="1646"/>
                    <a:pt x="3147" y="1646"/>
                    <a:pt x="3147" y="1646"/>
                  </a:cubicBezTo>
                  <a:cubicBezTo>
                    <a:pt x="3147" y="1646"/>
                    <a:pt x="3147" y="1646"/>
                    <a:pt x="3147" y="1646"/>
                  </a:cubicBezTo>
                  <a:cubicBezTo>
                    <a:pt x="3147" y="1646"/>
                    <a:pt x="3146" y="1646"/>
                    <a:pt x="3145" y="1646"/>
                  </a:cubicBezTo>
                  <a:cubicBezTo>
                    <a:pt x="3144" y="1646"/>
                    <a:pt x="3144" y="1646"/>
                    <a:pt x="3143" y="1646"/>
                  </a:cubicBezTo>
                  <a:cubicBezTo>
                    <a:pt x="3142" y="1646"/>
                    <a:pt x="3142" y="1646"/>
                    <a:pt x="3140" y="1646"/>
                  </a:cubicBezTo>
                  <a:cubicBezTo>
                    <a:pt x="3139" y="1645"/>
                    <a:pt x="3137" y="1645"/>
                    <a:pt x="3134" y="1645"/>
                  </a:cubicBezTo>
                  <a:cubicBezTo>
                    <a:pt x="3131" y="1645"/>
                    <a:pt x="3128" y="1646"/>
                    <a:pt x="3125" y="1647"/>
                  </a:cubicBezTo>
                  <a:cubicBezTo>
                    <a:pt x="3125" y="1647"/>
                    <a:pt x="3125" y="1647"/>
                    <a:pt x="3125" y="1647"/>
                  </a:cubicBezTo>
                  <a:cubicBezTo>
                    <a:pt x="3125" y="1647"/>
                    <a:pt x="3125" y="1647"/>
                    <a:pt x="3125" y="1647"/>
                  </a:cubicBezTo>
                  <a:cubicBezTo>
                    <a:pt x="3122" y="1648"/>
                    <a:pt x="3120" y="1649"/>
                    <a:pt x="3118" y="1650"/>
                  </a:cubicBezTo>
                  <a:cubicBezTo>
                    <a:pt x="3117" y="1650"/>
                    <a:pt x="3115" y="1651"/>
                    <a:pt x="3113" y="1653"/>
                  </a:cubicBezTo>
                  <a:cubicBezTo>
                    <a:pt x="3112" y="1654"/>
                    <a:pt x="3111" y="1655"/>
                    <a:pt x="3110" y="1656"/>
                  </a:cubicBezTo>
                  <a:cubicBezTo>
                    <a:pt x="3108" y="1659"/>
                    <a:pt x="3107" y="1662"/>
                    <a:pt x="3106" y="1664"/>
                  </a:cubicBezTo>
                  <a:cubicBezTo>
                    <a:pt x="3106" y="1666"/>
                    <a:pt x="3106" y="1668"/>
                    <a:pt x="3106" y="1671"/>
                  </a:cubicBezTo>
                  <a:cubicBezTo>
                    <a:pt x="3106" y="1672"/>
                    <a:pt x="3106" y="1673"/>
                    <a:pt x="3106" y="1675"/>
                  </a:cubicBezTo>
                  <a:cubicBezTo>
                    <a:pt x="3106" y="1675"/>
                    <a:pt x="3106" y="1675"/>
                    <a:pt x="3106" y="1675"/>
                  </a:cubicBezTo>
                  <a:cubicBezTo>
                    <a:pt x="3106" y="1676"/>
                    <a:pt x="3106" y="1678"/>
                    <a:pt x="3106" y="1679"/>
                  </a:cubicBezTo>
                  <a:cubicBezTo>
                    <a:pt x="3106" y="1679"/>
                    <a:pt x="3106" y="1680"/>
                    <a:pt x="3106" y="1680"/>
                  </a:cubicBezTo>
                  <a:cubicBezTo>
                    <a:pt x="3106" y="1680"/>
                    <a:pt x="3106" y="1680"/>
                    <a:pt x="3106" y="1680"/>
                  </a:cubicBezTo>
                  <a:cubicBezTo>
                    <a:pt x="3108" y="1680"/>
                    <a:pt x="3108" y="1680"/>
                    <a:pt x="3108" y="1680"/>
                  </a:cubicBezTo>
                  <a:cubicBezTo>
                    <a:pt x="3106" y="1680"/>
                    <a:pt x="3106" y="1680"/>
                    <a:pt x="3106" y="1680"/>
                  </a:cubicBezTo>
                  <a:cubicBezTo>
                    <a:pt x="3106" y="1680"/>
                    <a:pt x="3106" y="1680"/>
                    <a:pt x="3106" y="1680"/>
                  </a:cubicBezTo>
                  <a:cubicBezTo>
                    <a:pt x="3108" y="1680"/>
                    <a:pt x="3108" y="1680"/>
                    <a:pt x="3108" y="1680"/>
                  </a:cubicBezTo>
                  <a:cubicBezTo>
                    <a:pt x="3106" y="1680"/>
                    <a:pt x="3106" y="1680"/>
                    <a:pt x="3106" y="1680"/>
                  </a:cubicBezTo>
                  <a:cubicBezTo>
                    <a:pt x="3106" y="1684"/>
                    <a:pt x="3105" y="1687"/>
                    <a:pt x="3104" y="1688"/>
                  </a:cubicBezTo>
                  <a:cubicBezTo>
                    <a:pt x="3104" y="1689"/>
                    <a:pt x="3103" y="1690"/>
                    <a:pt x="3103" y="1690"/>
                  </a:cubicBezTo>
                  <a:cubicBezTo>
                    <a:pt x="3102" y="1690"/>
                    <a:pt x="3102" y="1691"/>
                    <a:pt x="3101" y="1691"/>
                  </a:cubicBezTo>
                  <a:cubicBezTo>
                    <a:pt x="3097" y="1693"/>
                    <a:pt x="3093" y="1696"/>
                    <a:pt x="3091" y="1698"/>
                  </a:cubicBezTo>
                  <a:cubicBezTo>
                    <a:pt x="3087" y="1703"/>
                    <a:pt x="3085" y="1707"/>
                    <a:pt x="3084" y="1710"/>
                  </a:cubicBezTo>
                  <a:cubicBezTo>
                    <a:pt x="3083" y="1713"/>
                    <a:pt x="3081" y="1716"/>
                    <a:pt x="3081" y="1717"/>
                  </a:cubicBezTo>
                  <a:cubicBezTo>
                    <a:pt x="3081" y="1717"/>
                    <a:pt x="3081" y="1717"/>
                    <a:pt x="3081" y="1717"/>
                  </a:cubicBezTo>
                  <a:cubicBezTo>
                    <a:pt x="3080" y="1718"/>
                    <a:pt x="3079" y="1719"/>
                    <a:pt x="3079" y="1720"/>
                  </a:cubicBezTo>
                  <a:cubicBezTo>
                    <a:pt x="3078" y="1721"/>
                    <a:pt x="3078" y="1721"/>
                    <a:pt x="3078" y="1721"/>
                  </a:cubicBezTo>
                  <a:cubicBezTo>
                    <a:pt x="3083" y="1725"/>
                    <a:pt x="3083" y="1725"/>
                    <a:pt x="3083" y="1725"/>
                  </a:cubicBezTo>
                  <a:cubicBezTo>
                    <a:pt x="3080" y="1720"/>
                    <a:pt x="3080" y="1720"/>
                    <a:pt x="3080" y="1720"/>
                  </a:cubicBezTo>
                  <a:cubicBezTo>
                    <a:pt x="3079" y="1720"/>
                    <a:pt x="3078" y="1721"/>
                    <a:pt x="3078" y="1721"/>
                  </a:cubicBezTo>
                  <a:cubicBezTo>
                    <a:pt x="3083" y="1725"/>
                    <a:pt x="3083" y="1725"/>
                    <a:pt x="3083" y="1725"/>
                  </a:cubicBezTo>
                  <a:cubicBezTo>
                    <a:pt x="3080" y="1720"/>
                    <a:pt x="3080" y="1720"/>
                    <a:pt x="3080" y="1720"/>
                  </a:cubicBezTo>
                  <a:cubicBezTo>
                    <a:pt x="3084" y="1727"/>
                    <a:pt x="3084" y="1727"/>
                    <a:pt x="3084" y="1727"/>
                  </a:cubicBezTo>
                  <a:cubicBezTo>
                    <a:pt x="3082" y="1719"/>
                    <a:pt x="3082" y="1719"/>
                    <a:pt x="3082" y="1719"/>
                  </a:cubicBezTo>
                  <a:cubicBezTo>
                    <a:pt x="3081" y="1719"/>
                    <a:pt x="3080" y="1719"/>
                    <a:pt x="3080" y="1720"/>
                  </a:cubicBezTo>
                  <a:cubicBezTo>
                    <a:pt x="3084" y="1727"/>
                    <a:pt x="3084" y="1727"/>
                    <a:pt x="3084" y="1727"/>
                  </a:cubicBezTo>
                  <a:cubicBezTo>
                    <a:pt x="3082" y="1719"/>
                    <a:pt x="3082" y="1719"/>
                    <a:pt x="3082" y="1719"/>
                  </a:cubicBezTo>
                  <a:cubicBezTo>
                    <a:pt x="3083" y="1726"/>
                    <a:pt x="3083" y="1726"/>
                    <a:pt x="3083" y="1726"/>
                  </a:cubicBezTo>
                  <a:cubicBezTo>
                    <a:pt x="3083" y="1719"/>
                    <a:pt x="3083" y="1719"/>
                    <a:pt x="3083" y="1719"/>
                  </a:cubicBezTo>
                  <a:cubicBezTo>
                    <a:pt x="3083" y="1719"/>
                    <a:pt x="3083" y="1719"/>
                    <a:pt x="3082" y="1719"/>
                  </a:cubicBezTo>
                  <a:cubicBezTo>
                    <a:pt x="3083" y="1726"/>
                    <a:pt x="3083" y="1726"/>
                    <a:pt x="3083" y="1726"/>
                  </a:cubicBezTo>
                  <a:cubicBezTo>
                    <a:pt x="3083" y="1719"/>
                    <a:pt x="3083" y="1719"/>
                    <a:pt x="3083" y="1719"/>
                  </a:cubicBezTo>
                  <a:cubicBezTo>
                    <a:pt x="3083" y="1722"/>
                    <a:pt x="3083" y="1722"/>
                    <a:pt x="3083" y="1722"/>
                  </a:cubicBezTo>
                  <a:cubicBezTo>
                    <a:pt x="3084" y="1719"/>
                    <a:pt x="3084" y="1719"/>
                    <a:pt x="3084" y="1719"/>
                  </a:cubicBezTo>
                  <a:cubicBezTo>
                    <a:pt x="3083" y="1719"/>
                    <a:pt x="3083" y="1719"/>
                    <a:pt x="3083" y="1719"/>
                  </a:cubicBezTo>
                  <a:cubicBezTo>
                    <a:pt x="3083" y="1722"/>
                    <a:pt x="3083" y="1722"/>
                    <a:pt x="3083" y="1722"/>
                  </a:cubicBezTo>
                  <a:cubicBezTo>
                    <a:pt x="3084" y="1719"/>
                    <a:pt x="3084" y="1719"/>
                    <a:pt x="3084" y="1719"/>
                  </a:cubicBezTo>
                  <a:cubicBezTo>
                    <a:pt x="3084" y="1719"/>
                    <a:pt x="3084" y="1719"/>
                    <a:pt x="3084" y="1719"/>
                  </a:cubicBezTo>
                  <a:cubicBezTo>
                    <a:pt x="3083" y="1719"/>
                    <a:pt x="3082" y="1718"/>
                    <a:pt x="3081" y="1718"/>
                  </a:cubicBezTo>
                  <a:cubicBezTo>
                    <a:pt x="3081" y="1718"/>
                    <a:pt x="3081" y="1718"/>
                    <a:pt x="3081" y="1718"/>
                  </a:cubicBezTo>
                  <a:cubicBezTo>
                    <a:pt x="3076" y="1717"/>
                    <a:pt x="3072" y="1716"/>
                    <a:pt x="3067" y="1716"/>
                  </a:cubicBezTo>
                  <a:cubicBezTo>
                    <a:pt x="3064" y="1716"/>
                    <a:pt x="3060" y="1716"/>
                    <a:pt x="3057" y="1718"/>
                  </a:cubicBezTo>
                  <a:cubicBezTo>
                    <a:pt x="3054" y="1719"/>
                    <a:pt x="3052" y="1720"/>
                    <a:pt x="3050" y="1722"/>
                  </a:cubicBezTo>
                  <a:cubicBezTo>
                    <a:pt x="3047" y="1725"/>
                    <a:pt x="3046" y="1728"/>
                    <a:pt x="3045" y="1732"/>
                  </a:cubicBezTo>
                  <a:cubicBezTo>
                    <a:pt x="3043" y="1735"/>
                    <a:pt x="3043" y="1738"/>
                    <a:pt x="3042" y="1742"/>
                  </a:cubicBezTo>
                  <a:cubicBezTo>
                    <a:pt x="3042" y="1742"/>
                    <a:pt x="3042" y="1742"/>
                    <a:pt x="3042" y="1742"/>
                  </a:cubicBezTo>
                  <a:cubicBezTo>
                    <a:pt x="3041" y="1749"/>
                    <a:pt x="3041" y="1754"/>
                    <a:pt x="3040" y="1758"/>
                  </a:cubicBezTo>
                  <a:cubicBezTo>
                    <a:pt x="3039" y="1758"/>
                    <a:pt x="3039" y="1758"/>
                    <a:pt x="3039" y="1758"/>
                  </a:cubicBezTo>
                  <a:cubicBezTo>
                    <a:pt x="3040" y="1758"/>
                    <a:pt x="3040" y="1758"/>
                    <a:pt x="3040" y="1758"/>
                  </a:cubicBezTo>
                  <a:cubicBezTo>
                    <a:pt x="3039" y="1759"/>
                    <a:pt x="3039" y="1759"/>
                    <a:pt x="3039" y="1760"/>
                  </a:cubicBezTo>
                  <a:cubicBezTo>
                    <a:pt x="3038" y="1760"/>
                    <a:pt x="3039" y="1760"/>
                    <a:pt x="3038" y="1760"/>
                  </a:cubicBezTo>
                  <a:cubicBezTo>
                    <a:pt x="3038" y="1760"/>
                    <a:pt x="3037" y="1761"/>
                    <a:pt x="3035" y="1761"/>
                  </a:cubicBezTo>
                  <a:cubicBezTo>
                    <a:pt x="3034" y="1761"/>
                    <a:pt x="3034" y="1761"/>
                    <a:pt x="3034" y="1761"/>
                  </a:cubicBezTo>
                  <a:cubicBezTo>
                    <a:pt x="3034" y="1761"/>
                    <a:pt x="3034" y="1761"/>
                    <a:pt x="3034" y="1761"/>
                  </a:cubicBezTo>
                  <a:cubicBezTo>
                    <a:pt x="3034" y="1761"/>
                    <a:pt x="3034" y="1761"/>
                    <a:pt x="3034" y="1761"/>
                  </a:cubicBezTo>
                  <a:cubicBezTo>
                    <a:pt x="3030" y="1761"/>
                    <a:pt x="3026" y="1761"/>
                    <a:pt x="3022" y="1762"/>
                  </a:cubicBezTo>
                  <a:cubicBezTo>
                    <a:pt x="3022" y="1762"/>
                    <a:pt x="3022" y="1762"/>
                    <a:pt x="3022" y="1762"/>
                  </a:cubicBezTo>
                  <a:cubicBezTo>
                    <a:pt x="3022" y="1762"/>
                    <a:pt x="3022" y="1762"/>
                    <a:pt x="3022" y="1762"/>
                  </a:cubicBezTo>
                  <a:cubicBezTo>
                    <a:pt x="3020" y="1763"/>
                    <a:pt x="3018" y="1763"/>
                    <a:pt x="3018" y="1763"/>
                  </a:cubicBezTo>
                  <a:cubicBezTo>
                    <a:pt x="3018" y="1763"/>
                    <a:pt x="3018" y="1763"/>
                    <a:pt x="3018" y="1763"/>
                  </a:cubicBezTo>
                  <a:cubicBezTo>
                    <a:pt x="3018" y="1764"/>
                    <a:pt x="3018" y="1764"/>
                    <a:pt x="3018" y="1764"/>
                  </a:cubicBezTo>
                  <a:cubicBezTo>
                    <a:pt x="3018" y="1763"/>
                    <a:pt x="3018" y="1763"/>
                    <a:pt x="3018" y="1763"/>
                  </a:cubicBezTo>
                  <a:cubicBezTo>
                    <a:pt x="3018" y="1763"/>
                    <a:pt x="3018" y="1763"/>
                    <a:pt x="3018" y="1763"/>
                  </a:cubicBezTo>
                  <a:cubicBezTo>
                    <a:pt x="3018" y="1764"/>
                    <a:pt x="3018" y="1764"/>
                    <a:pt x="3018" y="1764"/>
                  </a:cubicBezTo>
                  <a:cubicBezTo>
                    <a:pt x="3018" y="1763"/>
                    <a:pt x="3018" y="1763"/>
                    <a:pt x="3018" y="1763"/>
                  </a:cubicBezTo>
                  <a:cubicBezTo>
                    <a:pt x="3017" y="1767"/>
                    <a:pt x="3017" y="1767"/>
                    <a:pt x="3017" y="1767"/>
                  </a:cubicBezTo>
                  <a:cubicBezTo>
                    <a:pt x="3019" y="1763"/>
                    <a:pt x="3019" y="1763"/>
                    <a:pt x="3019" y="1763"/>
                  </a:cubicBezTo>
                  <a:cubicBezTo>
                    <a:pt x="3019" y="1763"/>
                    <a:pt x="3018" y="1763"/>
                    <a:pt x="3018" y="1763"/>
                  </a:cubicBezTo>
                  <a:cubicBezTo>
                    <a:pt x="3017" y="1767"/>
                    <a:pt x="3017" y="1767"/>
                    <a:pt x="3017" y="1767"/>
                  </a:cubicBezTo>
                  <a:cubicBezTo>
                    <a:pt x="3019" y="1763"/>
                    <a:pt x="3019" y="1763"/>
                    <a:pt x="3019" y="1763"/>
                  </a:cubicBezTo>
                  <a:cubicBezTo>
                    <a:pt x="3018" y="1766"/>
                    <a:pt x="3018" y="1766"/>
                    <a:pt x="3018" y="1766"/>
                  </a:cubicBezTo>
                  <a:cubicBezTo>
                    <a:pt x="3020" y="1764"/>
                    <a:pt x="3020" y="1764"/>
                    <a:pt x="3020" y="1764"/>
                  </a:cubicBezTo>
                  <a:cubicBezTo>
                    <a:pt x="3019" y="1763"/>
                    <a:pt x="3019" y="1763"/>
                    <a:pt x="3019" y="1763"/>
                  </a:cubicBezTo>
                  <a:cubicBezTo>
                    <a:pt x="3018" y="1766"/>
                    <a:pt x="3018" y="1766"/>
                    <a:pt x="3018" y="1766"/>
                  </a:cubicBezTo>
                  <a:cubicBezTo>
                    <a:pt x="3020" y="1764"/>
                    <a:pt x="3020" y="1764"/>
                    <a:pt x="3020" y="1764"/>
                  </a:cubicBezTo>
                  <a:cubicBezTo>
                    <a:pt x="3019" y="1764"/>
                    <a:pt x="3019" y="1764"/>
                    <a:pt x="3019" y="1764"/>
                  </a:cubicBezTo>
                  <a:cubicBezTo>
                    <a:pt x="3020" y="1764"/>
                    <a:pt x="3020" y="1764"/>
                    <a:pt x="3020" y="1764"/>
                  </a:cubicBezTo>
                  <a:cubicBezTo>
                    <a:pt x="3020" y="1764"/>
                    <a:pt x="3020" y="1764"/>
                    <a:pt x="3020" y="1764"/>
                  </a:cubicBezTo>
                  <a:cubicBezTo>
                    <a:pt x="3019" y="1764"/>
                    <a:pt x="3019" y="1764"/>
                    <a:pt x="3019" y="1764"/>
                  </a:cubicBezTo>
                  <a:cubicBezTo>
                    <a:pt x="3020" y="1764"/>
                    <a:pt x="3020" y="1764"/>
                    <a:pt x="3020" y="1764"/>
                  </a:cubicBezTo>
                  <a:cubicBezTo>
                    <a:pt x="3020" y="1764"/>
                    <a:pt x="3020" y="1764"/>
                    <a:pt x="3020" y="1764"/>
                  </a:cubicBezTo>
                  <a:cubicBezTo>
                    <a:pt x="3019" y="1763"/>
                    <a:pt x="3019" y="1762"/>
                    <a:pt x="3018" y="1760"/>
                  </a:cubicBezTo>
                  <a:cubicBezTo>
                    <a:pt x="3018" y="1760"/>
                    <a:pt x="3018" y="1760"/>
                    <a:pt x="3018" y="1760"/>
                  </a:cubicBezTo>
                  <a:cubicBezTo>
                    <a:pt x="3012" y="1763"/>
                    <a:pt x="3012" y="1763"/>
                    <a:pt x="3012" y="1763"/>
                  </a:cubicBezTo>
                  <a:cubicBezTo>
                    <a:pt x="3018" y="1761"/>
                    <a:pt x="3018" y="1761"/>
                    <a:pt x="3018" y="1761"/>
                  </a:cubicBezTo>
                  <a:cubicBezTo>
                    <a:pt x="3018" y="1761"/>
                    <a:pt x="3018" y="1761"/>
                    <a:pt x="3018" y="1760"/>
                  </a:cubicBezTo>
                  <a:cubicBezTo>
                    <a:pt x="3012" y="1763"/>
                    <a:pt x="3012" y="1763"/>
                    <a:pt x="3012" y="1763"/>
                  </a:cubicBezTo>
                  <a:cubicBezTo>
                    <a:pt x="3018" y="1761"/>
                    <a:pt x="3018" y="1761"/>
                    <a:pt x="3018" y="1761"/>
                  </a:cubicBezTo>
                  <a:cubicBezTo>
                    <a:pt x="3016" y="1762"/>
                    <a:pt x="3016" y="1762"/>
                    <a:pt x="3016" y="1762"/>
                  </a:cubicBezTo>
                  <a:cubicBezTo>
                    <a:pt x="3018" y="1761"/>
                    <a:pt x="3018" y="1761"/>
                    <a:pt x="3018" y="1761"/>
                  </a:cubicBezTo>
                  <a:cubicBezTo>
                    <a:pt x="3018" y="1761"/>
                    <a:pt x="3018" y="1761"/>
                    <a:pt x="3018" y="1761"/>
                  </a:cubicBezTo>
                  <a:cubicBezTo>
                    <a:pt x="3016" y="1762"/>
                    <a:pt x="3016" y="1762"/>
                    <a:pt x="3016" y="1762"/>
                  </a:cubicBezTo>
                  <a:cubicBezTo>
                    <a:pt x="3018" y="1761"/>
                    <a:pt x="3018" y="1761"/>
                    <a:pt x="3018" y="1761"/>
                  </a:cubicBezTo>
                  <a:cubicBezTo>
                    <a:pt x="3018" y="1761"/>
                    <a:pt x="3018" y="1761"/>
                    <a:pt x="3018" y="1761"/>
                  </a:cubicBezTo>
                  <a:cubicBezTo>
                    <a:pt x="3018" y="1761"/>
                    <a:pt x="3018" y="1760"/>
                    <a:pt x="3017" y="1758"/>
                  </a:cubicBezTo>
                  <a:cubicBezTo>
                    <a:pt x="3017" y="1757"/>
                    <a:pt x="3017" y="1756"/>
                    <a:pt x="3016" y="1754"/>
                  </a:cubicBezTo>
                  <a:cubicBezTo>
                    <a:pt x="3015" y="1754"/>
                    <a:pt x="3015" y="1753"/>
                    <a:pt x="3013" y="1752"/>
                  </a:cubicBezTo>
                  <a:cubicBezTo>
                    <a:pt x="3012" y="1751"/>
                    <a:pt x="3011" y="1750"/>
                    <a:pt x="3009" y="1749"/>
                  </a:cubicBezTo>
                  <a:cubicBezTo>
                    <a:pt x="3009" y="1749"/>
                    <a:pt x="3009" y="1749"/>
                    <a:pt x="3009" y="1749"/>
                  </a:cubicBezTo>
                  <a:cubicBezTo>
                    <a:pt x="3009" y="1749"/>
                    <a:pt x="3009" y="1749"/>
                    <a:pt x="3009" y="1749"/>
                  </a:cubicBezTo>
                  <a:cubicBezTo>
                    <a:pt x="3007" y="1748"/>
                    <a:pt x="3007" y="1748"/>
                    <a:pt x="3005" y="1747"/>
                  </a:cubicBezTo>
                  <a:cubicBezTo>
                    <a:pt x="3004" y="1745"/>
                    <a:pt x="3001" y="1742"/>
                    <a:pt x="2999" y="1738"/>
                  </a:cubicBezTo>
                  <a:cubicBezTo>
                    <a:pt x="2997" y="1736"/>
                    <a:pt x="2996" y="1734"/>
                    <a:pt x="2994" y="1732"/>
                  </a:cubicBezTo>
                  <a:cubicBezTo>
                    <a:pt x="2992" y="1730"/>
                    <a:pt x="2989" y="1727"/>
                    <a:pt x="2986" y="1725"/>
                  </a:cubicBezTo>
                  <a:cubicBezTo>
                    <a:pt x="2986" y="1726"/>
                    <a:pt x="2986" y="1726"/>
                    <a:pt x="2986" y="1726"/>
                  </a:cubicBezTo>
                  <a:cubicBezTo>
                    <a:pt x="2987" y="1725"/>
                    <a:pt x="2987" y="1725"/>
                    <a:pt x="2987" y="1725"/>
                  </a:cubicBezTo>
                  <a:cubicBezTo>
                    <a:pt x="2986" y="1725"/>
                    <a:pt x="2986" y="1725"/>
                    <a:pt x="2986" y="1725"/>
                  </a:cubicBezTo>
                  <a:cubicBezTo>
                    <a:pt x="2986" y="1726"/>
                    <a:pt x="2986" y="1726"/>
                    <a:pt x="2986" y="1726"/>
                  </a:cubicBezTo>
                  <a:cubicBezTo>
                    <a:pt x="2987" y="1725"/>
                    <a:pt x="2987" y="1725"/>
                    <a:pt x="2987" y="1725"/>
                  </a:cubicBezTo>
                  <a:cubicBezTo>
                    <a:pt x="2986" y="1726"/>
                    <a:pt x="2986" y="1726"/>
                    <a:pt x="2986" y="1726"/>
                  </a:cubicBezTo>
                  <a:cubicBezTo>
                    <a:pt x="2987" y="1726"/>
                    <a:pt x="2987" y="1726"/>
                    <a:pt x="2987" y="1726"/>
                  </a:cubicBezTo>
                  <a:cubicBezTo>
                    <a:pt x="2987" y="1725"/>
                    <a:pt x="2987" y="1725"/>
                    <a:pt x="2987" y="1725"/>
                  </a:cubicBezTo>
                  <a:cubicBezTo>
                    <a:pt x="2986" y="1726"/>
                    <a:pt x="2986" y="1726"/>
                    <a:pt x="2986" y="1726"/>
                  </a:cubicBezTo>
                  <a:cubicBezTo>
                    <a:pt x="2987" y="1726"/>
                    <a:pt x="2987" y="1726"/>
                    <a:pt x="2987" y="1726"/>
                  </a:cubicBezTo>
                  <a:cubicBezTo>
                    <a:pt x="2987" y="1726"/>
                    <a:pt x="2987" y="1726"/>
                    <a:pt x="2987" y="1726"/>
                  </a:cubicBezTo>
                  <a:cubicBezTo>
                    <a:pt x="2987" y="1726"/>
                    <a:pt x="2987" y="1726"/>
                    <a:pt x="2987" y="1726"/>
                  </a:cubicBezTo>
                  <a:cubicBezTo>
                    <a:pt x="2987" y="1726"/>
                    <a:pt x="2987" y="1726"/>
                    <a:pt x="2987" y="1726"/>
                  </a:cubicBezTo>
                  <a:cubicBezTo>
                    <a:pt x="2987" y="1726"/>
                    <a:pt x="2987" y="1726"/>
                    <a:pt x="2987" y="1726"/>
                  </a:cubicBezTo>
                  <a:cubicBezTo>
                    <a:pt x="2987" y="1726"/>
                    <a:pt x="2987" y="1726"/>
                    <a:pt x="2987" y="1726"/>
                  </a:cubicBezTo>
                  <a:cubicBezTo>
                    <a:pt x="2987" y="1726"/>
                    <a:pt x="2986" y="1725"/>
                    <a:pt x="2986" y="1723"/>
                  </a:cubicBezTo>
                  <a:cubicBezTo>
                    <a:pt x="2986" y="1722"/>
                    <a:pt x="2986" y="1722"/>
                    <a:pt x="2986" y="1721"/>
                  </a:cubicBezTo>
                  <a:cubicBezTo>
                    <a:pt x="2986" y="1721"/>
                    <a:pt x="2986" y="1721"/>
                    <a:pt x="2986" y="1721"/>
                  </a:cubicBezTo>
                  <a:cubicBezTo>
                    <a:pt x="2982" y="1720"/>
                    <a:pt x="2982" y="1720"/>
                    <a:pt x="2982" y="1720"/>
                  </a:cubicBezTo>
                  <a:cubicBezTo>
                    <a:pt x="2986" y="1721"/>
                    <a:pt x="2986" y="1721"/>
                    <a:pt x="2986" y="1721"/>
                  </a:cubicBezTo>
                  <a:cubicBezTo>
                    <a:pt x="2986" y="1721"/>
                    <a:pt x="2986" y="1721"/>
                    <a:pt x="2986" y="1721"/>
                  </a:cubicBezTo>
                  <a:cubicBezTo>
                    <a:pt x="2982" y="1720"/>
                    <a:pt x="2982" y="1720"/>
                    <a:pt x="2982" y="1720"/>
                  </a:cubicBezTo>
                  <a:cubicBezTo>
                    <a:pt x="2986" y="1721"/>
                    <a:pt x="2986" y="1721"/>
                    <a:pt x="2986" y="1721"/>
                  </a:cubicBezTo>
                  <a:cubicBezTo>
                    <a:pt x="2984" y="1721"/>
                    <a:pt x="2984" y="1721"/>
                    <a:pt x="2984" y="1721"/>
                  </a:cubicBezTo>
                  <a:cubicBezTo>
                    <a:pt x="2986" y="1721"/>
                    <a:pt x="2986" y="1721"/>
                    <a:pt x="2986" y="1721"/>
                  </a:cubicBezTo>
                  <a:cubicBezTo>
                    <a:pt x="2986" y="1721"/>
                    <a:pt x="2986" y="1721"/>
                    <a:pt x="2986" y="1721"/>
                  </a:cubicBezTo>
                  <a:cubicBezTo>
                    <a:pt x="2984" y="1721"/>
                    <a:pt x="2984" y="1721"/>
                    <a:pt x="2984" y="1721"/>
                  </a:cubicBezTo>
                  <a:cubicBezTo>
                    <a:pt x="2986" y="1721"/>
                    <a:pt x="2986" y="1721"/>
                    <a:pt x="2986" y="1721"/>
                  </a:cubicBezTo>
                  <a:cubicBezTo>
                    <a:pt x="2986" y="1721"/>
                    <a:pt x="2986" y="1721"/>
                    <a:pt x="2986" y="1721"/>
                  </a:cubicBezTo>
                  <a:cubicBezTo>
                    <a:pt x="2986" y="1721"/>
                    <a:pt x="2987" y="1720"/>
                    <a:pt x="2987" y="1719"/>
                  </a:cubicBezTo>
                  <a:cubicBezTo>
                    <a:pt x="2987" y="1718"/>
                    <a:pt x="2988" y="1717"/>
                    <a:pt x="2988" y="1714"/>
                  </a:cubicBezTo>
                  <a:cubicBezTo>
                    <a:pt x="2988" y="1714"/>
                    <a:pt x="2988" y="1714"/>
                    <a:pt x="2988" y="1714"/>
                  </a:cubicBezTo>
                  <a:cubicBezTo>
                    <a:pt x="2988" y="1714"/>
                    <a:pt x="2988" y="1713"/>
                    <a:pt x="2988" y="1712"/>
                  </a:cubicBezTo>
                  <a:cubicBezTo>
                    <a:pt x="2988" y="1711"/>
                    <a:pt x="2988" y="1709"/>
                    <a:pt x="2988" y="1708"/>
                  </a:cubicBezTo>
                  <a:cubicBezTo>
                    <a:pt x="2987" y="1706"/>
                    <a:pt x="2987" y="1705"/>
                    <a:pt x="2986" y="1704"/>
                  </a:cubicBezTo>
                  <a:cubicBezTo>
                    <a:pt x="2985" y="1702"/>
                    <a:pt x="2983" y="1699"/>
                    <a:pt x="2981" y="1698"/>
                  </a:cubicBezTo>
                  <a:cubicBezTo>
                    <a:pt x="2978" y="1696"/>
                    <a:pt x="2975" y="1696"/>
                    <a:pt x="2973" y="1696"/>
                  </a:cubicBezTo>
                  <a:cubicBezTo>
                    <a:pt x="2971" y="1696"/>
                    <a:pt x="2970" y="1696"/>
                    <a:pt x="2969" y="1696"/>
                  </a:cubicBezTo>
                  <a:cubicBezTo>
                    <a:pt x="2969" y="1696"/>
                    <a:pt x="2969" y="1696"/>
                    <a:pt x="2969" y="1696"/>
                  </a:cubicBezTo>
                  <a:cubicBezTo>
                    <a:pt x="2968" y="1696"/>
                    <a:pt x="2968" y="1696"/>
                    <a:pt x="2967" y="1696"/>
                  </a:cubicBezTo>
                  <a:cubicBezTo>
                    <a:pt x="2966" y="1696"/>
                    <a:pt x="2965" y="1696"/>
                    <a:pt x="2963" y="1696"/>
                  </a:cubicBezTo>
                  <a:cubicBezTo>
                    <a:pt x="2962" y="1695"/>
                    <a:pt x="2960" y="1694"/>
                    <a:pt x="2958" y="1693"/>
                  </a:cubicBezTo>
                  <a:cubicBezTo>
                    <a:pt x="2958" y="1693"/>
                    <a:pt x="2958" y="1693"/>
                    <a:pt x="2958" y="1693"/>
                  </a:cubicBezTo>
                  <a:cubicBezTo>
                    <a:pt x="2957" y="1692"/>
                    <a:pt x="2955" y="1691"/>
                    <a:pt x="2953" y="1691"/>
                  </a:cubicBezTo>
                  <a:cubicBezTo>
                    <a:pt x="2951" y="1690"/>
                    <a:pt x="2949" y="1689"/>
                    <a:pt x="2946" y="1689"/>
                  </a:cubicBezTo>
                  <a:cubicBezTo>
                    <a:pt x="2944" y="1689"/>
                    <a:pt x="2942" y="1690"/>
                    <a:pt x="2940" y="1690"/>
                  </a:cubicBezTo>
                  <a:cubicBezTo>
                    <a:pt x="2937" y="1692"/>
                    <a:pt x="2935" y="1693"/>
                    <a:pt x="2934" y="1695"/>
                  </a:cubicBezTo>
                  <a:cubicBezTo>
                    <a:pt x="2932" y="1696"/>
                    <a:pt x="2931" y="1698"/>
                    <a:pt x="2930" y="1700"/>
                  </a:cubicBezTo>
                  <a:cubicBezTo>
                    <a:pt x="2930" y="1700"/>
                    <a:pt x="2930" y="1700"/>
                    <a:pt x="2930" y="1700"/>
                  </a:cubicBezTo>
                  <a:cubicBezTo>
                    <a:pt x="2929" y="1700"/>
                    <a:pt x="2929" y="1701"/>
                    <a:pt x="2929" y="1701"/>
                  </a:cubicBezTo>
                  <a:cubicBezTo>
                    <a:pt x="2928" y="1702"/>
                    <a:pt x="2928" y="1702"/>
                    <a:pt x="2928" y="1702"/>
                  </a:cubicBezTo>
                  <a:cubicBezTo>
                    <a:pt x="2929" y="1703"/>
                    <a:pt x="2929" y="1703"/>
                    <a:pt x="2929" y="1703"/>
                  </a:cubicBezTo>
                  <a:cubicBezTo>
                    <a:pt x="2928" y="1701"/>
                    <a:pt x="2928" y="1701"/>
                    <a:pt x="2928" y="1701"/>
                  </a:cubicBezTo>
                  <a:cubicBezTo>
                    <a:pt x="2928" y="1702"/>
                    <a:pt x="2928" y="1702"/>
                    <a:pt x="2928" y="1702"/>
                  </a:cubicBezTo>
                  <a:cubicBezTo>
                    <a:pt x="2929" y="1703"/>
                    <a:pt x="2929" y="1703"/>
                    <a:pt x="2929" y="1703"/>
                  </a:cubicBezTo>
                  <a:cubicBezTo>
                    <a:pt x="2928" y="1701"/>
                    <a:pt x="2928" y="1701"/>
                    <a:pt x="2928" y="1701"/>
                  </a:cubicBezTo>
                  <a:cubicBezTo>
                    <a:pt x="2930" y="1704"/>
                    <a:pt x="2930" y="1704"/>
                    <a:pt x="2930" y="1704"/>
                  </a:cubicBezTo>
                  <a:cubicBezTo>
                    <a:pt x="2930" y="1701"/>
                    <a:pt x="2930" y="1701"/>
                    <a:pt x="2930" y="1701"/>
                  </a:cubicBezTo>
                  <a:cubicBezTo>
                    <a:pt x="2930" y="1701"/>
                    <a:pt x="2929" y="1701"/>
                    <a:pt x="2928" y="1701"/>
                  </a:cubicBezTo>
                  <a:cubicBezTo>
                    <a:pt x="2930" y="1704"/>
                    <a:pt x="2930" y="1704"/>
                    <a:pt x="2930" y="1704"/>
                  </a:cubicBezTo>
                  <a:cubicBezTo>
                    <a:pt x="2930" y="1701"/>
                    <a:pt x="2930" y="1701"/>
                    <a:pt x="2930" y="1701"/>
                  </a:cubicBezTo>
                  <a:cubicBezTo>
                    <a:pt x="2930" y="1702"/>
                    <a:pt x="2930" y="1702"/>
                    <a:pt x="2930" y="1702"/>
                  </a:cubicBezTo>
                  <a:cubicBezTo>
                    <a:pt x="2930" y="1701"/>
                    <a:pt x="2930" y="1701"/>
                    <a:pt x="2930" y="1701"/>
                  </a:cubicBezTo>
                  <a:cubicBezTo>
                    <a:pt x="2930" y="1701"/>
                    <a:pt x="2930" y="1701"/>
                    <a:pt x="2930" y="1701"/>
                  </a:cubicBezTo>
                  <a:cubicBezTo>
                    <a:pt x="2930" y="1702"/>
                    <a:pt x="2930" y="1702"/>
                    <a:pt x="2930" y="1702"/>
                  </a:cubicBezTo>
                  <a:cubicBezTo>
                    <a:pt x="2930" y="1701"/>
                    <a:pt x="2930" y="1701"/>
                    <a:pt x="2930" y="1701"/>
                  </a:cubicBezTo>
                  <a:cubicBezTo>
                    <a:pt x="2930" y="1701"/>
                    <a:pt x="2930" y="1701"/>
                    <a:pt x="2930" y="1701"/>
                  </a:cubicBezTo>
                  <a:cubicBezTo>
                    <a:pt x="2930" y="1701"/>
                    <a:pt x="2930" y="1701"/>
                    <a:pt x="2930" y="1701"/>
                  </a:cubicBezTo>
                  <a:cubicBezTo>
                    <a:pt x="2929" y="1701"/>
                    <a:pt x="2928" y="1701"/>
                    <a:pt x="2927" y="1701"/>
                  </a:cubicBezTo>
                  <a:cubicBezTo>
                    <a:pt x="2925" y="1701"/>
                    <a:pt x="2923" y="1701"/>
                    <a:pt x="2922" y="1702"/>
                  </a:cubicBezTo>
                  <a:cubicBezTo>
                    <a:pt x="2920" y="1703"/>
                    <a:pt x="2919" y="1703"/>
                    <a:pt x="2918" y="1704"/>
                  </a:cubicBezTo>
                  <a:cubicBezTo>
                    <a:pt x="2917" y="1705"/>
                    <a:pt x="2916" y="1705"/>
                    <a:pt x="2916" y="1705"/>
                  </a:cubicBezTo>
                  <a:cubicBezTo>
                    <a:pt x="2916" y="1705"/>
                    <a:pt x="2916" y="1705"/>
                    <a:pt x="2916" y="1705"/>
                  </a:cubicBezTo>
                  <a:cubicBezTo>
                    <a:pt x="2915" y="1706"/>
                    <a:pt x="2914" y="1707"/>
                    <a:pt x="2913" y="1708"/>
                  </a:cubicBezTo>
                  <a:cubicBezTo>
                    <a:pt x="2913" y="1708"/>
                    <a:pt x="2913" y="1709"/>
                    <a:pt x="2912" y="1709"/>
                  </a:cubicBezTo>
                  <a:cubicBezTo>
                    <a:pt x="2912" y="1709"/>
                    <a:pt x="2912" y="1709"/>
                    <a:pt x="2912" y="1709"/>
                  </a:cubicBezTo>
                  <a:cubicBezTo>
                    <a:pt x="2912" y="1709"/>
                    <a:pt x="2912" y="1709"/>
                    <a:pt x="2912" y="1709"/>
                  </a:cubicBezTo>
                  <a:cubicBezTo>
                    <a:pt x="2915" y="1712"/>
                    <a:pt x="2915" y="1712"/>
                    <a:pt x="2915" y="1712"/>
                  </a:cubicBezTo>
                  <a:cubicBezTo>
                    <a:pt x="2912" y="1709"/>
                    <a:pt x="2912" y="1709"/>
                    <a:pt x="2912" y="1709"/>
                  </a:cubicBezTo>
                  <a:cubicBezTo>
                    <a:pt x="2912" y="1709"/>
                    <a:pt x="2912" y="1709"/>
                    <a:pt x="2912" y="1709"/>
                  </a:cubicBezTo>
                  <a:cubicBezTo>
                    <a:pt x="2915" y="1712"/>
                    <a:pt x="2915" y="1712"/>
                    <a:pt x="2915" y="1712"/>
                  </a:cubicBezTo>
                  <a:cubicBezTo>
                    <a:pt x="2912" y="1709"/>
                    <a:pt x="2912" y="1709"/>
                    <a:pt x="2912" y="1709"/>
                  </a:cubicBezTo>
                  <a:cubicBezTo>
                    <a:pt x="2919" y="1715"/>
                    <a:pt x="2919" y="1715"/>
                    <a:pt x="2919" y="1715"/>
                  </a:cubicBezTo>
                  <a:cubicBezTo>
                    <a:pt x="2914" y="1708"/>
                    <a:pt x="2914" y="1708"/>
                    <a:pt x="2914" y="1708"/>
                  </a:cubicBezTo>
                  <a:cubicBezTo>
                    <a:pt x="2913" y="1708"/>
                    <a:pt x="2913" y="1709"/>
                    <a:pt x="2912" y="1709"/>
                  </a:cubicBezTo>
                  <a:cubicBezTo>
                    <a:pt x="2919" y="1715"/>
                    <a:pt x="2919" y="1715"/>
                    <a:pt x="2919" y="1715"/>
                  </a:cubicBezTo>
                  <a:cubicBezTo>
                    <a:pt x="2914" y="1708"/>
                    <a:pt x="2914" y="1708"/>
                    <a:pt x="2914" y="1708"/>
                  </a:cubicBezTo>
                  <a:cubicBezTo>
                    <a:pt x="2920" y="1716"/>
                    <a:pt x="2920" y="1716"/>
                    <a:pt x="2920" y="1716"/>
                  </a:cubicBezTo>
                  <a:cubicBezTo>
                    <a:pt x="2917" y="1706"/>
                    <a:pt x="2917" y="1706"/>
                    <a:pt x="2917" y="1706"/>
                  </a:cubicBezTo>
                  <a:cubicBezTo>
                    <a:pt x="2915" y="1707"/>
                    <a:pt x="2914" y="1707"/>
                    <a:pt x="2914" y="1708"/>
                  </a:cubicBezTo>
                  <a:cubicBezTo>
                    <a:pt x="2920" y="1716"/>
                    <a:pt x="2920" y="1716"/>
                    <a:pt x="2920" y="1716"/>
                  </a:cubicBezTo>
                  <a:cubicBezTo>
                    <a:pt x="2917" y="1706"/>
                    <a:pt x="2917" y="1706"/>
                    <a:pt x="2917" y="1706"/>
                  </a:cubicBezTo>
                  <a:cubicBezTo>
                    <a:pt x="2917" y="1706"/>
                    <a:pt x="2917" y="1706"/>
                    <a:pt x="2917" y="1706"/>
                  </a:cubicBezTo>
                  <a:cubicBezTo>
                    <a:pt x="2917" y="1706"/>
                    <a:pt x="2917" y="1706"/>
                    <a:pt x="2917" y="1706"/>
                  </a:cubicBezTo>
                  <a:cubicBezTo>
                    <a:pt x="2914" y="1707"/>
                    <a:pt x="2912" y="1708"/>
                    <a:pt x="2910" y="1709"/>
                  </a:cubicBezTo>
                  <a:cubicBezTo>
                    <a:pt x="2909" y="1710"/>
                    <a:pt x="2907" y="1711"/>
                    <a:pt x="2906" y="1713"/>
                  </a:cubicBezTo>
                  <a:cubicBezTo>
                    <a:pt x="2904" y="1715"/>
                    <a:pt x="2902" y="1717"/>
                    <a:pt x="2902" y="1720"/>
                  </a:cubicBezTo>
                  <a:cubicBezTo>
                    <a:pt x="2901" y="1723"/>
                    <a:pt x="2900" y="1725"/>
                    <a:pt x="2900" y="1727"/>
                  </a:cubicBezTo>
                  <a:cubicBezTo>
                    <a:pt x="2900" y="1730"/>
                    <a:pt x="2901" y="1733"/>
                    <a:pt x="2901" y="1736"/>
                  </a:cubicBezTo>
                  <a:cubicBezTo>
                    <a:pt x="2901" y="1736"/>
                    <a:pt x="2901" y="1736"/>
                    <a:pt x="2901" y="1736"/>
                  </a:cubicBezTo>
                  <a:cubicBezTo>
                    <a:pt x="2901" y="1737"/>
                    <a:pt x="2902" y="1737"/>
                    <a:pt x="2902" y="1738"/>
                  </a:cubicBezTo>
                  <a:cubicBezTo>
                    <a:pt x="2902" y="1741"/>
                    <a:pt x="2901" y="1743"/>
                    <a:pt x="2899" y="1746"/>
                  </a:cubicBezTo>
                  <a:cubicBezTo>
                    <a:pt x="2898" y="1749"/>
                    <a:pt x="2895" y="1752"/>
                    <a:pt x="2892" y="1755"/>
                  </a:cubicBezTo>
                  <a:cubicBezTo>
                    <a:pt x="2892" y="1755"/>
                    <a:pt x="2892" y="1755"/>
                    <a:pt x="2892" y="1755"/>
                  </a:cubicBezTo>
                  <a:cubicBezTo>
                    <a:pt x="2896" y="1760"/>
                    <a:pt x="2896" y="1760"/>
                    <a:pt x="2896" y="1760"/>
                  </a:cubicBezTo>
                  <a:cubicBezTo>
                    <a:pt x="2894" y="1754"/>
                    <a:pt x="2894" y="1754"/>
                    <a:pt x="2894" y="1754"/>
                  </a:cubicBezTo>
                  <a:cubicBezTo>
                    <a:pt x="2894" y="1754"/>
                    <a:pt x="2893" y="1754"/>
                    <a:pt x="2892" y="1755"/>
                  </a:cubicBezTo>
                  <a:cubicBezTo>
                    <a:pt x="2896" y="1760"/>
                    <a:pt x="2896" y="1760"/>
                    <a:pt x="2896" y="1760"/>
                  </a:cubicBezTo>
                  <a:cubicBezTo>
                    <a:pt x="2894" y="1754"/>
                    <a:pt x="2894" y="1754"/>
                    <a:pt x="2894" y="1754"/>
                  </a:cubicBezTo>
                  <a:cubicBezTo>
                    <a:pt x="2895" y="1755"/>
                    <a:pt x="2895" y="1755"/>
                    <a:pt x="2895" y="1755"/>
                  </a:cubicBezTo>
                  <a:cubicBezTo>
                    <a:pt x="2895" y="1754"/>
                    <a:pt x="2895" y="1754"/>
                    <a:pt x="2895" y="1754"/>
                  </a:cubicBezTo>
                  <a:cubicBezTo>
                    <a:pt x="2894" y="1754"/>
                    <a:pt x="2894" y="1754"/>
                    <a:pt x="2894" y="1754"/>
                  </a:cubicBezTo>
                  <a:cubicBezTo>
                    <a:pt x="2895" y="1755"/>
                    <a:pt x="2895" y="1755"/>
                    <a:pt x="2895" y="1755"/>
                  </a:cubicBezTo>
                  <a:cubicBezTo>
                    <a:pt x="2895" y="1754"/>
                    <a:pt x="2895" y="1754"/>
                    <a:pt x="2895" y="1754"/>
                  </a:cubicBezTo>
                  <a:cubicBezTo>
                    <a:pt x="2895" y="1754"/>
                    <a:pt x="2894" y="1754"/>
                    <a:pt x="2893" y="1754"/>
                  </a:cubicBezTo>
                  <a:cubicBezTo>
                    <a:pt x="2892" y="1754"/>
                    <a:pt x="2891" y="1754"/>
                    <a:pt x="2889" y="1754"/>
                  </a:cubicBezTo>
                  <a:cubicBezTo>
                    <a:pt x="2889" y="1754"/>
                    <a:pt x="2889" y="1754"/>
                    <a:pt x="2889" y="1754"/>
                  </a:cubicBezTo>
                  <a:cubicBezTo>
                    <a:pt x="2887" y="1754"/>
                    <a:pt x="2885" y="1755"/>
                    <a:pt x="2882" y="1755"/>
                  </a:cubicBezTo>
                  <a:cubicBezTo>
                    <a:pt x="2881" y="1756"/>
                    <a:pt x="2879" y="1756"/>
                    <a:pt x="2876" y="1758"/>
                  </a:cubicBezTo>
                  <a:cubicBezTo>
                    <a:pt x="2875" y="1759"/>
                    <a:pt x="2873" y="1760"/>
                    <a:pt x="2872" y="1762"/>
                  </a:cubicBezTo>
                  <a:cubicBezTo>
                    <a:pt x="2871" y="1764"/>
                    <a:pt x="2870" y="1767"/>
                    <a:pt x="2869" y="1769"/>
                  </a:cubicBezTo>
                  <a:cubicBezTo>
                    <a:pt x="2869" y="1771"/>
                    <a:pt x="2869" y="1772"/>
                    <a:pt x="2868" y="1774"/>
                  </a:cubicBezTo>
                  <a:cubicBezTo>
                    <a:pt x="2868" y="1774"/>
                    <a:pt x="2868" y="1774"/>
                    <a:pt x="2868" y="1774"/>
                  </a:cubicBezTo>
                  <a:cubicBezTo>
                    <a:pt x="2868" y="1775"/>
                    <a:pt x="2868" y="1775"/>
                    <a:pt x="2868" y="1776"/>
                  </a:cubicBezTo>
                  <a:cubicBezTo>
                    <a:pt x="2868" y="1776"/>
                    <a:pt x="2868" y="1776"/>
                    <a:pt x="2868" y="1776"/>
                  </a:cubicBezTo>
                  <a:cubicBezTo>
                    <a:pt x="2869" y="1776"/>
                    <a:pt x="2869" y="1776"/>
                    <a:pt x="2869" y="1776"/>
                  </a:cubicBezTo>
                  <a:cubicBezTo>
                    <a:pt x="2868" y="1776"/>
                    <a:pt x="2868" y="1776"/>
                    <a:pt x="2868" y="1776"/>
                  </a:cubicBezTo>
                  <a:cubicBezTo>
                    <a:pt x="2868" y="1776"/>
                    <a:pt x="2868" y="1776"/>
                    <a:pt x="2868" y="1776"/>
                  </a:cubicBezTo>
                  <a:cubicBezTo>
                    <a:pt x="2869" y="1776"/>
                    <a:pt x="2869" y="1776"/>
                    <a:pt x="2869" y="1776"/>
                  </a:cubicBezTo>
                  <a:cubicBezTo>
                    <a:pt x="2868" y="1776"/>
                    <a:pt x="2868" y="1776"/>
                    <a:pt x="2868" y="1776"/>
                  </a:cubicBezTo>
                  <a:cubicBezTo>
                    <a:pt x="2871" y="1777"/>
                    <a:pt x="2871" y="1777"/>
                    <a:pt x="2871" y="1777"/>
                  </a:cubicBezTo>
                  <a:cubicBezTo>
                    <a:pt x="2869" y="1774"/>
                    <a:pt x="2869" y="1774"/>
                    <a:pt x="2869" y="1774"/>
                  </a:cubicBezTo>
                  <a:cubicBezTo>
                    <a:pt x="2869" y="1775"/>
                    <a:pt x="2868" y="1775"/>
                    <a:pt x="2868" y="1776"/>
                  </a:cubicBezTo>
                  <a:cubicBezTo>
                    <a:pt x="2871" y="1777"/>
                    <a:pt x="2871" y="1777"/>
                    <a:pt x="2871" y="1777"/>
                  </a:cubicBezTo>
                  <a:cubicBezTo>
                    <a:pt x="2869" y="1774"/>
                    <a:pt x="2869" y="1774"/>
                    <a:pt x="2869" y="1774"/>
                  </a:cubicBezTo>
                  <a:cubicBezTo>
                    <a:pt x="2872" y="1778"/>
                    <a:pt x="2872" y="1778"/>
                    <a:pt x="2872" y="1778"/>
                  </a:cubicBezTo>
                  <a:cubicBezTo>
                    <a:pt x="2872" y="1774"/>
                    <a:pt x="2872" y="1774"/>
                    <a:pt x="2872" y="1774"/>
                  </a:cubicBezTo>
                  <a:cubicBezTo>
                    <a:pt x="2871" y="1774"/>
                    <a:pt x="2870" y="1774"/>
                    <a:pt x="2869" y="1774"/>
                  </a:cubicBezTo>
                  <a:cubicBezTo>
                    <a:pt x="2872" y="1778"/>
                    <a:pt x="2872" y="1778"/>
                    <a:pt x="2872" y="1778"/>
                  </a:cubicBezTo>
                  <a:cubicBezTo>
                    <a:pt x="2872" y="1774"/>
                    <a:pt x="2872" y="1774"/>
                    <a:pt x="2872" y="1774"/>
                  </a:cubicBezTo>
                  <a:cubicBezTo>
                    <a:pt x="2872" y="1775"/>
                    <a:pt x="2872" y="1775"/>
                    <a:pt x="2872" y="1775"/>
                  </a:cubicBezTo>
                  <a:cubicBezTo>
                    <a:pt x="2872" y="1774"/>
                    <a:pt x="2872" y="1774"/>
                    <a:pt x="2872" y="1774"/>
                  </a:cubicBezTo>
                  <a:cubicBezTo>
                    <a:pt x="2872" y="1774"/>
                    <a:pt x="2872" y="1774"/>
                    <a:pt x="2872" y="1774"/>
                  </a:cubicBezTo>
                  <a:cubicBezTo>
                    <a:pt x="2872" y="1775"/>
                    <a:pt x="2872" y="1775"/>
                    <a:pt x="2872" y="1775"/>
                  </a:cubicBezTo>
                  <a:cubicBezTo>
                    <a:pt x="2872" y="1774"/>
                    <a:pt x="2872" y="1774"/>
                    <a:pt x="2872" y="1774"/>
                  </a:cubicBezTo>
                  <a:cubicBezTo>
                    <a:pt x="2872" y="1774"/>
                    <a:pt x="2872" y="1774"/>
                    <a:pt x="2872" y="1774"/>
                  </a:cubicBezTo>
                  <a:cubicBezTo>
                    <a:pt x="2872" y="1774"/>
                    <a:pt x="2871" y="1774"/>
                    <a:pt x="2871" y="1773"/>
                  </a:cubicBezTo>
                  <a:cubicBezTo>
                    <a:pt x="2871" y="1773"/>
                    <a:pt x="2871" y="1773"/>
                    <a:pt x="2871" y="1773"/>
                  </a:cubicBezTo>
                  <a:cubicBezTo>
                    <a:pt x="2871" y="1773"/>
                    <a:pt x="2871" y="1773"/>
                    <a:pt x="2871" y="1773"/>
                  </a:cubicBezTo>
                  <a:cubicBezTo>
                    <a:pt x="2870" y="1773"/>
                    <a:pt x="2869" y="1772"/>
                    <a:pt x="2868" y="1772"/>
                  </a:cubicBezTo>
                  <a:cubicBezTo>
                    <a:pt x="2866" y="1772"/>
                    <a:pt x="2865" y="1771"/>
                    <a:pt x="2862" y="1771"/>
                  </a:cubicBezTo>
                  <a:cubicBezTo>
                    <a:pt x="2861" y="1771"/>
                    <a:pt x="2859" y="1771"/>
                    <a:pt x="2858" y="1772"/>
                  </a:cubicBezTo>
                  <a:cubicBezTo>
                    <a:pt x="2855" y="1773"/>
                    <a:pt x="2853" y="1774"/>
                    <a:pt x="2852" y="1775"/>
                  </a:cubicBezTo>
                  <a:cubicBezTo>
                    <a:pt x="2851" y="1776"/>
                    <a:pt x="2850" y="1778"/>
                    <a:pt x="2849" y="1779"/>
                  </a:cubicBezTo>
                  <a:cubicBezTo>
                    <a:pt x="2849" y="1779"/>
                    <a:pt x="2849" y="1779"/>
                    <a:pt x="2849" y="1779"/>
                  </a:cubicBezTo>
                  <a:cubicBezTo>
                    <a:pt x="2848" y="1781"/>
                    <a:pt x="2846" y="1783"/>
                    <a:pt x="2843" y="1787"/>
                  </a:cubicBezTo>
                  <a:cubicBezTo>
                    <a:pt x="2842" y="1789"/>
                    <a:pt x="2841" y="1792"/>
                    <a:pt x="2840" y="1795"/>
                  </a:cubicBezTo>
                  <a:cubicBezTo>
                    <a:pt x="2839" y="1798"/>
                    <a:pt x="2838" y="1801"/>
                    <a:pt x="2838" y="1804"/>
                  </a:cubicBezTo>
                  <a:cubicBezTo>
                    <a:pt x="2838" y="1805"/>
                    <a:pt x="2838" y="1805"/>
                    <a:pt x="2838" y="1805"/>
                  </a:cubicBezTo>
                  <a:cubicBezTo>
                    <a:pt x="2850" y="1804"/>
                    <a:pt x="2850" y="1804"/>
                    <a:pt x="2850" y="1804"/>
                  </a:cubicBezTo>
                  <a:cubicBezTo>
                    <a:pt x="2838" y="1804"/>
                    <a:pt x="2838" y="1804"/>
                    <a:pt x="2838" y="1804"/>
                  </a:cubicBezTo>
                  <a:cubicBezTo>
                    <a:pt x="2838" y="1805"/>
                    <a:pt x="2838" y="1805"/>
                    <a:pt x="2838" y="1805"/>
                  </a:cubicBezTo>
                  <a:cubicBezTo>
                    <a:pt x="2838" y="1805"/>
                    <a:pt x="2838" y="1806"/>
                    <a:pt x="2838" y="1807"/>
                  </a:cubicBezTo>
                  <a:cubicBezTo>
                    <a:pt x="2837" y="1808"/>
                    <a:pt x="2836" y="1810"/>
                    <a:pt x="2835" y="1812"/>
                  </a:cubicBezTo>
                  <a:cubicBezTo>
                    <a:pt x="2833" y="1814"/>
                    <a:pt x="2831" y="1816"/>
                    <a:pt x="2829" y="1819"/>
                  </a:cubicBezTo>
                  <a:cubicBezTo>
                    <a:pt x="2829" y="1819"/>
                    <a:pt x="2829" y="1819"/>
                    <a:pt x="2829" y="1819"/>
                  </a:cubicBezTo>
                  <a:cubicBezTo>
                    <a:pt x="2828" y="1820"/>
                    <a:pt x="2826" y="1822"/>
                    <a:pt x="2825" y="1824"/>
                  </a:cubicBezTo>
                  <a:cubicBezTo>
                    <a:pt x="2823" y="1827"/>
                    <a:pt x="2822" y="1831"/>
                    <a:pt x="2822" y="1835"/>
                  </a:cubicBezTo>
                  <a:cubicBezTo>
                    <a:pt x="2822" y="1836"/>
                    <a:pt x="2822" y="1837"/>
                    <a:pt x="2823" y="1839"/>
                  </a:cubicBezTo>
                  <a:cubicBezTo>
                    <a:pt x="2823" y="1839"/>
                    <a:pt x="2823" y="1839"/>
                    <a:pt x="2823" y="1839"/>
                  </a:cubicBezTo>
                  <a:cubicBezTo>
                    <a:pt x="2823" y="1839"/>
                    <a:pt x="2823" y="1839"/>
                    <a:pt x="2823" y="1839"/>
                  </a:cubicBezTo>
                  <a:cubicBezTo>
                    <a:pt x="2828" y="1838"/>
                    <a:pt x="2828" y="1838"/>
                    <a:pt x="2828" y="1838"/>
                  </a:cubicBezTo>
                  <a:cubicBezTo>
                    <a:pt x="2823" y="1838"/>
                    <a:pt x="2823" y="1838"/>
                    <a:pt x="2823" y="1838"/>
                  </a:cubicBezTo>
                  <a:cubicBezTo>
                    <a:pt x="2823" y="1839"/>
                    <a:pt x="2823" y="1839"/>
                    <a:pt x="2823" y="1839"/>
                  </a:cubicBezTo>
                  <a:cubicBezTo>
                    <a:pt x="2828" y="1838"/>
                    <a:pt x="2828" y="1838"/>
                    <a:pt x="2828" y="1838"/>
                  </a:cubicBezTo>
                  <a:cubicBezTo>
                    <a:pt x="2823" y="1838"/>
                    <a:pt x="2823" y="1838"/>
                    <a:pt x="2823" y="1838"/>
                  </a:cubicBezTo>
                  <a:cubicBezTo>
                    <a:pt x="2827" y="1838"/>
                    <a:pt x="2827" y="1838"/>
                    <a:pt x="2827" y="1838"/>
                  </a:cubicBezTo>
                  <a:cubicBezTo>
                    <a:pt x="2823" y="1837"/>
                    <a:pt x="2823" y="1837"/>
                    <a:pt x="2823" y="1837"/>
                  </a:cubicBezTo>
                  <a:cubicBezTo>
                    <a:pt x="2823" y="1837"/>
                    <a:pt x="2823" y="1838"/>
                    <a:pt x="2823" y="1838"/>
                  </a:cubicBezTo>
                  <a:cubicBezTo>
                    <a:pt x="2827" y="1838"/>
                    <a:pt x="2827" y="1838"/>
                    <a:pt x="2827" y="1838"/>
                  </a:cubicBezTo>
                  <a:cubicBezTo>
                    <a:pt x="2823" y="1837"/>
                    <a:pt x="2823" y="1837"/>
                    <a:pt x="2823" y="1837"/>
                  </a:cubicBezTo>
                  <a:cubicBezTo>
                    <a:pt x="2825" y="1838"/>
                    <a:pt x="2825" y="1838"/>
                    <a:pt x="2825" y="1838"/>
                  </a:cubicBezTo>
                  <a:cubicBezTo>
                    <a:pt x="2823" y="1837"/>
                    <a:pt x="2823" y="1837"/>
                    <a:pt x="2823" y="1837"/>
                  </a:cubicBezTo>
                  <a:cubicBezTo>
                    <a:pt x="2823" y="1837"/>
                    <a:pt x="2823" y="1837"/>
                    <a:pt x="2823" y="1837"/>
                  </a:cubicBezTo>
                  <a:cubicBezTo>
                    <a:pt x="2825" y="1838"/>
                    <a:pt x="2825" y="1838"/>
                    <a:pt x="2825" y="1838"/>
                  </a:cubicBezTo>
                  <a:cubicBezTo>
                    <a:pt x="2823" y="1837"/>
                    <a:pt x="2823" y="1837"/>
                    <a:pt x="2823" y="1837"/>
                  </a:cubicBezTo>
                  <a:cubicBezTo>
                    <a:pt x="2824" y="1837"/>
                    <a:pt x="2824" y="1837"/>
                    <a:pt x="2824" y="1837"/>
                  </a:cubicBezTo>
                  <a:cubicBezTo>
                    <a:pt x="2823" y="1837"/>
                    <a:pt x="2823" y="1837"/>
                    <a:pt x="2823" y="1837"/>
                  </a:cubicBezTo>
                  <a:cubicBezTo>
                    <a:pt x="2823" y="1837"/>
                    <a:pt x="2823" y="1837"/>
                    <a:pt x="2823" y="1837"/>
                  </a:cubicBezTo>
                  <a:cubicBezTo>
                    <a:pt x="2824" y="1837"/>
                    <a:pt x="2824" y="1837"/>
                    <a:pt x="2824" y="1837"/>
                  </a:cubicBezTo>
                  <a:cubicBezTo>
                    <a:pt x="2823" y="1837"/>
                    <a:pt x="2823" y="1837"/>
                    <a:pt x="2823" y="1837"/>
                  </a:cubicBezTo>
                  <a:cubicBezTo>
                    <a:pt x="2823" y="1837"/>
                    <a:pt x="2823" y="1837"/>
                    <a:pt x="2823" y="1837"/>
                  </a:cubicBezTo>
                  <a:cubicBezTo>
                    <a:pt x="2822" y="1838"/>
                    <a:pt x="2822" y="1839"/>
                    <a:pt x="2821" y="1841"/>
                  </a:cubicBezTo>
                  <a:cubicBezTo>
                    <a:pt x="2820" y="1843"/>
                    <a:pt x="2819" y="1846"/>
                    <a:pt x="2819" y="1850"/>
                  </a:cubicBezTo>
                  <a:cubicBezTo>
                    <a:pt x="2819" y="1851"/>
                    <a:pt x="2819" y="1853"/>
                    <a:pt x="2820" y="1854"/>
                  </a:cubicBezTo>
                  <a:cubicBezTo>
                    <a:pt x="2820" y="1855"/>
                    <a:pt x="2820" y="1855"/>
                    <a:pt x="2820" y="1855"/>
                  </a:cubicBezTo>
                  <a:cubicBezTo>
                    <a:pt x="2820" y="1856"/>
                    <a:pt x="2820" y="1858"/>
                    <a:pt x="2821" y="1861"/>
                  </a:cubicBezTo>
                  <a:cubicBezTo>
                    <a:pt x="2822" y="1862"/>
                    <a:pt x="2822" y="1864"/>
                    <a:pt x="2823" y="1866"/>
                  </a:cubicBezTo>
                  <a:cubicBezTo>
                    <a:pt x="2824" y="1868"/>
                    <a:pt x="2826" y="1869"/>
                    <a:pt x="2828" y="1871"/>
                  </a:cubicBezTo>
                  <a:cubicBezTo>
                    <a:pt x="2831" y="1874"/>
                    <a:pt x="2835" y="1877"/>
                    <a:pt x="2839" y="1879"/>
                  </a:cubicBezTo>
                  <a:cubicBezTo>
                    <a:pt x="2839" y="1879"/>
                    <a:pt x="2839" y="1879"/>
                    <a:pt x="2839" y="1879"/>
                  </a:cubicBezTo>
                  <a:cubicBezTo>
                    <a:pt x="2840" y="1879"/>
                    <a:pt x="2840" y="1880"/>
                    <a:pt x="2841" y="1880"/>
                  </a:cubicBezTo>
                  <a:cubicBezTo>
                    <a:pt x="2841" y="1881"/>
                    <a:pt x="2842" y="1882"/>
                    <a:pt x="2842" y="1884"/>
                  </a:cubicBezTo>
                  <a:cubicBezTo>
                    <a:pt x="2842" y="1884"/>
                    <a:pt x="2842" y="1884"/>
                    <a:pt x="2842" y="1884"/>
                  </a:cubicBezTo>
                  <a:cubicBezTo>
                    <a:pt x="2842" y="1884"/>
                    <a:pt x="2842" y="1884"/>
                    <a:pt x="2842" y="1884"/>
                  </a:cubicBezTo>
                  <a:cubicBezTo>
                    <a:pt x="2842" y="1885"/>
                    <a:pt x="2842" y="1885"/>
                    <a:pt x="2842" y="1885"/>
                  </a:cubicBezTo>
                  <a:cubicBezTo>
                    <a:pt x="2842" y="1885"/>
                    <a:pt x="2842" y="1886"/>
                    <a:pt x="2842" y="1886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8"/>
                    <a:pt x="2842" y="1888"/>
                    <a:pt x="2842" y="1888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8"/>
                    <a:pt x="2842" y="1888"/>
                    <a:pt x="2842" y="1888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2" y="1887"/>
                    <a:pt x="2842" y="1887"/>
                    <a:pt x="2842" y="1887"/>
                  </a:cubicBezTo>
                  <a:cubicBezTo>
                    <a:pt x="2840" y="1887"/>
                    <a:pt x="2839" y="1887"/>
                    <a:pt x="2838" y="1887"/>
                  </a:cubicBezTo>
                  <a:cubicBezTo>
                    <a:pt x="2835" y="1887"/>
                    <a:pt x="2833" y="1887"/>
                    <a:pt x="2830" y="1888"/>
                  </a:cubicBezTo>
                  <a:cubicBezTo>
                    <a:pt x="2828" y="1888"/>
                    <a:pt x="2826" y="1889"/>
                    <a:pt x="2825" y="1891"/>
                  </a:cubicBezTo>
                  <a:cubicBezTo>
                    <a:pt x="2822" y="1893"/>
                    <a:pt x="2820" y="1895"/>
                    <a:pt x="2819" y="1898"/>
                  </a:cubicBezTo>
                  <a:cubicBezTo>
                    <a:pt x="2818" y="1900"/>
                    <a:pt x="2817" y="1903"/>
                    <a:pt x="2816" y="1905"/>
                  </a:cubicBezTo>
                  <a:cubicBezTo>
                    <a:pt x="2816" y="1905"/>
                    <a:pt x="2816" y="1905"/>
                    <a:pt x="2816" y="1905"/>
                  </a:cubicBezTo>
                  <a:cubicBezTo>
                    <a:pt x="2816" y="1906"/>
                    <a:pt x="2816" y="1906"/>
                    <a:pt x="2816" y="1906"/>
                  </a:cubicBezTo>
                  <a:cubicBezTo>
                    <a:pt x="2816" y="1906"/>
                    <a:pt x="2816" y="1906"/>
                    <a:pt x="2816" y="1906"/>
                  </a:cubicBezTo>
                  <a:cubicBezTo>
                    <a:pt x="2816" y="1906"/>
                    <a:pt x="2816" y="1906"/>
                    <a:pt x="2816" y="1906"/>
                  </a:cubicBezTo>
                  <a:cubicBezTo>
                    <a:pt x="2816" y="1906"/>
                    <a:pt x="2816" y="1906"/>
                    <a:pt x="2816" y="1906"/>
                  </a:cubicBezTo>
                  <a:cubicBezTo>
                    <a:pt x="2816" y="1906"/>
                    <a:pt x="2816" y="1906"/>
                    <a:pt x="2816" y="1906"/>
                  </a:cubicBezTo>
                  <a:cubicBezTo>
                    <a:pt x="2816" y="1906"/>
                    <a:pt x="2816" y="1906"/>
                    <a:pt x="2816" y="1906"/>
                  </a:cubicBezTo>
                  <a:cubicBezTo>
                    <a:pt x="2816" y="1906"/>
                    <a:pt x="2816" y="1906"/>
                    <a:pt x="2816" y="1906"/>
                  </a:cubicBezTo>
                  <a:cubicBezTo>
                    <a:pt x="2819" y="1908"/>
                    <a:pt x="2819" y="1908"/>
                    <a:pt x="2819" y="1908"/>
                  </a:cubicBezTo>
                  <a:cubicBezTo>
                    <a:pt x="2816" y="1906"/>
                    <a:pt x="2816" y="1906"/>
                    <a:pt x="2816" y="1906"/>
                  </a:cubicBezTo>
                  <a:cubicBezTo>
                    <a:pt x="2816" y="1906"/>
                    <a:pt x="2816" y="1906"/>
                    <a:pt x="2816" y="1906"/>
                  </a:cubicBezTo>
                  <a:cubicBezTo>
                    <a:pt x="2819" y="1908"/>
                    <a:pt x="2819" y="1908"/>
                    <a:pt x="2819" y="1908"/>
                  </a:cubicBezTo>
                  <a:cubicBezTo>
                    <a:pt x="2816" y="1906"/>
                    <a:pt x="2816" y="1906"/>
                    <a:pt x="2816" y="1906"/>
                  </a:cubicBezTo>
                  <a:cubicBezTo>
                    <a:pt x="2816" y="1906"/>
                    <a:pt x="2816" y="1906"/>
                    <a:pt x="2816" y="1906"/>
                  </a:cubicBezTo>
                  <a:cubicBezTo>
                    <a:pt x="2812" y="1911"/>
                    <a:pt x="2809" y="1918"/>
                    <a:pt x="2807" y="1923"/>
                  </a:cubicBezTo>
                  <a:cubicBezTo>
                    <a:pt x="2805" y="1929"/>
                    <a:pt x="2804" y="1935"/>
                    <a:pt x="2803" y="1940"/>
                  </a:cubicBezTo>
                  <a:cubicBezTo>
                    <a:pt x="2803" y="1940"/>
                    <a:pt x="2803" y="1940"/>
                    <a:pt x="2803" y="1940"/>
                  </a:cubicBezTo>
                  <a:cubicBezTo>
                    <a:pt x="2803" y="1940"/>
                    <a:pt x="2803" y="1940"/>
                    <a:pt x="2803" y="1940"/>
                  </a:cubicBezTo>
                  <a:cubicBezTo>
                    <a:pt x="2803" y="1941"/>
                    <a:pt x="2803" y="1941"/>
                    <a:pt x="2803" y="1942"/>
                  </a:cubicBezTo>
                  <a:cubicBezTo>
                    <a:pt x="2803" y="1942"/>
                    <a:pt x="2803" y="1942"/>
                    <a:pt x="2803" y="1942"/>
                  </a:cubicBezTo>
                  <a:cubicBezTo>
                    <a:pt x="2807" y="1942"/>
                    <a:pt x="2807" y="1942"/>
                    <a:pt x="2807" y="1942"/>
                  </a:cubicBezTo>
                  <a:cubicBezTo>
                    <a:pt x="2803" y="1942"/>
                    <a:pt x="2803" y="1942"/>
                    <a:pt x="2803" y="1942"/>
                  </a:cubicBezTo>
                  <a:cubicBezTo>
                    <a:pt x="2803" y="1942"/>
                    <a:pt x="2803" y="1942"/>
                    <a:pt x="2803" y="1942"/>
                  </a:cubicBezTo>
                  <a:cubicBezTo>
                    <a:pt x="2807" y="1942"/>
                    <a:pt x="2807" y="1942"/>
                    <a:pt x="2807" y="1942"/>
                  </a:cubicBezTo>
                  <a:cubicBezTo>
                    <a:pt x="2803" y="1942"/>
                    <a:pt x="2803" y="1942"/>
                    <a:pt x="2803" y="1942"/>
                  </a:cubicBezTo>
                  <a:cubicBezTo>
                    <a:pt x="2812" y="1943"/>
                    <a:pt x="2812" y="1943"/>
                    <a:pt x="2812" y="1943"/>
                  </a:cubicBezTo>
                  <a:cubicBezTo>
                    <a:pt x="2804" y="1939"/>
                    <a:pt x="2804" y="1939"/>
                    <a:pt x="2804" y="1939"/>
                  </a:cubicBezTo>
                  <a:cubicBezTo>
                    <a:pt x="2803" y="1940"/>
                    <a:pt x="2803" y="1941"/>
                    <a:pt x="2803" y="1942"/>
                  </a:cubicBezTo>
                  <a:cubicBezTo>
                    <a:pt x="2812" y="1943"/>
                    <a:pt x="2812" y="1943"/>
                    <a:pt x="2812" y="1943"/>
                  </a:cubicBezTo>
                  <a:cubicBezTo>
                    <a:pt x="2804" y="1939"/>
                    <a:pt x="2804" y="1939"/>
                    <a:pt x="2804" y="1939"/>
                  </a:cubicBezTo>
                  <a:cubicBezTo>
                    <a:pt x="2804" y="1939"/>
                    <a:pt x="2804" y="1939"/>
                    <a:pt x="2804" y="1939"/>
                  </a:cubicBezTo>
                  <a:cubicBezTo>
                    <a:pt x="2804" y="1939"/>
                    <a:pt x="2804" y="1939"/>
                    <a:pt x="2804" y="1939"/>
                  </a:cubicBezTo>
                  <a:cubicBezTo>
                    <a:pt x="2803" y="1942"/>
                    <a:pt x="2801" y="1945"/>
                    <a:pt x="2800" y="1948"/>
                  </a:cubicBezTo>
                  <a:cubicBezTo>
                    <a:pt x="2794" y="1960"/>
                    <a:pt x="2794" y="1960"/>
                    <a:pt x="2794" y="1960"/>
                  </a:cubicBezTo>
                  <a:cubicBezTo>
                    <a:pt x="2806" y="1965"/>
                    <a:pt x="2806" y="1965"/>
                    <a:pt x="2806" y="1965"/>
                  </a:cubicBezTo>
                  <a:cubicBezTo>
                    <a:pt x="2808" y="1966"/>
                    <a:pt x="2810" y="1966"/>
                    <a:pt x="2811" y="1967"/>
                  </a:cubicBezTo>
                  <a:cubicBezTo>
                    <a:pt x="2812" y="1967"/>
                    <a:pt x="2813" y="1967"/>
                    <a:pt x="2813" y="1968"/>
                  </a:cubicBezTo>
                  <a:cubicBezTo>
                    <a:pt x="2813" y="1968"/>
                    <a:pt x="2813" y="1968"/>
                    <a:pt x="2813" y="1968"/>
                  </a:cubicBezTo>
                  <a:cubicBezTo>
                    <a:pt x="2813" y="1968"/>
                    <a:pt x="2813" y="1968"/>
                    <a:pt x="2813" y="1968"/>
                  </a:cubicBezTo>
                  <a:cubicBezTo>
                    <a:pt x="2814" y="1966"/>
                    <a:pt x="2814" y="1966"/>
                    <a:pt x="2814" y="1966"/>
                  </a:cubicBezTo>
                  <a:cubicBezTo>
                    <a:pt x="2812" y="1967"/>
                    <a:pt x="2812" y="1967"/>
                    <a:pt x="2812" y="1967"/>
                  </a:cubicBezTo>
                  <a:cubicBezTo>
                    <a:pt x="2813" y="1968"/>
                    <a:pt x="2813" y="1968"/>
                    <a:pt x="2813" y="1968"/>
                  </a:cubicBezTo>
                  <a:cubicBezTo>
                    <a:pt x="2814" y="1966"/>
                    <a:pt x="2814" y="1966"/>
                    <a:pt x="2814" y="1966"/>
                  </a:cubicBezTo>
                  <a:cubicBezTo>
                    <a:pt x="2812" y="1967"/>
                    <a:pt x="2812" y="1967"/>
                    <a:pt x="2812" y="1967"/>
                  </a:cubicBezTo>
                  <a:cubicBezTo>
                    <a:pt x="2812" y="1967"/>
                    <a:pt x="2812" y="1967"/>
                    <a:pt x="2812" y="1967"/>
                  </a:cubicBezTo>
                  <a:cubicBezTo>
                    <a:pt x="2814" y="1966"/>
                    <a:pt x="2814" y="1966"/>
                    <a:pt x="2814" y="1966"/>
                  </a:cubicBezTo>
                  <a:cubicBezTo>
                    <a:pt x="2812" y="1967"/>
                    <a:pt x="2812" y="1967"/>
                    <a:pt x="2812" y="1967"/>
                  </a:cubicBezTo>
                  <a:cubicBezTo>
                    <a:pt x="2812" y="1967"/>
                    <a:pt x="2812" y="1967"/>
                    <a:pt x="2812" y="1967"/>
                  </a:cubicBezTo>
                  <a:cubicBezTo>
                    <a:pt x="2814" y="1966"/>
                    <a:pt x="2814" y="1966"/>
                    <a:pt x="2814" y="1966"/>
                  </a:cubicBezTo>
                  <a:cubicBezTo>
                    <a:pt x="2812" y="1967"/>
                    <a:pt x="2812" y="1967"/>
                    <a:pt x="2812" y="1967"/>
                  </a:cubicBezTo>
                  <a:cubicBezTo>
                    <a:pt x="2819" y="1964"/>
                    <a:pt x="2819" y="1964"/>
                    <a:pt x="2819" y="1964"/>
                  </a:cubicBezTo>
                  <a:cubicBezTo>
                    <a:pt x="2812" y="1964"/>
                    <a:pt x="2812" y="1964"/>
                    <a:pt x="2812" y="1964"/>
                  </a:cubicBezTo>
                  <a:cubicBezTo>
                    <a:pt x="2812" y="1966"/>
                    <a:pt x="2812" y="1967"/>
                    <a:pt x="2812" y="1967"/>
                  </a:cubicBezTo>
                  <a:cubicBezTo>
                    <a:pt x="2819" y="1964"/>
                    <a:pt x="2819" y="1964"/>
                    <a:pt x="2819" y="1964"/>
                  </a:cubicBezTo>
                  <a:cubicBezTo>
                    <a:pt x="2812" y="1964"/>
                    <a:pt x="2812" y="1964"/>
                    <a:pt x="2812" y="1964"/>
                  </a:cubicBezTo>
                  <a:cubicBezTo>
                    <a:pt x="2821" y="1964"/>
                    <a:pt x="2821" y="1964"/>
                    <a:pt x="2821" y="1964"/>
                  </a:cubicBezTo>
                  <a:cubicBezTo>
                    <a:pt x="2812" y="1964"/>
                    <a:pt x="2812" y="1964"/>
                    <a:pt x="2812" y="1964"/>
                  </a:cubicBezTo>
                  <a:cubicBezTo>
                    <a:pt x="2812" y="1964"/>
                    <a:pt x="2812" y="1964"/>
                    <a:pt x="2812" y="1964"/>
                  </a:cubicBezTo>
                  <a:cubicBezTo>
                    <a:pt x="2821" y="1964"/>
                    <a:pt x="2821" y="1964"/>
                    <a:pt x="2821" y="1964"/>
                  </a:cubicBezTo>
                  <a:cubicBezTo>
                    <a:pt x="2812" y="1964"/>
                    <a:pt x="2812" y="1964"/>
                    <a:pt x="2812" y="1964"/>
                  </a:cubicBezTo>
                  <a:cubicBezTo>
                    <a:pt x="2812" y="1964"/>
                    <a:pt x="2812" y="1965"/>
                    <a:pt x="2812" y="1966"/>
                  </a:cubicBezTo>
                  <a:cubicBezTo>
                    <a:pt x="2812" y="1971"/>
                    <a:pt x="2813" y="1975"/>
                    <a:pt x="2815" y="1978"/>
                  </a:cubicBezTo>
                  <a:cubicBezTo>
                    <a:pt x="2816" y="1981"/>
                    <a:pt x="2818" y="1983"/>
                    <a:pt x="2820" y="1985"/>
                  </a:cubicBezTo>
                  <a:cubicBezTo>
                    <a:pt x="2820" y="1985"/>
                    <a:pt x="2820" y="1985"/>
                    <a:pt x="2820" y="1985"/>
                  </a:cubicBezTo>
                  <a:cubicBezTo>
                    <a:pt x="2821" y="1987"/>
                    <a:pt x="2821" y="1988"/>
                    <a:pt x="2822" y="1989"/>
                  </a:cubicBezTo>
                  <a:cubicBezTo>
                    <a:pt x="2822" y="1990"/>
                    <a:pt x="2822" y="1991"/>
                    <a:pt x="2822" y="1991"/>
                  </a:cubicBezTo>
                  <a:cubicBezTo>
                    <a:pt x="2822" y="1991"/>
                    <a:pt x="2822" y="1992"/>
                    <a:pt x="2822" y="1993"/>
                  </a:cubicBezTo>
                  <a:cubicBezTo>
                    <a:pt x="2819" y="1997"/>
                    <a:pt x="2818" y="2001"/>
                    <a:pt x="2818" y="2006"/>
                  </a:cubicBezTo>
                  <a:cubicBezTo>
                    <a:pt x="2818" y="2009"/>
                    <a:pt x="2818" y="2012"/>
                    <a:pt x="2819" y="2014"/>
                  </a:cubicBezTo>
                  <a:cubicBezTo>
                    <a:pt x="2820" y="2017"/>
                    <a:pt x="2821" y="2019"/>
                    <a:pt x="2822" y="2020"/>
                  </a:cubicBezTo>
                  <a:cubicBezTo>
                    <a:pt x="2822" y="2020"/>
                    <a:pt x="2822" y="2020"/>
                    <a:pt x="2822" y="2020"/>
                  </a:cubicBezTo>
                  <a:cubicBezTo>
                    <a:pt x="2823" y="2021"/>
                    <a:pt x="2823" y="2021"/>
                    <a:pt x="2823" y="2021"/>
                  </a:cubicBezTo>
                  <a:cubicBezTo>
                    <a:pt x="2823" y="2021"/>
                    <a:pt x="2823" y="2021"/>
                    <a:pt x="2823" y="2021"/>
                  </a:cubicBezTo>
                  <a:cubicBezTo>
                    <a:pt x="2824" y="2020"/>
                    <a:pt x="2824" y="2020"/>
                    <a:pt x="2824" y="2020"/>
                  </a:cubicBezTo>
                  <a:cubicBezTo>
                    <a:pt x="2822" y="2021"/>
                    <a:pt x="2822" y="2021"/>
                    <a:pt x="2822" y="2021"/>
                  </a:cubicBezTo>
                  <a:cubicBezTo>
                    <a:pt x="2823" y="2021"/>
                    <a:pt x="2823" y="2021"/>
                    <a:pt x="2823" y="2021"/>
                  </a:cubicBezTo>
                  <a:cubicBezTo>
                    <a:pt x="2824" y="2020"/>
                    <a:pt x="2824" y="2020"/>
                    <a:pt x="2824" y="2020"/>
                  </a:cubicBezTo>
                  <a:cubicBezTo>
                    <a:pt x="2822" y="2021"/>
                    <a:pt x="2822" y="2021"/>
                    <a:pt x="2822" y="2021"/>
                  </a:cubicBezTo>
                  <a:cubicBezTo>
                    <a:pt x="2826" y="2020"/>
                    <a:pt x="2826" y="2020"/>
                    <a:pt x="2826" y="2020"/>
                  </a:cubicBezTo>
                  <a:cubicBezTo>
                    <a:pt x="2822" y="2020"/>
                    <a:pt x="2822" y="2020"/>
                    <a:pt x="2822" y="2020"/>
                  </a:cubicBezTo>
                  <a:cubicBezTo>
                    <a:pt x="2822" y="2021"/>
                    <a:pt x="2822" y="2021"/>
                    <a:pt x="2822" y="2021"/>
                  </a:cubicBezTo>
                  <a:cubicBezTo>
                    <a:pt x="2826" y="2020"/>
                    <a:pt x="2826" y="2020"/>
                    <a:pt x="2826" y="2020"/>
                  </a:cubicBezTo>
                  <a:cubicBezTo>
                    <a:pt x="2822" y="2020"/>
                    <a:pt x="2822" y="2020"/>
                    <a:pt x="2822" y="2020"/>
                  </a:cubicBezTo>
                  <a:cubicBezTo>
                    <a:pt x="2825" y="2020"/>
                    <a:pt x="2825" y="2020"/>
                    <a:pt x="2825" y="2020"/>
                  </a:cubicBezTo>
                  <a:cubicBezTo>
                    <a:pt x="2822" y="2019"/>
                    <a:pt x="2822" y="2019"/>
                    <a:pt x="2822" y="2019"/>
                  </a:cubicBezTo>
                  <a:cubicBezTo>
                    <a:pt x="2822" y="2020"/>
                    <a:pt x="2822" y="2020"/>
                    <a:pt x="2822" y="2020"/>
                  </a:cubicBezTo>
                  <a:cubicBezTo>
                    <a:pt x="2825" y="2020"/>
                    <a:pt x="2825" y="2020"/>
                    <a:pt x="2825" y="2020"/>
                  </a:cubicBezTo>
                  <a:cubicBezTo>
                    <a:pt x="2822" y="2019"/>
                    <a:pt x="2822" y="2019"/>
                    <a:pt x="2822" y="2019"/>
                  </a:cubicBezTo>
                  <a:cubicBezTo>
                    <a:pt x="2823" y="2019"/>
                    <a:pt x="2823" y="2019"/>
                    <a:pt x="2823" y="2019"/>
                  </a:cubicBezTo>
                  <a:cubicBezTo>
                    <a:pt x="2822" y="2019"/>
                    <a:pt x="2822" y="2019"/>
                    <a:pt x="2822" y="2019"/>
                  </a:cubicBezTo>
                  <a:cubicBezTo>
                    <a:pt x="2822" y="2019"/>
                    <a:pt x="2822" y="2019"/>
                    <a:pt x="2822" y="2019"/>
                  </a:cubicBezTo>
                  <a:cubicBezTo>
                    <a:pt x="2823" y="2019"/>
                    <a:pt x="2823" y="2019"/>
                    <a:pt x="2823" y="2019"/>
                  </a:cubicBezTo>
                  <a:cubicBezTo>
                    <a:pt x="2822" y="2019"/>
                    <a:pt x="2822" y="2019"/>
                    <a:pt x="2822" y="2019"/>
                  </a:cubicBezTo>
                  <a:cubicBezTo>
                    <a:pt x="2822" y="2019"/>
                    <a:pt x="2822" y="2019"/>
                    <a:pt x="2822" y="2019"/>
                  </a:cubicBezTo>
                  <a:cubicBezTo>
                    <a:pt x="2822" y="2019"/>
                    <a:pt x="2822" y="2019"/>
                    <a:pt x="2822" y="2019"/>
                  </a:cubicBezTo>
                  <a:cubicBezTo>
                    <a:pt x="2818" y="2029"/>
                    <a:pt x="2815" y="2039"/>
                    <a:pt x="2812" y="2048"/>
                  </a:cubicBezTo>
                  <a:cubicBezTo>
                    <a:pt x="2809" y="2056"/>
                    <a:pt x="2809" y="2062"/>
                    <a:pt x="2808" y="2068"/>
                  </a:cubicBezTo>
                  <a:cubicBezTo>
                    <a:pt x="2808" y="2070"/>
                    <a:pt x="2807" y="2072"/>
                    <a:pt x="2807" y="2074"/>
                  </a:cubicBezTo>
                  <a:cubicBezTo>
                    <a:pt x="2807" y="2078"/>
                    <a:pt x="2808" y="2083"/>
                    <a:pt x="2811" y="2087"/>
                  </a:cubicBezTo>
                  <a:cubicBezTo>
                    <a:pt x="2813" y="2091"/>
                    <a:pt x="2817" y="2095"/>
                    <a:pt x="2821" y="2097"/>
                  </a:cubicBezTo>
                  <a:cubicBezTo>
                    <a:pt x="2821" y="2097"/>
                    <a:pt x="2821" y="2097"/>
                    <a:pt x="2821" y="2097"/>
                  </a:cubicBezTo>
                  <a:cubicBezTo>
                    <a:pt x="2822" y="2097"/>
                    <a:pt x="2822" y="2097"/>
                    <a:pt x="2822" y="2097"/>
                  </a:cubicBezTo>
                  <a:cubicBezTo>
                    <a:pt x="2825" y="2090"/>
                    <a:pt x="2825" y="2090"/>
                    <a:pt x="2825" y="2090"/>
                  </a:cubicBezTo>
                  <a:cubicBezTo>
                    <a:pt x="2819" y="2095"/>
                    <a:pt x="2819" y="2095"/>
                    <a:pt x="2819" y="2095"/>
                  </a:cubicBezTo>
                  <a:cubicBezTo>
                    <a:pt x="2820" y="2096"/>
                    <a:pt x="2820" y="2096"/>
                    <a:pt x="2822" y="2097"/>
                  </a:cubicBezTo>
                  <a:cubicBezTo>
                    <a:pt x="2825" y="2090"/>
                    <a:pt x="2825" y="2090"/>
                    <a:pt x="2825" y="2090"/>
                  </a:cubicBezTo>
                  <a:cubicBezTo>
                    <a:pt x="2819" y="2095"/>
                    <a:pt x="2819" y="2095"/>
                    <a:pt x="2819" y="2095"/>
                  </a:cubicBezTo>
                  <a:cubicBezTo>
                    <a:pt x="2822" y="2093"/>
                    <a:pt x="2822" y="2093"/>
                    <a:pt x="2822" y="2093"/>
                  </a:cubicBezTo>
                  <a:cubicBezTo>
                    <a:pt x="2819" y="2094"/>
                    <a:pt x="2819" y="2094"/>
                    <a:pt x="2819" y="2094"/>
                  </a:cubicBezTo>
                  <a:cubicBezTo>
                    <a:pt x="2819" y="2095"/>
                    <a:pt x="2819" y="2095"/>
                    <a:pt x="2819" y="2095"/>
                  </a:cubicBezTo>
                  <a:cubicBezTo>
                    <a:pt x="2822" y="2093"/>
                    <a:pt x="2822" y="2093"/>
                    <a:pt x="2822" y="2093"/>
                  </a:cubicBezTo>
                  <a:cubicBezTo>
                    <a:pt x="2819" y="2094"/>
                    <a:pt x="2819" y="2094"/>
                    <a:pt x="2819" y="2094"/>
                  </a:cubicBezTo>
                  <a:cubicBezTo>
                    <a:pt x="2824" y="2092"/>
                    <a:pt x="2824" y="2092"/>
                    <a:pt x="2824" y="2092"/>
                  </a:cubicBezTo>
                  <a:cubicBezTo>
                    <a:pt x="2818" y="2092"/>
                    <a:pt x="2818" y="2092"/>
                    <a:pt x="2818" y="2092"/>
                  </a:cubicBezTo>
                  <a:cubicBezTo>
                    <a:pt x="2818" y="2094"/>
                    <a:pt x="2819" y="2094"/>
                    <a:pt x="2819" y="2094"/>
                  </a:cubicBezTo>
                  <a:cubicBezTo>
                    <a:pt x="2824" y="2092"/>
                    <a:pt x="2824" y="2092"/>
                    <a:pt x="2824" y="2092"/>
                  </a:cubicBezTo>
                  <a:cubicBezTo>
                    <a:pt x="2818" y="2092"/>
                    <a:pt x="2818" y="2092"/>
                    <a:pt x="2818" y="2092"/>
                  </a:cubicBezTo>
                  <a:cubicBezTo>
                    <a:pt x="2827" y="2092"/>
                    <a:pt x="2827" y="2092"/>
                    <a:pt x="2827" y="2092"/>
                  </a:cubicBezTo>
                  <a:cubicBezTo>
                    <a:pt x="2818" y="2091"/>
                    <a:pt x="2818" y="2091"/>
                    <a:pt x="2818" y="2091"/>
                  </a:cubicBezTo>
                  <a:cubicBezTo>
                    <a:pt x="2818" y="2092"/>
                    <a:pt x="2818" y="2092"/>
                    <a:pt x="2818" y="2092"/>
                  </a:cubicBezTo>
                  <a:cubicBezTo>
                    <a:pt x="2827" y="2092"/>
                    <a:pt x="2827" y="2092"/>
                    <a:pt x="2827" y="2092"/>
                  </a:cubicBezTo>
                  <a:cubicBezTo>
                    <a:pt x="2818" y="2091"/>
                    <a:pt x="2818" y="2091"/>
                    <a:pt x="2818" y="2091"/>
                  </a:cubicBezTo>
                  <a:cubicBezTo>
                    <a:pt x="2818" y="2092"/>
                    <a:pt x="2818" y="2093"/>
                    <a:pt x="2818" y="2094"/>
                  </a:cubicBezTo>
                  <a:cubicBezTo>
                    <a:pt x="2818" y="2098"/>
                    <a:pt x="2819" y="2102"/>
                    <a:pt x="2821" y="2106"/>
                  </a:cubicBezTo>
                  <a:cubicBezTo>
                    <a:pt x="2822" y="2109"/>
                    <a:pt x="2824" y="2111"/>
                    <a:pt x="2826" y="2113"/>
                  </a:cubicBezTo>
                  <a:cubicBezTo>
                    <a:pt x="2826" y="2113"/>
                    <a:pt x="2826" y="2113"/>
                    <a:pt x="2826" y="2113"/>
                  </a:cubicBezTo>
                  <a:cubicBezTo>
                    <a:pt x="2826" y="2114"/>
                    <a:pt x="2827" y="2115"/>
                    <a:pt x="2827" y="2115"/>
                  </a:cubicBezTo>
                  <a:cubicBezTo>
                    <a:pt x="2827" y="2116"/>
                    <a:pt x="2827" y="2116"/>
                    <a:pt x="2827" y="2116"/>
                  </a:cubicBezTo>
                  <a:cubicBezTo>
                    <a:pt x="2827" y="2116"/>
                    <a:pt x="2827" y="2116"/>
                    <a:pt x="2827" y="2116"/>
                  </a:cubicBezTo>
                  <a:cubicBezTo>
                    <a:pt x="2830" y="2114"/>
                    <a:pt x="2830" y="2114"/>
                    <a:pt x="2830" y="2114"/>
                  </a:cubicBezTo>
                  <a:cubicBezTo>
                    <a:pt x="2827" y="2115"/>
                    <a:pt x="2827" y="2115"/>
                    <a:pt x="2827" y="2115"/>
                  </a:cubicBezTo>
                  <a:cubicBezTo>
                    <a:pt x="2827" y="2116"/>
                    <a:pt x="2827" y="2116"/>
                    <a:pt x="2827" y="2116"/>
                  </a:cubicBezTo>
                  <a:cubicBezTo>
                    <a:pt x="2830" y="2114"/>
                    <a:pt x="2830" y="2114"/>
                    <a:pt x="2830" y="2114"/>
                  </a:cubicBezTo>
                  <a:cubicBezTo>
                    <a:pt x="2827" y="2115"/>
                    <a:pt x="2827" y="2115"/>
                    <a:pt x="2827" y="2115"/>
                  </a:cubicBezTo>
                  <a:cubicBezTo>
                    <a:pt x="2827" y="2115"/>
                    <a:pt x="2827" y="2115"/>
                    <a:pt x="2827" y="2115"/>
                  </a:cubicBezTo>
                  <a:cubicBezTo>
                    <a:pt x="2827" y="2115"/>
                    <a:pt x="2827" y="2115"/>
                    <a:pt x="2827" y="2115"/>
                  </a:cubicBezTo>
                  <a:cubicBezTo>
                    <a:pt x="2828" y="2117"/>
                    <a:pt x="2828" y="2119"/>
                    <a:pt x="2829" y="2121"/>
                  </a:cubicBezTo>
                  <a:cubicBezTo>
                    <a:pt x="2830" y="2122"/>
                    <a:pt x="2831" y="2124"/>
                    <a:pt x="2832" y="2125"/>
                  </a:cubicBezTo>
                  <a:cubicBezTo>
                    <a:pt x="2834" y="2127"/>
                    <a:pt x="2836" y="2129"/>
                    <a:pt x="2839" y="2130"/>
                  </a:cubicBezTo>
                  <a:cubicBezTo>
                    <a:pt x="2841" y="2131"/>
                    <a:pt x="2844" y="2131"/>
                    <a:pt x="2846" y="2131"/>
                  </a:cubicBezTo>
                  <a:cubicBezTo>
                    <a:pt x="2848" y="2131"/>
                    <a:pt x="2850" y="2131"/>
                    <a:pt x="2851" y="2130"/>
                  </a:cubicBezTo>
                  <a:cubicBezTo>
                    <a:pt x="2851" y="2130"/>
                    <a:pt x="2851" y="2130"/>
                    <a:pt x="2851" y="2130"/>
                  </a:cubicBezTo>
                  <a:cubicBezTo>
                    <a:pt x="2852" y="2130"/>
                    <a:pt x="2852" y="2130"/>
                    <a:pt x="2852" y="2130"/>
                  </a:cubicBezTo>
                  <a:cubicBezTo>
                    <a:pt x="2852" y="2130"/>
                    <a:pt x="2853" y="2130"/>
                    <a:pt x="2855" y="2131"/>
                  </a:cubicBezTo>
                  <a:cubicBezTo>
                    <a:pt x="2856" y="2132"/>
                    <a:pt x="2858" y="2133"/>
                    <a:pt x="2860" y="2134"/>
                  </a:cubicBezTo>
                  <a:cubicBezTo>
                    <a:pt x="2860" y="2134"/>
                    <a:pt x="2860" y="2134"/>
                    <a:pt x="2860" y="2134"/>
                  </a:cubicBezTo>
                  <a:cubicBezTo>
                    <a:pt x="2860" y="2134"/>
                    <a:pt x="2860" y="2134"/>
                    <a:pt x="2860" y="2134"/>
                  </a:cubicBezTo>
                  <a:cubicBezTo>
                    <a:pt x="2865" y="2127"/>
                    <a:pt x="2865" y="2127"/>
                    <a:pt x="2865" y="2127"/>
                  </a:cubicBezTo>
                  <a:cubicBezTo>
                    <a:pt x="2858" y="2132"/>
                    <a:pt x="2858" y="2132"/>
                    <a:pt x="2858" y="2132"/>
                  </a:cubicBezTo>
                  <a:cubicBezTo>
                    <a:pt x="2858" y="2133"/>
                    <a:pt x="2858" y="2133"/>
                    <a:pt x="2860" y="2134"/>
                  </a:cubicBezTo>
                  <a:cubicBezTo>
                    <a:pt x="2865" y="2127"/>
                    <a:pt x="2865" y="2127"/>
                    <a:pt x="2865" y="2127"/>
                  </a:cubicBezTo>
                  <a:cubicBezTo>
                    <a:pt x="2858" y="2132"/>
                    <a:pt x="2858" y="2132"/>
                    <a:pt x="2858" y="2132"/>
                  </a:cubicBezTo>
                  <a:cubicBezTo>
                    <a:pt x="2861" y="2130"/>
                    <a:pt x="2861" y="2130"/>
                    <a:pt x="2861" y="2130"/>
                  </a:cubicBezTo>
                  <a:cubicBezTo>
                    <a:pt x="2857" y="2131"/>
                    <a:pt x="2857" y="2131"/>
                    <a:pt x="2857" y="2131"/>
                  </a:cubicBezTo>
                  <a:cubicBezTo>
                    <a:pt x="2857" y="2131"/>
                    <a:pt x="2857" y="2131"/>
                    <a:pt x="2858" y="2132"/>
                  </a:cubicBezTo>
                  <a:cubicBezTo>
                    <a:pt x="2861" y="2130"/>
                    <a:pt x="2861" y="2130"/>
                    <a:pt x="2861" y="2130"/>
                  </a:cubicBezTo>
                  <a:cubicBezTo>
                    <a:pt x="2857" y="2131"/>
                    <a:pt x="2857" y="2131"/>
                    <a:pt x="2857" y="2131"/>
                  </a:cubicBezTo>
                  <a:cubicBezTo>
                    <a:pt x="2860" y="2130"/>
                    <a:pt x="2860" y="2130"/>
                    <a:pt x="2860" y="2130"/>
                  </a:cubicBezTo>
                  <a:cubicBezTo>
                    <a:pt x="2857" y="2130"/>
                    <a:pt x="2857" y="2130"/>
                    <a:pt x="2857" y="2130"/>
                  </a:cubicBezTo>
                  <a:cubicBezTo>
                    <a:pt x="2857" y="2131"/>
                    <a:pt x="2857" y="2131"/>
                    <a:pt x="2857" y="2131"/>
                  </a:cubicBezTo>
                  <a:cubicBezTo>
                    <a:pt x="2860" y="2130"/>
                    <a:pt x="2860" y="2130"/>
                    <a:pt x="2860" y="2130"/>
                  </a:cubicBezTo>
                  <a:cubicBezTo>
                    <a:pt x="2857" y="2130"/>
                    <a:pt x="2857" y="2130"/>
                    <a:pt x="2857" y="2130"/>
                  </a:cubicBezTo>
                  <a:cubicBezTo>
                    <a:pt x="2865" y="2130"/>
                    <a:pt x="2865" y="2130"/>
                    <a:pt x="2865" y="2130"/>
                  </a:cubicBezTo>
                  <a:cubicBezTo>
                    <a:pt x="2858" y="2127"/>
                    <a:pt x="2858" y="2127"/>
                    <a:pt x="2858" y="2127"/>
                  </a:cubicBezTo>
                  <a:cubicBezTo>
                    <a:pt x="2857" y="2129"/>
                    <a:pt x="2857" y="2130"/>
                    <a:pt x="2857" y="2130"/>
                  </a:cubicBezTo>
                  <a:cubicBezTo>
                    <a:pt x="2865" y="2130"/>
                    <a:pt x="2865" y="2130"/>
                    <a:pt x="2865" y="2130"/>
                  </a:cubicBezTo>
                  <a:cubicBezTo>
                    <a:pt x="2858" y="2127"/>
                    <a:pt x="2858" y="2127"/>
                    <a:pt x="2858" y="2127"/>
                  </a:cubicBezTo>
                  <a:cubicBezTo>
                    <a:pt x="2858" y="2127"/>
                    <a:pt x="2858" y="2127"/>
                    <a:pt x="2858" y="2127"/>
                  </a:cubicBezTo>
                  <a:cubicBezTo>
                    <a:pt x="2856" y="2131"/>
                    <a:pt x="2855" y="2134"/>
                    <a:pt x="2855" y="2138"/>
                  </a:cubicBezTo>
                  <a:cubicBezTo>
                    <a:pt x="2855" y="2143"/>
                    <a:pt x="2857" y="2147"/>
                    <a:pt x="2859" y="2151"/>
                  </a:cubicBezTo>
                  <a:cubicBezTo>
                    <a:pt x="2859" y="2151"/>
                    <a:pt x="2859" y="2151"/>
                    <a:pt x="2859" y="2151"/>
                  </a:cubicBezTo>
                  <a:cubicBezTo>
                    <a:pt x="2862" y="2149"/>
                    <a:pt x="2862" y="2149"/>
                    <a:pt x="2862" y="2149"/>
                  </a:cubicBezTo>
                  <a:cubicBezTo>
                    <a:pt x="2858" y="2149"/>
                    <a:pt x="2858" y="2149"/>
                    <a:pt x="2858" y="2149"/>
                  </a:cubicBezTo>
                  <a:cubicBezTo>
                    <a:pt x="2858" y="2150"/>
                    <a:pt x="2859" y="2151"/>
                    <a:pt x="2859" y="2151"/>
                  </a:cubicBezTo>
                  <a:cubicBezTo>
                    <a:pt x="2862" y="2149"/>
                    <a:pt x="2862" y="2149"/>
                    <a:pt x="2862" y="2149"/>
                  </a:cubicBezTo>
                  <a:cubicBezTo>
                    <a:pt x="2858" y="2149"/>
                    <a:pt x="2858" y="2149"/>
                    <a:pt x="2858" y="2149"/>
                  </a:cubicBezTo>
                  <a:cubicBezTo>
                    <a:pt x="2862" y="2149"/>
                    <a:pt x="2862" y="2149"/>
                    <a:pt x="2862" y="2149"/>
                  </a:cubicBezTo>
                  <a:cubicBezTo>
                    <a:pt x="2859" y="2148"/>
                    <a:pt x="2859" y="2148"/>
                    <a:pt x="2859" y="2148"/>
                  </a:cubicBezTo>
                  <a:cubicBezTo>
                    <a:pt x="2859" y="2148"/>
                    <a:pt x="2858" y="2148"/>
                    <a:pt x="2858" y="2149"/>
                  </a:cubicBezTo>
                  <a:cubicBezTo>
                    <a:pt x="2862" y="2149"/>
                    <a:pt x="2862" y="2149"/>
                    <a:pt x="2862" y="2149"/>
                  </a:cubicBezTo>
                  <a:cubicBezTo>
                    <a:pt x="2859" y="2148"/>
                    <a:pt x="2859" y="2148"/>
                    <a:pt x="2859" y="2148"/>
                  </a:cubicBezTo>
                  <a:cubicBezTo>
                    <a:pt x="2859" y="2148"/>
                    <a:pt x="2858" y="2148"/>
                    <a:pt x="2858" y="2149"/>
                  </a:cubicBezTo>
                  <a:cubicBezTo>
                    <a:pt x="2858" y="2149"/>
                    <a:pt x="2858" y="2149"/>
                    <a:pt x="2858" y="2149"/>
                  </a:cubicBezTo>
                  <a:cubicBezTo>
                    <a:pt x="2854" y="2155"/>
                    <a:pt x="2850" y="2161"/>
                    <a:pt x="2847" y="2169"/>
                  </a:cubicBezTo>
                  <a:cubicBezTo>
                    <a:pt x="2847" y="2169"/>
                    <a:pt x="2847" y="2169"/>
                    <a:pt x="2847" y="2169"/>
                  </a:cubicBezTo>
                  <a:cubicBezTo>
                    <a:pt x="2845" y="2173"/>
                    <a:pt x="2844" y="2177"/>
                    <a:pt x="2844" y="2181"/>
                  </a:cubicBezTo>
                  <a:cubicBezTo>
                    <a:pt x="2844" y="2183"/>
                    <a:pt x="2844" y="2185"/>
                    <a:pt x="2845" y="2186"/>
                  </a:cubicBezTo>
                  <a:cubicBezTo>
                    <a:pt x="2845" y="2186"/>
                    <a:pt x="2845" y="2186"/>
                    <a:pt x="2845" y="2186"/>
                  </a:cubicBezTo>
                  <a:cubicBezTo>
                    <a:pt x="2845" y="2187"/>
                    <a:pt x="2845" y="2188"/>
                    <a:pt x="2845" y="2189"/>
                  </a:cubicBezTo>
                  <a:cubicBezTo>
                    <a:pt x="2845" y="2190"/>
                    <a:pt x="2845" y="2190"/>
                    <a:pt x="2844" y="2191"/>
                  </a:cubicBezTo>
                  <a:cubicBezTo>
                    <a:pt x="2844" y="2191"/>
                    <a:pt x="2844" y="2192"/>
                    <a:pt x="2843" y="2193"/>
                  </a:cubicBezTo>
                  <a:cubicBezTo>
                    <a:pt x="2842" y="2193"/>
                    <a:pt x="2842" y="2193"/>
                    <a:pt x="2842" y="2193"/>
                  </a:cubicBezTo>
                  <a:cubicBezTo>
                    <a:pt x="2841" y="2195"/>
                    <a:pt x="2840" y="2197"/>
                    <a:pt x="2839" y="2198"/>
                  </a:cubicBezTo>
                  <a:cubicBezTo>
                    <a:pt x="2838" y="2200"/>
                    <a:pt x="2838" y="2201"/>
                    <a:pt x="2838" y="2201"/>
                  </a:cubicBezTo>
                  <a:cubicBezTo>
                    <a:pt x="2838" y="2202"/>
                    <a:pt x="2838" y="2202"/>
                    <a:pt x="2838" y="2202"/>
                  </a:cubicBezTo>
                  <a:cubicBezTo>
                    <a:pt x="2838" y="2202"/>
                    <a:pt x="2838" y="2202"/>
                    <a:pt x="2838" y="2202"/>
                  </a:cubicBezTo>
                  <a:cubicBezTo>
                    <a:pt x="2838" y="2202"/>
                    <a:pt x="2838" y="2202"/>
                    <a:pt x="2838" y="2202"/>
                  </a:cubicBezTo>
                  <a:cubicBezTo>
                    <a:pt x="2838" y="2202"/>
                    <a:pt x="2838" y="2202"/>
                    <a:pt x="2838" y="2202"/>
                  </a:cubicBezTo>
                  <a:cubicBezTo>
                    <a:pt x="2838" y="2202"/>
                    <a:pt x="2838" y="2202"/>
                    <a:pt x="2838" y="2202"/>
                  </a:cubicBezTo>
                  <a:cubicBezTo>
                    <a:pt x="2838" y="2202"/>
                    <a:pt x="2838" y="2202"/>
                    <a:pt x="2838" y="2202"/>
                  </a:cubicBezTo>
                  <a:cubicBezTo>
                    <a:pt x="2842" y="2204"/>
                    <a:pt x="2842" y="2204"/>
                    <a:pt x="2842" y="2204"/>
                  </a:cubicBezTo>
                  <a:cubicBezTo>
                    <a:pt x="2838" y="2201"/>
                    <a:pt x="2838" y="2201"/>
                    <a:pt x="2838" y="2201"/>
                  </a:cubicBezTo>
                  <a:cubicBezTo>
                    <a:pt x="2838" y="2201"/>
                    <a:pt x="2838" y="2202"/>
                    <a:pt x="2838" y="2202"/>
                  </a:cubicBezTo>
                  <a:cubicBezTo>
                    <a:pt x="2842" y="2204"/>
                    <a:pt x="2842" y="2204"/>
                    <a:pt x="2842" y="2204"/>
                  </a:cubicBezTo>
                  <a:cubicBezTo>
                    <a:pt x="2838" y="2201"/>
                    <a:pt x="2838" y="2201"/>
                    <a:pt x="2838" y="2201"/>
                  </a:cubicBezTo>
                  <a:cubicBezTo>
                    <a:pt x="2838" y="2201"/>
                    <a:pt x="2838" y="2201"/>
                    <a:pt x="2838" y="2201"/>
                  </a:cubicBezTo>
                  <a:cubicBezTo>
                    <a:pt x="2833" y="2207"/>
                    <a:pt x="2828" y="2213"/>
                    <a:pt x="2823" y="2218"/>
                  </a:cubicBezTo>
                  <a:cubicBezTo>
                    <a:pt x="2823" y="2218"/>
                    <a:pt x="2823" y="2218"/>
                    <a:pt x="2823" y="2218"/>
                  </a:cubicBezTo>
                  <a:cubicBezTo>
                    <a:pt x="2823" y="2218"/>
                    <a:pt x="2823" y="2218"/>
                    <a:pt x="2823" y="2218"/>
                  </a:cubicBezTo>
                  <a:cubicBezTo>
                    <a:pt x="2830" y="2225"/>
                    <a:pt x="2830" y="2225"/>
                    <a:pt x="2830" y="2225"/>
                  </a:cubicBezTo>
                  <a:cubicBezTo>
                    <a:pt x="2825" y="2216"/>
                    <a:pt x="2825" y="2216"/>
                    <a:pt x="2825" y="2216"/>
                  </a:cubicBezTo>
                  <a:cubicBezTo>
                    <a:pt x="2825" y="2217"/>
                    <a:pt x="2824" y="2217"/>
                    <a:pt x="2823" y="2218"/>
                  </a:cubicBezTo>
                  <a:cubicBezTo>
                    <a:pt x="2830" y="2225"/>
                    <a:pt x="2830" y="2225"/>
                    <a:pt x="2830" y="2225"/>
                  </a:cubicBezTo>
                  <a:cubicBezTo>
                    <a:pt x="2825" y="2216"/>
                    <a:pt x="2825" y="2216"/>
                    <a:pt x="2825" y="2216"/>
                  </a:cubicBezTo>
                  <a:cubicBezTo>
                    <a:pt x="2829" y="2224"/>
                    <a:pt x="2829" y="2224"/>
                    <a:pt x="2829" y="2224"/>
                  </a:cubicBezTo>
                  <a:cubicBezTo>
                    <a:pt x="2828" y="2215"/>
                    <a:pt x="2828" y="2215"/>
                    <a:pt x="2828" y="2215"/>
                  </a:cubicBezTo>
                  <a:cubicBezTo>
                    <a:pt x="2828" y="2215"/>
                    <a:pt x="2827" y="2215"/>
                    <a:pt x="2825" y="2216"/>
                  </a:cubicBezTo>
                  <a:cubicBezTo>
                    <a:pt x="2829" y="2224"/>
                    <a:pt x="2829" y="2224"/>
                    <a:pt x="2829" y="2224"/>
                  </a:cubicBezTo>
                  <a:cubicBezTo>
                    <a:pt x="2828" y="2215"/>
                    <a:pt x="2828" y="2215"/>
                    <a:pt x="2828" y="2215"/>
                  </a:cubicBezTo>
                  <a:cubicBezTo>
                    <a:pt x="2829" y="2220"/>
                    <a:pt x="2829" y="2220"/>
                    <a:pt x="2829" y="2220"/>
                  </a:cubicBezTo>
                  <a:cubicBezTo>
                    <a:pt x="2828" y="2215"/>
                    <a:pt x="2828" y="2215"/>
                    <a:pt x="2828" y="2215"/>
                  </a:cubicBezTo>
                  <a:cubicBezTo>
                    <a:pt x="2828" y="2215"/>
                    <a:pt x="2828" y="2215"/>
                    <a:pt x="2828" y="2215"/>
                  </a:cubicBezTo>
                  <a:cubicBezTo>
                    <a:pt x="2829" y="2220"/>
                    <a:pt x="2829" y="2220"/>
                    <a:pt x="2829" y="2220"/>
                  </a:cubicBezTo>
                  <a:cubicBezTo>
                    <a:pt x="2828" y="2215"/>
                    <a:pt x="2828" y="2215"/>
                    <a:pt x="2828" y="2215"/>
                  </a:cubicBezTo>
                  <a:cubicBezTo>
                    <a:pt x="2828" y="2217"/>
                    <a:pt x="2828" y="2217"/>
                    <a:pt x="2828" y="2217"/>
                  </a:cubicBezTo>
                  <a:cubicBezTo>
                    <a:pt x="2828" y="2215"/>
                    <a:pt x="2828" y="2215"/>
                    <a:pt x="2828" y="2215"/>
                  </a:cubicBezTo>
                  <a:cubicBezTo>
                    <a:pt x="2828" y="2215"/>
                    <a:pt x="2828" y="2215"/>
                    <a:pt x="2828" y="2215"/>
                  </a:cubicBezTo>
                  <a:cubicBezTo>
                    <a:pt x="2828" y="2217"/>
                    <a:pt x="2828" y="2217"/>
                    <a:pt x="2828" y="2217"/>
                  </a:cubicBezTo>
                  <a:cubicBezTo>
                    <a:pt x="2828" y="2215"/>
                    <a:pt x="2828" y="2215"/>
                    <a:pt x="2828" y="2215"/>
                  </a:cubicBezTo>
                  <a:cubicBezTo>
                    <a:pt x="2828" y="2215"/>
                    <a:pt x="2828" y="2215"/>
                    <a:pt x="2828" y="2215"/>
                  </a:cubicBezTo>
                  <a:cubicBezTo>
                    <a:pt x="2827" y="2215"/>
                    <a:pt x="2826" y="2215"/>
                    <a:pt x="2824" y="2216"/>
                  </a:cubicBezTo>
                  <a:cubicBezTo>
                    <a:pt x="2826" y="2227"/>
                    <a:pt x="2826" y="2227"/>
                    <a:pt x="2826" y="2227"/>
                  </a:cubicBezTo>
                  <a:cubicBezTo>
                    <a:pt x="2824" y="2216"/>
                    <a:pt x="2824" y="2216"/>
                    <a:pt x="2824" y="2216"/>
                  </a:cubicBezTo>
                  <a:cubicBezTo>
                    <a:pt x="2820" y="2216"/>
                    <a:pt x="2815" y="2218"/>
                    <a:pt x="2812" y="2221"/>
                  </a:cubicBezTo>
                  <a:cubicBezTo>
                    <a:pt x="2810" y="2223"/>
                    <a:pt x="2808" y="2225"/>
                    <a:pt x="2807" y="2228"/>
                  </a:cubicBezTo>
                  <a:cubicBezTo>
                    <a:pt x="2806" y="2230"/>
                    <a:pt x="2805" y="2233"/>
                    <a:pt x="2805" y="2236"/>
                  </a:cubicBezTo>
                  <a:cubicBezTo>
                    <a:pt x="2805" y="2239"/>
                    <a:pt x="2806" y="2241"/>
                    <a:pt x="2807" y="2244"/>
                  </a:cubicBezTo>
                  <a:cubicBezTo>
                    <a:pt x="2807" y="2244"/>
                    <a:pt x="2807" y="2244"/>
                    <a:pt x="2807" y="2244"/>
                  </a:cubicBezTo>
                  <a:cubicBezTo>
                    <a:pt x="2808" y="2246"/>
                    <a:pt x="2808" y="2248"/>
                    <a:pt x="2808" y="2250"/>
                  </a:cubicBezTo>
                  <a:cubicBezTo>
                    <a:pt x="2808" y="2251"/>
                    <a:pt x="2808" y="2253"/>
                    <a:pt x="2807" y="2255"/>
                  </a:cubicBezTo>
                  <a:cubicBezTo>
                    <a:pt x="2806" y="2258"/>
                    <a:pt x="2805" y="2260"/>
                    <a:pt x="2804" y="2263"/>
                  </a:cubicBezTo>
                  <a:cubicBezTo>
                    <a:pt x="2804" y="2262"/>
                    <a:pt x="2804" y="2262"/>
                    <a:pt x="2804" y="2262"/>
                  </a:cubicBezTo>
                  <a:cubicBezTo>
                    <a:pt x="2803" y="2265"/>
                    <a:pt x="2802" y="2267"/>
                    <a:pt x="2801" y="2270"/>
                  </a:cubicBezTo>
                  <a:cubicBezTo>
                    <a:pt x="2800" y="2273"/>
                    <a:pt x="2799" y="2277"/>
                    <a:pt x="2799" y="2281"/>
                  </a:cubicBezTo>
                  <a:cubicBezTo>
                    <a:pt x="2799" y="2284"/>
                    <a:pt x="2800" y="2288"/>
                    <a:pt x="2801" y="2291"/>
                  </a:cubicBezTo>
                  <a:cubicBezTo>
                    <a:pt x="2801" y="2291"/>
                    <a:pt x="2801" y="2291"/>
                    <a:pt x="2801" y="2291"/>
                  </a:cubicBezTo>
                  <a:cubicBezTo>
                    <a:pt x="2801" y="2291"/>
                    <a:pt x="2801" y="2291"/>
                    <a:pt x="2801" y="2291"/>
                  </a:cubicBezTo>
                  <a:cubicBezTo>
                    <a:pt x="2805" y="2289"/>
                    <a:pt x="2805" y="2289"/>
                    <a:pt x="2805" y="2289"/>
                  </a:cubicBezTo>
                  <a:cubicBezTo>
                    <a:pt x="2801" y="2290"/>
                    <a:pt x="2801" y="2290"/>
                    <a:pt x="2801" y="2290"/>
                  </a:cubicBezTo>
                  <a:cubicBezTo>
                    <a:pt x="2801" y="2291"/>
                    <a:pt x="2801" y="2291"/>
                    <a:pt x="2801" y="2291"/>
                  </a:cubicBezTo>
                  <a:cubicBezTo>
                    <a:pt x="2805" y="2289"/>
                    <a:pt x="2805" y="2289"/>
                    <a:pt x="2805" y="2289"/>
                  </a:cubicBezTo>
                  <a:cubicBezTo>
                    <a:pt x="2801" y="2290"/>
                    <a:pt x="2801" y="2290"/>
                    <a:pt x="2801" y="2290"/>
                  </a:cubicBezTo>
                  <a:cubicBezTo>
                    <a:pt x="2803" y="2290"/>
                    <a:pt x="2803" y="2290"/>
                    <a:pt x="2803" y="2290"/>
                  </a:cubicBezTo>
                  <a:cubicBezTo>
                    <a:pt x="2801" y="2290"/>
                    <a:pt x="2801" y="2290"/>
                    <a:pt x="2801" y="2290"/>
                  </a:cubicBezTo>
                  <a:cubicBezTo>
                    <a:pt x="2801" y="2290"/>
                    <a:pt x="2801" y="2290"/>
                    <a:pt x="2801" y="2290"/>
                  </a:cubicBezTo>
                  <a:cubicBezTo>
                    <a:pt x="2803" y="2290"/>
                    <a:pt x="2803" y="2290"/>
                    <a:pt x="2803" y="2290"/>
                  </a:cubicBezTo>
                  <a:cubicBezTo>
                    <a:pt x="2801" y="2290"/>
                    <a:pt x="2801" y="2290"/>
                    <a:pt x="2801" y="2290"/>
                  </a:cubicBezTo>
                  <a:cubicBezTo>
                    <a:pt x="2801" y="2290"/>
                    <a:pt x="2801" y="2291"/>
                    <a:pt x="2800" y="2293"/>
                  </a:cubicBezTo>
                  <a:cubicBezTo>
                    <a:pt x="2800" y="2294"/>
                    <a:pt x="2799" y="2297"/>
                    <a:pt x="2799" y="2300"/>
                  </a:cubicBezTo>
                  <a:cubicBezTo>
                    <a:pt x="2799" y="2300"/>
                    <a:pt x="2799" y="2300"/>
                    <a:pt x="2799" y="2300"/>
                  </a:cubicBezTo>
                  <a:cubicBezTo>
                    <a:pt x="2799" y="2305"/>
                    <a:pt x="2799" y="2310"/>
                    <a:pt x="2798" y="2314"/>
                  </a:cubicBezTo>
                  <a:cubicBezTo>
                    <a:pt x="2797" y="2319"/>
                    <a:pt x="2796" y="2323"/>
                    <a:pt x="2795" y="2327"/>
                  </a:cubicBezTo>
                  <a:cubicBezTo>
                    <a:pt x="2795" y="2327"/>
                    <a:pt x="2795" y="2327"/>
                    <a:pt x="2795" y="2327"/>
                  </a:cubicBezTo>
                  <a:cubicBezTo>
                    <a:pt x="2793" y="2331"/>
                    <a:pt x="2792" y="2336"/>
                    <a:pt x="2791" y="2341"/>
                  </a:cubicBezTo>
                  <a:cubicBezTo>
                    <a:pt x="2791" y="2345"/>
                    <a:pt x="2790" y="2350"/>
                    <a:pt x="2790" y="2354"/>
                  </a:cubicBezTo>
                  <a:cubicBezTo>
                    <a:pt x="2789" y="2365"/>
                    <a:pt x="2789" y="2375"/>
                    <a:pt x="2788" y="2384"/>
                  </a:cubicBezTo>
                  <a:cubicBezTo>
                    <a:pt x="2788" y="2385"/>
                    <a:pt x="2787" y="2386"/>
                    <a:pt x="2786" y="2388"/>
                  </a:cubicBezTo>
                  <a:cubicBezTo>
                    <a:pt x="2785" y="2391"/>
                    <a:pt x="2783" y="2394"/>
                    <a:pt x="2782" y="2399"/>
                  </a:cubicBezTo>
                  <a:cubicBezTo>
                    <a:pt x="2782" y="2399"/>
                    <a:pt x="2782" y="2399"/>
                    <a:pt x="2782" y="2399"/>
                  </a:cubicBezTo>
                  <a:cubicBezTo>
                    <a:pt x="2781" y="2402"/>
                    <a:pt x="2781" y="2405"/>
                    <a:pt x="2781" y="2407"/>
                  </a:cubicBezTo>
                  <a:cubicBezTo>
                    <a:pt x="2781" y="2408"/>
                    <a:pt x="2781" y="2409"/>
                    <a:pt x="2781" y="2410"/>
                  </a:cubicBezTo>
                  <a:cubicBezTo>
                    <a:pt x="2781" y="2411"/>
                    <a:pt x="2781" y="2412"/>
                    <a:pt x="2781" y="2412"/>
                  </a:cubicBezTo>
                  <a:cubicBezTo>
                    <a:pt x="2781" y="2412"/>
                    <a:pt x="2781" y="2412"/>
                    <a:pt x="2781" y="2412"/>
                  </a:cubicBezTo>
                  <a:cubicBezTo>
                    <a:pt x="2783" y="2412"/>
                    <a:pt x="2783" y="2412"/>
                    <a:pt x="2783" y="2412"/>
                  </a:cubicBezTo>
                  <a:cubicBezTo>
                    <a:pt x="2781" y="2412"/>
                    <a:pt x="2781" y="2412"/>
                    <a:pt x="2781" y="2412"/>
                  </a:cubicBezTo>
                  <a:cubicBezTo>
                    <a:pt x="2781" y="2412"/>
                    <a:pt x="2781" y="2412"/>
                    <a:pt x="2781" y="2412"/>
                  </a:cubicBezTo>
                  <a:cubicBezTo>
                    <a:pt x="2783" y="2412"/>
                    <a:pt x="2783" y="2412"/>
                    <a:pt x="2783" y="2412"/>
                  </a:cubicBezTo>
                  <a:cubicBezTo>
                    <a:pt x="2781" y="2412"/>
                    <a:pt x="2781" y="2412"/>
                    <a:pt x="2781" y="2412"/>
                  </a:cubicBezTo>
                  <a:cubicBezTo>
                    <a:pt x="2786" y="2413"/>
                    <a:pt x="2786" y="2413"/>
                    <a:pt x="2786" y="2413"/>
                  </a:cubicBezTo>
                  <a:cubicBezTo>
                    <a:pt x="2782" y="2411"/>
                    <a:pt x="2782" y="2411"/>
                    <a:pt x="2782" y="2411"/>
                  </a:cubicBezTo>
                  <a:cubicBezTo>
                    <a:pt x="2781" y="2412"/>
                    <a:pt x="2781" y="2412"/>
                    <a:pt x="2781" y="2412"/>
                  </a:cubicBezTo>
                  <a:cubicBezTo>
                    <a:pt x="2786" y="2413"/>
                    <a:pt x="2786" y="2413"/>
                    <a:pt x="2786" y="2413"/>
                  </a:cubicBezTo>
                  <a:cubicBezTo>
                    <a:pt x="2782" y="2411"/>
                    <a:pt x="2782" y="2411"/>
                    <a:pt x="2782" y="2411"/>
                  </a:cubicBezTo>
                  <a:cubicBezTo>
                    <a:pt x="2782" y="2411"/>
                    <a:pt x="2782" y="2411"/>
                    <a:pt x="2782" y="2411"/>
                  </a:cubicBezTo>
                  <a:cubicBezTo>
                    <a:pt x="2775" y="2422"/>
                    <a:pt x="2773" y="2432"/>
                    <a:pt x="2770" y="2442"/>
                  </a:cubicBezTo>
                  <a:cubicBezTo>
                    <a:pt x="2769" y="2444"/>
                    <a:pt x="2769" y="2445"/>
                    <a:pt x="2769" y="2445"/>
                  </a:cubicBezTo>
                  <a:cubicBezTo>
                    <a:pt x="2768" y="2446"/>
                    <a:pt x="2769" y="2446"/>
                    <a:pt x="2768" y="2446"/>
                  </a:cubicBezTo>
                  <a:cubicBezTo>
                    <a:pt x="2768" y="2446"/>
                    <a:pt x="2768" y="2446"/>
                    <a:pt x="2768" y="2446"/>
                  </a:cubicBezTo>
                  <a:cubicBezTo>
                    <a:pt x="2766" y="2447"/>
                    <a:pt x="2765" y="2448"/>
                    <a:pt x="2763" y="2451"/>
                  </a:cubicBezTo>
                  <a:cubicBezTo>
                    <a:pt x="2762" y="2452"/>
                    <a:pt x="2761" y="2453"/>
                    <a:pt x="2760" y="2455"/>
                  </a:cubicBezTo>
                  <a:cubicBezTo>
                    <a:pt x="2760" y="2456"/>
                    <a:pt x="2759" y="2458"/>
                    <a:pt x="2759" y="2460"/>
                  </a:cubicBezTo>
                  <a:cubicBezTo>
                    <a:pt x="2759" y="2464"/>
                    <a:pt x="2761" y="2467"/>
                    <a:pt x="2762" y="2469"/>
                  </a:cubicBezTo>
                  <a:cubicBezTo>
                    <a:pt x="2764" y="2471"/>
                    <a:pt x="2766" y="2473"/>
                    <a:pt x="2768" y="2474"/>
                  </a:cubicBezTo>
                  <a:cubicBezTo>
                    <a:pt x="2768" y="2474"/>
                    <a:pt x="2768" y="2474"/>
                    <a:pt x="2768" y="2474"/>
                  </a:cubicBezTo>
                  <a:cubicBezTo>
                    <a:pt x="2768" y="2475"/>
                    <a:pt x="2769" y="2475"/>
                    <a:pt x="2769" y="2475"/>
                  </a:cubicBezTo>
                  <a:cubicBezTo>
                    <a:pt x="2769" y="2475"/>
                    <a:pt x="2769" y="2475"/>
                    <a:pt x="2769" y="2475"/>
                  </a:cubicBezTo>
                  <a:cubicBezTo>
                    <a:pt x="2771" y="2474"/>
                    <a:pt x="2771" y="2474"/>
                    <a:pt x="2771" y="2474"/>
                  </a:cubicBezTo>
                  <a:cubicBezTo>
                    <a:pt x="2769" y="2475"/>
                    <a:pt x="2769" y="2475"/>
                    <a:pt x="2769" y="2475"/>
                  </a:cubicBezTo>
                  <a:cubicBezTo>
                    <a:pt x="2769" y="2475"/>
                    <a:pt x="2769" y="2475"/>
                    <a:pt x="2769" y="2475"/>
                  </a:cubicBezTo>
                  <a:cubicBezTo>
                    <a:pt x="2771" y="2474"/>
                    <a:pt x="2771" y="2474"/>
                    <a:pt x="2771" y="2474"/>
                  </a:cubicBezTo>
                  <a:cubicBezTo>
                    <a:pt x="2769" y="2475"/>
                    <a:pt x="2769" y="2475"/>
                    <a:pt x="2769" y="2475"/>
                  </a:cubicBezTo>
                  <a:cubicBezTo>
                    <a:pt x="2774" y="2473"/>
                    <a:pt x="2774" y="2473"/>
                    <a:pt x="2774" y="2473"/>
                  </a:cubicBezTo>
                  <a:cubicBezTo>
                    <a:pt x="2768" y="2473"/>
                    <a:pt x="2768" y="2473"/>
                    <a:pt x="2768" y="2473"/>
                  </a:cubicBezTo>
                  <a:cubicBezTo>
                    <a:pt x="2768" y="2473"/>
                    <a:pt x="2768" y="2474"/>
                    <a:pt x="2769" y="2475"/>
                  </a:cubicBezTo>
                  <a:cubicBezTo>
                    <a:pt x="2774" y="2473"/>
                    <a:pt x="2774" y="2473"/>
                    <a:pt x="2774" y="2473"/>
                  </a:cubicBezTo>
                  <a:cubicBezTo>
                    <a:pt x="2768" y="2473"/>
                    <a:pt x="2768" y="2473"/>
                    <a:pt x="2768" y="2473"/>
                  </a:cubicBezTo>
                  <a:cubicBezTo>
                    <a:pt x="2774" y="2473"/>
                    <a:pt x="2774" y="2473"/>
                    <a:pt x="2774" y="2473"/>
                  </a:cubicBezTo>
                  <a:cubicBezTo>
                    <a:pt x="2769" y="2470"/>
                    <a:pt x="2769" y="2470"/>
                    <a:pt x="2769" y="2470"/>
                  </a:cubicBezTo>
                  <a:cubicBezTo>
                    <a:pt x="2769" y="2470"/>
                    <a:pt x="2768" y="2471"/>
                    <a:pt x="2768" y="2473"/>
                  </a:cubicBezTo>
                  <a:cubicBezTo>
                    <a:pt x="2774" y="2473"/>
                    <a:pt x="2774" y="2473"/>
                    <a:pt x="2774" y="2473"/>
                  </a:cubicBezTo>
                  <a:cubicBezTo>
                    <a:pt x="2769" y="2470"/>
                    <a:pt x="2769" y="2470"/>
                    <a:pt x="2769" y="2470"/>
                  </a:cubicBezTo>
                  <a:cubicBezTo>
                    <a:pt x="2771" y="2471"/>
                    <a:pt x="2771" y="2471"/>
                    <a:pt x="2771" y="2471"/>
                  </a:cubicBezTo>
                  <a:cubicBezTo>
                    <a:pt x="2769" y="2470"/>
                    <a:pt x="2769" y="2470"/>
                    <a:pt x="2769" y="2470"/>
                  </a:cubicBezTo>
                  <a:cubicBezTo>
                    <a:pt x="2769" y="2470"/>
                    <a:pt x="2769" y="2470"/>
                    <a:pt x="2769" y="2470"/>
                  </a:cubicBezTo>
                  <a:cubicBezTo>
                    <a:pt x="2771" y="2471"/>
                    <a:pt x="2771" y="2471"/>
                    <a:pt x="2771" y="2471"/>
                  </a:cubicBezTo>
                  <a:cubicBezTo>
                    <a:pt x="2769" y="2470"/>
                    <a:pt x="2769" y="2470"/>
                    <a:pt x="2769" y="2470"/>
                  </a:cubicBezTo>
                  <a:cubicBezTo>
                    <a:pt x="2769" y="2470"/>
                    <a:pt x="2769" y="2470"/>
                    <a:pt x="2769" y="2470"/>
                  </a:cubicBezTo>
                  <a:cubicBezTo>
                    <a:pt x="2769" y="2470"/>
                    <a:pt x="2769" y="2470"/>
                    <a:pt x="2769" y="2470"/>
                  </a:cubicBezTo>
                  <a:cubicBezTo>
                    <a:pt x="2769" y="2470"/>
                    <a:pt x="2769" y="2470"/>
                    <a:pt x="2769" y="2470"/>
                  </a:cubicBezTo>
                  <a:cubicBezTo>
                    <a:pt x="2769" y="2470"/>
                    <a:pt x="2769" y="2470"/>
                    <a:pt x="2769" y="2470"/>
                  </a:cubicBezTo>
                  <a:cubicBezTo>
                    <a:pt x="2769" y="2470"/>
                    <a:pt x="2769" y="2470"/>
                    <a:pt x="2769" y="2470"/>
                  </a:cubicBezTo>
                  <a:cubicBezTo>
                    <a:pt x="2769" y="2470"/>
                    <a:pt x="2769" y="2470"/>
                    <a:pt x="2769" y="2470"/>
                  </a:cubicBezTo>
                  <a:cubicBezTo>
                    <a:pt x="2765" y="2473"/>
                    <a:pt x="2763" y="2477"/>
                    <a:pt x="2761" y="2481"/>
                  </a:cubicBezTo>
                  <a:cubicBezTo>
                    <a:pt x="2759" y="2485"/>
                    <a:pt x="2758" y="2489"/>
                    <a:pt x="2758" y="2493"/>
                  </a:cubicBezTo>
                  <a:cubicBezTo>
                    <a:pt x="2758" y="2498"/>
                    <a:pt x="2759" y="2502"/>
                    <a:pt x="2761" y="2506"/>
                  </a:cubicBezTo>
                  <a:cubicBezTo>
                    <a:pt x="2762" y="2510"/>
                    <a:pt x="2764" y="2513"/>
                    <a:pt x="2765" y="2516"/>
                  </a:cubicBezTo>
                  <a:cubicBezTo>
                    <a:pt x="2765" y="2518"/>
                    <a:pt x="2765" y="2518"/>
                    <a:pt x="2765" y="2519"/>
                  </a:cubicBezTo>
                  <a:cubicBezTo>
                    <a:pt x="2765" y="2519"/>
                    <a:pt x="2765" y="2519"/>
                    <a:pt x="2765" y="2519"/>
                  </a:cubicBezTo>
                  <a:cubicBezTo>
                    <a:pt x="2765" y="2520"/>
                    <a:pt x="2765" y="2520"/>
                    <a:pt x="2764" y="2522"/>
                  </a:cubicBezTo>
                  <a:cubicBezTo>
                    <a:pt x="2764" y="2522"/>
                    <a:pt x="2764" y="2522"/>
                    <a:pt x="2764" y="2522"/>
                  </a:cubicBezTo>
                  <a:cubicBezTo>
                    <a:pt x="2761" y="2528"/>
                    <a:pt x="2759" y="2534"/>
                    <a:pt x="2757" y="2539"/>
                  </a:cubicBezTo>
                  <a:cubicBezTo>
                    <a:pt x="2757" y="2539"/>
                    <a:pt x="2757" y="2539"/>
                    <a:pt x="2757" y="2539"/>
                  </a:cubicBezTo>
                  <a:cubicBezTo>
                    <a:pt x="2755" y="2543"/>
                    <a:pt x="2754" y="2547"/>
                    <a:pt x="2753" y="2552"/>
                  </a:cubicBezTo>
                  <a:cubicBezTo>
                    <a:pt x="2752" y="2555"/>
                    <a:pt x="2752" y="2557"/>
                    <a:pt x="2752" y="2560"/>
                  </a:cubicBezTo>
                  <a:cubicBezTo>
                    <a:pt x="2752" y="2562"/>
                    <a:pt x="2752" y="2564"/>
                    <a:pt x="2753" y="2566"/>
                  </a:cubicBezTo>
                  <a:cubicBezTo>
                    <a:pt x="2753" y="2566"/>
                    <a:pt x="2753" y="2566"/>
                    <a:pt x="2753" y="2566"/>
                  </a:cubicBezTo>
                  <a:cubicBezTo>
                    <a:pt x="2753" y="2569"/>
                    <a:pt x="2754" y="2571"/>
                    <a:pt x="2755" y="2572"/>
                  </a:cubicBezTo>
                  <a:cubicBezTo>
                    <a:pt x="2755" y="2574"/>
                    <a:pt x="2756" y="2575"/>
                    <a:pt x="2756" y="2575"/>
                  </a:cubicBezTo>
                  <a:cubicBezTo>
                    <a:pt x="2756" y="2575"/>
                    <a:pt x="2756" y="2575"/>
                    <a:pt x="2756" y="2575"/>
                  </a:cubicBezTo>
                  <a:cubicBezTo>
                    <a:pt x="2756" y="2577"/>
                    <a:pt x="2756" y="2578"/>
                    <a:pt x="2756" y="2579"/>
                  </a:cubicBezTo>
                  <a:cubicBezTo>
                    <a:pt x="2756" y="2579"/>
                    <a:pt x="2756" y="2579"/>
                    <a:pt x="2756" y="2580"/>
                  </a:cubicBezTo>
                  <a:cubicBezTo>
                    <a:pt x="2756" y="2580"/>
                    <a:pt x="2756" y="2580"/>
                    <a:pt x="2756" y="2580"/>
                  </a:cubicBezTo>
                  <a:cubicBezTo>
                    <a:pt x="2755" y="2581"/>
                    <a:pt x="2754" y="2581"/>
                    <a:pt x="2752" y="2582"/>
                  </a:cubicBezTo>
                  <a:cubicBezTo>
                    <a:pt x="2751" y="2583"/>
                    <a:pt x="2750" y="2583"/>
                    <a:pt x="2748" y="2584"/>
                  </a:cubicBezTo>
                  <a:cubicBezTo>
                    <a:pt x="2747" y="2585"/>
                    <a:pt x="2746" y="2586"/>
                    <a:pt x="2745" y="2587"/>
                  </a:cubicBezTo>
                  <a:cubicBezTo>
                    <a:pt x="2744" y="2589"/>
                    <a:pt x="2743" y="2591"/>
                    <a:pt x="2742" y="2592"/>
                  </a:cubicBezTo>
                  <a:cubicBezTo>
                    <a:pt x="2742" y="2594"/>
                    <a:pt x="2741" y="2595"/>
                    <a:pt x="2741" y="2596"/>
                  </a:cubicBezTo>
                  <a:cubicBezTo>
                    <a:pt x="2741" y="2596"/>
                    <a:pt x="2741" y="2596"/>
                    <a:pt x="2741" y="2596"/>
                  </a:cubicBezTo>
                  <a:cubicBezTo>
                    <a:pt x="2740" y="2601"/>
                    <a:pt x="2738" y="2608"/>
                    <a:pt x="2737" y="2615"/>
                  </a:cubicBezTo>
                  <a:cubicBezTo>
                    <a:pt x="2737" y="2615"/>
                    <a:pt x="2737" y="2615"/>
                    <a:pt x="2737" y="2615"/>
                  </a:cubicBezTo>
                  <a:cubicBezTo>
                    <a:pt x="2736" y="2621"/>
                    <a:pt x="2736" y="2625"/>
                    <a:pt x="2736" y="2629"/>
                  </a:cubicBezTo>
                  <a:cubicBezTo>
                    <a:pt x="2736" y="2629"/>
                    <a:pt x="2736" y="2629"/>
                    <a:pt x="2736" y="2629"/>
                  </a:cubicBezTo>
                  <a:cubicBezTo>
                    <a:pt x="2736" y="2629"/>
                    <a:pt x="2736" y="2629"/>
                    <a:pt x="2736" y="2629"/>
                  </a:cubicBezTo>
                  <a:cubicBezTo>
                    <a:pt x="2736" y="2631"/>
                    <a:pt x="2736" y="2633"/>
                    <a:pt x="2737" y="2635"/>
                  </a:cubicBezTo>
                  <a:cubicBezTo>
                    <a:pt x="2737" y="2636"/>
                    <a:pt x="2738" y="2638"/>
                    <a:pt x="2739" y="2639"/>
                  </a:cubicBezTo>
                  <a:cubicBezTo>
                    <a:pt x="2741" y="2642"/>
                    <a:pt x="2744" y="2643"/>
                    <a:pt x="2745" y="2644"/>
                  </a:cubicBezTo>
                  <a:cubicBezTo>
                    <a:pt x="2748" y="2645"/>
                    <a:pt x="2749" y="2645"/>
                    <a:pt x="2750" y="2645"/>
                  </a:cubicBezTo>
                  <a:cubicBezTo>
                    <a:pt x="2750" y="2645"/>
                    <a:pt x="2750" y="2645"/>
                    <a:pt x="2750" y="2645"/>
                  </a:cubicBezTo>
                  <a:cubicBezTo>
                    <a:pt x="2750" y="2645"/>
                    <a:pt x="2750" y="2645"/>
                    <a:pt x="2750" y="2645"/>
                  </a:cubicBezTo>
                  <a:cubicBezTo>
                    <a:pt x="2750" y="2645"/>
                    <a:pt x="2750" y="2645"/>
                    <a:pt x="2750" y="2645"/>
                  </a:cubicBezTo>
                  <a:cubicBezTo>
                    <a:pt x="2750" y="2645"/>
                    <a:pt x="2750" y="2645"/>
                    <a:pt x="2750" y="2645"/>
                  </a:cubicBezTo>
                  <a:cubicBezTo>
                    <a:pt x="2750" y="2645"/>
                    <a:pt x="2750" y="2645"/>
                    <a:pt x="2750" y="2645"/>
                  </a:cubicBezTo>
                  <a:cubicBezTo>
                    <a:pt x="2750" y="2645"/>
                    <a:pt x="2750" y="2645"/>
                    <a:pt x="2750" y="2645"/>
                  </a:cubicBezTo>
                  <a:cubicBezTo>
                    <a:pt x="2752" y="2639"/>
                    <a:pt x="2752" y="2639"/>
                    <a:pt x="2752" y="2639"/>
                  </a:cubicBezTo>
                  <a:cubicBezTo>
                    <a:pt x="2748" y="2644"/>
                    <a:pt x="2748" y="2644"/>
                    <a:pt x="2748" y="2644"/>
                  </a:cubicBezTo>
                  <a:cubicBezTo>
                    <a:pt x="2749" y="2645"/>
                    <a:pt x="2750" y="2645"/>
                    <a:pt x="2750" y="2645"/>
                  </a:cubicBezTo>
                  <a:cubicBezTo>
                    <a:pt x="2752" y="2639"/>
                    <a:pt x="2752" y="2639"/>
                    <a:pt x="2752" y="2639"/>
                  </a:cubicBezTo>
                  <a:cubicBezTo>
                    <a:pt x="2748" y="2644"/>
                    <a:pt x="2748" y="2644"/>
                    <a:pt x="2748" y="2644"/>
                  </a:cubicBezTo>
                  <a:cubicBezTo>
                    <a:pt x="2747" y="2644"/>
                    <a:pt x="2747" y="2644"/>
                    <a:pt x="2747" y="2644"/>
                  </a:cubicBezTo>
                  <a:cubicBezTo>
                    <a:pt x="2749" y="2646"/>
                    <a:pt x="2751" y="2647"/>
                    <a:pt x="2752" y="2648"/>
                  </a:cubicBezTo>
                  <a:cubicBezTo>
                    <a:pt x="2752" y="2648"/>
                    <a:pt x="2752" y="2648"/>
                    <a:pt x="2752" y="2648"/>
                  </a:cubicBezTo>
                  <a:cubicBezTo>
                    <a:pt x="2752" y="2648"/>
                    <a:pt x="2752" y="2648"/>
                    <a:pt x="2752" y="2648"/>
                  </a:cubicBezTo>
                  <a:cubicBezTo>
                    <a:pt x="2755" y="2647"/>
                    <a:pt x="2755" y="2647"/>
                    <a:pt x="2755" y="2647"/>
                  </a:cubicBezTo>
                  <a:cubicBezTo>
                    <a:pt x="2752" y="2648"/>
                    <a:pt x="2752" y="2648"/>
                    <a:pt x="2752" y="2648"/>
                  </a:cubicBezTo>
                  <a:cubicBezTo>
                    <a:pt x="2752" y="2648"/>
                    <a:pt x="2752" y="2648"/>
                    <a:pt x="2752" y="2648"/>
                  </a:cubicBezTo>
                  <a:cubicBezTo>
                    <a:pt x="2755" y="2647"/>
                    <a:pt x="2755" y="2647"/>
                    <a:pt x="2755" y="2647"/>
                  </a:cubicBezTo>
                  <a:cubicBezTo>
                    <a:pt x="2752" y="2648"/>
                    <a:pt x="2752" y="2648"/>
                    <a:pt x="2752" y="2648"/>
                  </a:cubicBezTo>
                  <a:cubicBezTo>
                    <a:pt x="2752" y="2648"/>
                    <a:pt x="2752" y="2648"/>
                    <a:pt x="2752" y="2648"/>
                  </a:cubicBezTo>
                  <a:cubicBezTo>
                    <a:pt x="2753" y="2650"/>
                    <a:pt x="2753" y="2651"/>
                    <a:pt x="2755" y="2653"/>
                  </a:cubicBezTo>
                  <a:cubicBezTo>
                    <a:pt x="2756" y="2656"/>
                    <a:pt x="2759" y="2658"/>
                    <a:pt x="2762" y="2660"/>
                  </a:cubicBezTo>
                  <a:cubicBezTo>
                    <a:pt x="2765" y="2662"/>
                    <a:pt x="2767" y="2662"/>
                    <a:pt x="2770" y="2663"/>
                  </a:cubicBezTo>
                  <a:cubicBezTo>
                    <a:pt x="2774" y="2664"/>
                    <a:pt x="2777" y="2665"/>
                    <a:pt x="2779" y="2667"/>
                  </a:cubicBezTo>
                  <a:cubicBezTo>
                    <a:pt x="2781" y="2670"/>
                    <a:pt x="2784" y="2673"/>
                    <a:pt x="2785" y="2678"/>
                  </a:cubicBezTo>
                  <a:cubicBezTo>
                    <a:pt x="2785" y="2679"/>
                    <a:pt x="2785" y="2679"/>
                    <a:pt x="2785" y="2679"/>
                  </a:cubicBezTo>
                  <a:cubicBezTo>
                    <a:pt x="2785" y="2680"/>
                    <a:pt x="2785" y="2680"/>
                    <a:pt x="2785" y="2681"/>
                  </a:cubicBezTo>
                  <a:cubicBezTo>
                    <a:pt x="2785" y="2681"/>
                    <a:pt x="2785" y="2681"/>
                    <a:pt x="2785" y="2681"/>
                  </a:cubicBezTo>
                  <a:cubicBezTo>
                    <a:pt x="2783" y="2686"/>
                    <a:pt x="2782" y="2691"/>
                    <a:pt x="2782" y="2696"/>
                  </a:cubicBezTo>
                  <a:cubicBezTo>
                    <a:pt x="2782" y="2696"/>
                    <a:pt x="2782" y="2696"/>
                    <a:pt x="2782" y="2696"/>
                  </a:cubicBezTo>
                  <a:cubicBezTo>
                    <a:pt x="2781" y="2707"/>
                    <a:pt x="2781" y="2716"/>
                    <a:pt x="2779" y="2725"/>
                  </a:cubicBezTo>
                  <a:cubicBezTo>
                    <a:pt x="2779" y="2725"/>
                    <a:pt x="2779" y="2725"/>
                    <a:pt x="2779" y="2725"/>
                  </a:cubicBezTo>
                  <a:cubicBezTo>
                    <a:pt x="2779" y="2726"/>
                    <a:pt x="2779" y="2727"/>
                    <a:pt x="2778" y="2729"/>
                  </a:cubicBezTo>
                  <a:cubicBezTo>
                    <a:pt x="2777" y="2731"/>
                    <a:pt x="2775" y="2734"/>
                    <a:pt x="2774" y="2737"/>
                  </a:cubicBezTo>
                  <a:cubicBezTo>
                    <a:pt x="2774" y="2737"/>
                    <a:pt x="2774" y="2737"/>
                    <a:pt x="2774" y="2737"/>
                  </a:cubicBezTo>
                  <a:cubicBezTo>
                    <a:pt x="2774" y="2738"/>
                    <a:pt x="2773" y="2739"/>
                    <a:pt x="2773" y="2740"/>
                  </a:cubicBezTo>
                  <a:cubicBezTo>
                    <a:pt x="2772" y="2741"/>
                    <a:pt x="2772" y="2742"/>
                    <a:pt x="2772" y="2743"/>
                  </a:cubicBezTo>
                  <a:cubicBezTo>
                    <a:pt x="2771" y="2744"/>
                    <a:pt x="2771" y="2746"/>
                    <a:pt x="2771" y="2748"/>
                  </a:cubicBezTo>
                  <a:cubicBezTo>
                    <a:pt x="2771" y="2749"/>
                    <a:pt x="2771" y="2751"/>
                    <a:pt x="2772" y="2753"/>
                  </a:cubicBezTo>
                  <a:cubicBezTo>
                    <a:pt x="2772" y="2753"/>
                    <a:pt x="2772" y="2753"/>
                    <a:pt x="2772" y="2753"/>
                  </a:cubicBezTo>
                  <a:cubicBezTo>
                    <a:pt x="2772" y="2754"/>
                    <a:pt x="2773" y="2755"/>
                    <a:pt x="2773" y="2757"/>
                  </a:cubicBezTo>
                  <a:cubicBezTo>
                    <a:pt x="2773" y="2760"/>
                    <a:pt x="2774" y="2763"/>
                    <a:pt x="2775" y="2767"/>
                  </a:cubicBezTo>
                  <a:cubicBezTo>
                    <a:pt x="2776" y="2772"/>
                    <a:pt x="2778" y="2777"/>
                    <a:pt x="2782" y="2781"/>
                  </a:cubicBezTo>
                  <a:cubicBezTo>
                    <a:pt x="2782" y="2781"/>
                    <a:pt x="2782" y="2781"/>
                    <a:pt x="2782" y="2781"/>
                  </a:cubicBezTo>
                  <a:cubicBezTo>
                    <a:pt x="2789" y="2775"/>
                    <a:pt x="2789" y="2775"/>
                    <a:pt x="2789" y="2775"/>
                  </a:cubicBezTo>
                  <a:cubicBezTo>
                    <a:pt x="2780" y="2777"/>
                    <a:pt x="2780" y="2777"/>
                    <a:pt x="2780" y="2777"/>
                  </a:cubicBezTo>
                  <a:cubicBezTo>
                    <a:pt x="2780" y="2778"/>
                    <a:pt x="2781" y="2779"/>
                    <a:pt x="2782" y="2781"/>
                  </a:cubicBezTo>
                  <a:cubicBezTo>
                    <a:pt x="2789" y="2775"/>
                    <a:pt x="2789" y="2775"/>
                    <a:pt x="2789" y="2775"/>
                  </a:cubicBezTo>
                  <a:cubicBezTo>
                    <a:pt x="2780" y="2777"/>
                    <a:pt x="2780" y="2777"/>
                    <a:pt x="2780" y="2777"/>
                  </a:cubicBezTo>
                  <a:cubicBezTo>
                    <a:pt x="2786" y="2776"/>
                    <a:pt x="2786" y="2776"/>
                    <a:pt x="2786" y="2776"/>
                  </a:cubicBezTo>
                  <a:cubicBezTo>
                    <a:pt x="2780" y="2776"/>
                    <a:pt x="2780" y="2776"/>
                    <a:pt x="2780" y="2776"/>
                  </a:cubicBezTo>
                  <a:cubicBezTo>
                    <a:pt x="2780" y="2776"/>
                    <a:pt x="2780" y="2777"/>
                    <a:pt x="2780" y="2777"/>
                  </a:cubicBezTo>
                  <a:cubicBezTo>
                    <a:pt x="2786" y="2776"/>
                    <a:pt x="2786" y="2776"/>
                    <a:pt x="2786" y="2776"/>
                  </a:cubicBezTo>
                  <a:cubicBezTo>
                    <a:pt x="2780" y="2776"/>
                    <a:pt x="2780" y="2776"/>
                    <a:pt x="2780" y="2776"/>
                  </a:cubicBezTo>
                  <a:cubicBezTo>
                    <a:pt x="2783" y="2776"/>
                    <a:pt x="2783" y="2776"/>
                    <a:pt x="2783" y="2776"/>
                  </a:cubicBezTo>
                  <a:cubicBezTo>
                    <a:pt x="2780" y="2776"/>
                    <a:pt x="2780" y="2776"/>
                    <a:pt x="2780" y="2776"/>
                  </a:cubicBezTo>
                  <a:cubicBezTo>
                    <a:pt x="2780" y="2776"/>
                    <a:pt x="2780" y="2776"/>
                    <a:pt x="2780" y="2776"/>
                  </a:cubicBezTo>
                  <a:cubicBezTo>
                    <a:pt x="2783" y="2776"/>
                    <a:pt x="2783" y="2776"/>
                    <a:pt x="2783" y="2776"/>
                  </a:cubicBezTo>
                  <a:cubicBezTo>
                    <a:pt x="2780" y="2776"/>
                    <a:pt x="2780" y="2776"/>
                    <a:pt x="2780" y="2776"/>
                  </a:cubicBezTo>
                  <a:cubicBezTo>
                    <a:pt x="2780" y="2776"/>
                    <a:pt x="2780" y="2776"/>
                    <a:pt x="2780" y="2776"/>
                  </a:cubicBezTo>
                  <a:cubicBezTo>
                    <a:pt x="2780" y="2776"/>
                    <a:pt x="2780" y="2776"/>
                    <a:pt x="2780" y="2776"/>
                  </a:cubicBezTo>
                  <a:cubicBezTo>
                    <a:pt x="2780" y="2776"/>
                    <a:pt x="2780" y="2776"/>
                    <a:pt x="2780" y="2776"/>
                  </a:cubicBezTo>
                  <a:cubicBezTo>
                    <a:pt x="2780" y="2776"/>
                    <a:pt x="2780" y="2776"/>
                    <a:pt x="2780" y="2776"/>
                  </a:cubicBezTo>
                  <a:cubicBezTo>
                    <a:pt x="2780" y="2776"/>
                    <a:pt x="2780" y="2776"/>
                    <a:pt x="2780" y="2776"/>
                  </a:cubicBezTo>
                  <a:cubicBezTo>
                    <a:pt x="2780" y="2776"/>
                    <a:pt x="2780" y="2776"/>
                    <a:pt x="2780" y="2776"/>
                  </a:cubicBezTo>
                  <a:cubicBezTo>
                    <a:pt x="2780" y="2776"/>
                    <a:pt x="2780" y="2778"/>
                    <a:pt x="2780" y="2780"/>
                  </a:cubicBezTo>
                  <a:cubicBezTo>
                    <a:pt x="2780" y="2781"/>
                    <a:pt x="2780" y="2782"/>
                    <a:pt x="2780" y="2783"/>
                  </a:cubicBezTo>
                  <a:cubicBezTo>
                    <a:pt x="2780" y="2783"/>
                    <a:pt x="2780" y="2783"/>
                    <a:pt x="2780" y="2783"/>
                  </a:cubicBezTo>
                  <a:cubicBezTo>
                    <a:pt x="2780" y="2783"/>
                    <a:pt x="2780" y="2784"/>
                    <a:pt x="2780" y="2785"/>
                  </a:cubicBezTo>
                  <a:cubicBezTo>
                    <a:pt x="2780" y="2786"/>
                    <a:pt x="2780" y="2788"/>
                    <a:pt x="2781" y="2790"/>
                  </a:cubicBezTo>
                  <a:cubicBezTo>
                    <a:pt x="2781" y="2792"/>
                    <a:pt x="2781" y="2793"/>
                    <a:pt x="2782" y="2795"/>
                  </a:cubicBezTo>
                  <a:cubicBezTo>
                    <a:pt x="2782" y="2796"/>
                    <a:pt x="2783" y="2798"/>
                    <a:pt x="2785" y="2800"/>
                  </a:cubicBezTo>
                  <a:cubicBezTo>
                    <a:pt x="2786" y="2800"/>
                    <a:pt x="2786" y="2801"/>
                    <a:pt x="2786" y="2801"/>
                  </a:cubicBezTo>
                  <a:cubicBezTo>
                    <a:pt x="2786" y="2801"/>
                    <a:pt x="2786" y="2802"/>
                    <a:pt x="2786" y="2802"/>
                  </a:cubicBezTo>
                  <a:cubicBezTo>
                    <a:pt x="2786" y="2803"/>
                    <a:pt x="2786" y="2803"/>
                    <a:pt x="2786" y="2804"/>
                  </a:cubicBezTo>
                  <a:cubicBezTo>
                    <a:pt x="2786" y="2804"/>
                    <a:pt x="2786" y="2804"/>
                    <a:pt x="2786" y="2804"/>
                  </a:cubicBezTo>
                  <a:cubicBezTo>
                    <a:pt x="2786" y="2806"/>
                    <a:pt x="2785" y="2808"/>
                    <a:pt x="2785" y="2810"/>
                  </a:cubicBezTo>
                  <a:cubicBezTo>
                    <a:pt x="2785" y="2812"/>
                    <a:pt x="2786" y="2814"/>
                    <a:pt x="2787" y="2817"/>
                  </a:cubicBezTo>
                  <a:cubicBezTo>
                    <a:pt x="2788" y="2818"/>
                    <a:pt x="2789" y="2820"/>
                    <a:pt x="2790" y="2821"/>
                  </a:cubicBezTo>
                  <a:cubicBezTo>
                    <a:pt x="2792" y="2823"/>
                    <a:pt x="2794" y="2824"/>
                    <a:pt x="2795" y="2824"/>
                  </a:cubicBezTo>
                  <a:cubicBezTo>
                    <a:pt x="2797" y="2825"/>
                    <a:pt x="2798" y="2825"/>
                    <a:pt x="2798" y="2825"/>
                  </a:cubicBezTo>
                  <a:cubicBezTo>
                    <a:pt x="2798" y="2825"/>
                    <a:pt x="2798" y="2825"/>
                    <a:pt x="2798" y="2825"/>
                  </a:cubicBezTo>
                  <a:cubicBezTo>
                    <a:pt x="2799" y="2823"/>
                    <a:pt x="2799" y="2823"/>
                    <a:pt x="2799" y="2823"/>
                  </a:cubicBezTo>
                  <a:cubicBezTo>
                    <a:pt x="2798" y="2825"/>
                    <a:pt x="2798" y="2825"/>
                    <a:pt x="2798" y="2825"/>
                  </a:cubicBezTo>
                  <a:cubicBezTo>
                    <a:pt x="2798" y="2825"/>
                    <a:pt x="2798" y="2825"/>
                    <a:pt x="2798" y="2825"/>
                  </a:cubicBezTo>
                  <a:cubicBezTo>
                    <a:pt x="2799" y="2823"/>
                    <a:pt x="2799" y="2823"/>
                    <a:pt x="2799" y="2823"/>
                  </a:cubicBezTo>
                  <a:cubicBezTo>
                    <a:pt x="2798" y="2825"/>
                    <a:pt x="2798" y="2825"/>
                    <a:pt x="2798" y="2825"/>
                  </a:cubicBezTo>
                  <a:cubicBezTo>
                    <a:pt x="2798" y="2825"/>
                    <a:pt x="2798" y="2825"/>
                    <a:pt x="2798" y="2825"/>
                  </a:cubicBezTo>
                  <a:cubicBezTo>
                    <a:pt x="2798" y="2825"/>
                    <a:pt x="2798" y="2825"/>
                    <a:pt x="2798" y="2825"/>
                  </a:cubicBezTo>
                  <a:cubicBezTo>
                    <a:pt x="2798" y="2825"/>
                    <a:pt x="2798" y="2825"/>
                    <a:pt x="2798" y="2825"/>
                  </a:cubicBezTo>
                  <a:cubicBezTo>
                    <a:pt x="2798" y="2825"/>
                    <a:pt x="2798" y="2825"/>
                    <a:pt x="2798" y="2825"/>
                  </a:cubicBezTo>
                  <a:cubicBezTo>
                    <a:pt x="2798" y="2825"/>
                    <a:pt x="2798" y="2825"/>
                    <a:pt x="2798" y="2825"/>
                  </a:cubicBezTo>
                  <a:cubicBezTo>
                    <a:pt x="2798" y="2825"/>
                    <a:pt x="2799" y="2825"/>
                    <a:pt x="2800" y="2826"/>
                  </a:cubicBezTo>
                  <a:cubicBezTo>
                    <a:pt x="2800" y="2826"/>
                    <a:pt x="2800" y="2826"/>
                    <a:pt x="2800" y="2826"/>
                  </a:cubicBezTo>
                  <a:cubicBezTo>
                    <a:pt x="2800" y="2826"/>
                    <a:pt x="2800" y="2826"/>
                    <a:pt x="2800" y="2826"/>
                  </a:cubicBezTo>
                  <a:cubicBezTo>
                    <a:pt x="2802" y="2828"/>
                    <a:pt x="2804" y="2830"/>
                    <a:pt x="2807" y="2831"/>
                  </a:cubicBezTo>
                  <a:cubicBezTo>
                    <a:pt x="2810" y="2832"/>
                    <a:pt x="2813" y="2833"/>
                    <a:pt x="2816" y="2833"/>
                  </a:cubicBezTo>
                  <a:cubicBezTo>
                    <a:pt x="2819" y="2833"/>
                    <a:pt x="2822" y="2832"/>
                    <a:pt x="2824" y="2831"/>
                  </a:cubicBezTo>
                  <a:cubicBezTo>
                    <a:pt x="2824" y="2831"/>
                    <a:pt x="2824" y="2831"/>
                    <a:pt x="2824" y="2831"/>
                  </a:cubicBezTo>
                  <a:cubicBezTo>
                    <a:pt x="2824" y="2831"/>
                    <a:pt x="2824" y="2831"/>
                    <a:pt x="2824" y="2831"/>
                  </a:cubicBezTo>
                  <a:cubicBezTo>
                    <a:pt x="2825" y="2831"/>
                    <a:pt x="2825" y="2831"/>
                    <a:pt x="2825" y="2831"/>
                  </a:cubicBezTo>
                  <a:cubicBezTo>
                    <a:pt x="2825" y="2831"/>
                    <a:pt x="2825" y="2831"/>
                    <a:pt x="2825" y="2831"/>
                  </a:cubicBezTo>
                  <a:cubicBezTo>
                    <a:pt x="2825" y="2830"/>
                    <a:pt x="2825" y="2830"/>
                    <a:pt x="2825" y="2830"/>
                  </a:cubicBezTo>
                  <a:cubicBezTo>
                    <a:pt x="2825" y="2831"/>
                    <a:pt x="2825" y="2831"/>
                    <a:pt x="2825" y="2831"/>
                  </a:cubicBezTo>
                  <a:cubicBezTo>
                    <a:pt x="2825" y="2831"/>
                    <a:pt x="2825" y="2831"/>
                    <a:pt x="2825" y="2831"/>
                  </a:cubicBezTo>
                  <a:cubicBezTo>
                    <a:pt x="2825" y="2830"/>
                    <a:pt x="2825" y="2830"/>
                    <a:pt x="2825" y="2830"/>
                  </a:cubicBezTo>
                  <a:cubicBezTo>
                    <a:pt x="2825" y="2831"/>
                    <a:pt x="2825" y="2831"/>
                    <a:pt x="2825" y="2831"/>
                  </a:cubicBezTo>
                  <a:cubicBezTo>
                    <a:pt x="2825" y="2828"/>
                    <a:pt x="2825" y="2828"/>
                    <a:pt x="2825" y="2828"/>
                  </a:cubicBezTo>
                  <a:cubicBezTo>
                    <a:pt x="2825" y="2831"/>
                    <a:pt x="2825" y="2831"/>
                    <a:pt x="2825" y="2831"/>
                  </a:cubicBezTo>
                  <a:cubicBezTo>
                    <a:pt x="2825" y="2831"/>
                    <a:pt x="2825" y="2831"/>
                    <a:pt x="2825" y="2831"/>
                  </a:cubicBezTo>
                  <a:cubicBezTo>
                    <a:pt x="2825" y="2828"/>
                    <a:pt x="2825" y="2828"/>
                    <a:pt x="2825" y="2828"/>
                  </a:cubicBezTo>
                  <a:cubicBezTo>
                    <a:pt x="2825" y="2831"/>
                    <a:pt x="2825" y="2831"/>
                    <a:pt x="2825" y="2831"/>
                  </a:cubicBezTo>
                  <a:cubicBezTo>
                    <a:pt x="2825" y="2825"/>
                    <a:pt x="2825" y="2825"/>
                    <a:pt x="2825" y="2825"/>
                  </a:cubicBezTo>
                  <a:cubicBezTo>
                    <a:pt x="2822" y="2830"/>
                    <a:pt x="2822" y="2830"/>
                    <a:pt x="2822" y="2830"/>
                  </a:cubicBezTo>
                  <a:cubicBezTo>
                    <a:pt x="2824" y="2831"/>
                    <a:pt x="2825" y="2831"/>
                    <a:pt x="2825" y="2831"/>
                  </a:cubicBezTo>
                  <a:cubicBezTo>
                    <a:pt x="2825" y="2825"/>
                    <a:pt x="2825" y="2825"/>
                    <a:pt x="2825" y="2825"/>
                  </a:cubicBezTo>
                  <a:cubicBezTo>
                    <a:pt x="2822" y="2830"/>
                    <a:pt x="2822" y="2830"/>
                    <a:pt x="2822" y="2830"/>
                  </a:cubicBezTo>
                  <a:cubicBezTo>
                    <a:pt x="2826" y="2823"/>
                    <a:pt x="2826" y="2823"/>
                    <a:pt x="2826" y="2823"/>
                  </a:cubicBezTo>
                  <a:cubicBezTo>
                    <a:pt x="2820" y="2828"/>
                    <a:pt x="2820" y="2828"/>
                    <a:pt x="2820" y="2828"/>
                  </a:cubicBezTo>
                  <a:cubicBezTo>
                    <a:pt x="2820" y="2829"/>
                    <a:pt x="2821" y="2830"/>
                    <a:pt x="2822" y="2830"/>
                  </a:cubicBezTo>
                  <a:cubicBezTo>
                    <a:pt x="2826" y="2823"/>
                    <a:pt x="2826" y="2823"/>
                    <a:pt x="2826" y="2823"/>
                  </a:cubicBezTo>
                  <a:cubicBezTo>
                    <a:pt x="2820" y="2828"/>
                    <a:pt x="2820" y="2828"/>
                    <a:pt x="2820" y="2828"/>
                  </a:cubicBezTo>
                  <a:cubicBezTo>
                    <a:pt x="2824" y="2825"/>
                    <a:pt x="2824" y="2825"/>
                    <a:pt x="2824" y="2825"/>
                  </a:cubicBezTo>
                  <a:cubicBezTo>
                    <a:pt x="2818" y="2826"/>
                    <a:pt x="2818" y="2826"/>
                    <a:pt x="2818" y="2826"/>
                  </a:cubicBezTo>
                  <a:cubicBezTo>
                    <a:pt x="2818" y="2826"/>
                    <a:pt x="2819" y="2827"/>
                    <a:pt x="2820" y="2828"/>
                  </a:cubicBezTo>
                  <a:cubicBezTo>
                    <a:pt x="2824" y="2825"/>
                    <a:pt x="2824" y="2825"/>
                    <a:pt x="2824" y="2825"/>
                  </a:cubicBezTo>
                  <a:cubicBezTo>
                    <a:pt x="2818" y="2826"/>
                    <a:pt x="2818" y="2826"/>
                    <a:pt x="2818" y="2826"/>
                  </a:cubicBezTo>
                  <a:cubicBezTo>
                    <a:pt x="2819" y="2826"/>
                    <a:pt x="2819" y="2826"/>
                    <a:pt x="2819" y="2826"/>
                  </a:cubicBezTo>
                  <a:cubicBezTo>
                    <a:pt x="2818" y="2826"/>
                    <a:pt x="2818" y="2826"/>
                    <a:pt x="2818" y="2826"/>
                  </a:cubicBezTo>
                  <a:cubicBezTo>
                    <a:pt x="2818" y="2826"/>
                    <a:pt x="2818" y="2826"/>
                    <a:pt x="2818" y="2826"/>
                  </a:cubicBezTo>
                  <a:cubicBezTo>
                    <a:pt x="2819" y="2826"/>
                    <a:pt x="2819" y="2826"/>
                    <a:pt x="2819" y="2826"/>
                  </a:cubicBezTo>
                  <a:cubicBezTo>
                    <a:pt x="2818" y="2826"/>
                    <a:pt x="2818" y="2826"/>
                    <a:pt x="2818" y="2826"/>
                  </a:cubicBezTo>
                  <a:cubicBezTo>
                    <a:pt x="2818" y="2826"/>
                    <a:pt x="2818" y="2826"/>
                    <a:pt x="2818" y="2827"/>
                  </a:cubicBezTo>
                  <a:cubicBezTo>
                    <a:pt x="2818" y="2828"/>
                    <a:pt x="2818" y="2828"/>
                    <a:pt x="2818" y="2828"/>
                  </a:cubicBezTo>
                  <a:cubicBezTo>
                    <a:pt x="2818" y="2828"/>
                    <a:pt x="2818" y="2828"/>
                    <a:pt x="2818" y="2828"/>
                  </a:cubicBezTo>
                  <a:cubicBezTo>
                    <a:pt x="2818" y="2835"/>
                    <a:pt x="2817" y="2843"/>
                    <a:pt x="2816" y="2851"/>
                  </a:cubicBezTo>
                  <a:cubicBezTo>
                    <a:pt x="2816" y="2851"/>
                    <a:pt x="2816" y="2851"/>
                    <a:pt x="2816" y="2851"/>
                  </a:cubicBezTo>
                  <a:cubicBezTo>
                    <a:pt x="2815" y="2858"/>
                    <a:pt x="2813" y="2866"/>
                    <a:pt x="2812" y="2874"/>
                  </a:cubicBezTo>
                  <a:cubicBezTo>
                    <a:pt x="2812" y="2875"/>
                    <a:pt x="2811" y="2876"/>
                    <a:pt x="2811" y="2877"/>
                  </a:cubicBezTo>
                  <a:cubicBezTo>
                    <a:pt x="2811" y="2879"/>
                    <a:pt x="2812" y="2881"/>
                    <a:pt x="2813" y="2883"/>
                  </a:cubicBezTo>
                  <a:cubicBezTo>
                    <a:pt x="2813" y="2884"/>
                    <a:pt x="2814" y="2885"/>
                    <a:pt x="2815" y="2887"/>
                  </a:cubicBezTo>
                  <a:cubicBezTo>
                    <a:pt x="2815" y="2887"/>
                    <a:pt x="2815" y="2887"/>
                    <a:pt x="2815" y="2887"/>
                  </a:cubicBezTo>
                  <a:cubicBezTo>
                    <a:pt x="2816" y="2889"/>
                    <a:pt x="2817" y="2891"/>
                    <a:pt x="2817" y="2893"/>
                  </a:cubicBezTo>
                  <a:cubicBezTo>
                    <a:pt x="2817" y="2896"/>
                    <a:pt x="2816" y="2899"/>
                    <a:pt x="2814" y="2902"/>
                  </a:cubicBezTo>
                  <a:cubicBezTo>
                    <a:pt x="2813" y="2902"/>
                    <a:pt x="2813" y="2902"/>
                    <a:pt x="2813" y="2902"/>
                  </a:cubicBezTo>
                  <a:cubicBezTo>
                    <a:pt x="2811" y="2904"/>
                    <a:pt x="2809" y="2907"/>
                    <a:pt x="2808" y="2912"/>
                  </a:cubicBezTo>
                  <a:cubicBezTo>
                    <a:pt x="2808" y="2912"/>
                    <a:pt x="2808" y="2912"/>
                    <a:pt x="2808" y="2912"/>
                  </a:cubicBezTo>
                  <a:cubicBezTo>
                    <a:pt x="2808" y="2913"/>
                    <a:pt x="2807" y="2914"/>
                    <a:pt x="2807" y="2914"/>
                  </a:cubicBezTo>
                  <a:cubicBezTo>
                    <a:pt x="2807" y="2914"/>
                    <a:pt x="2807" y="2915"/>
                    <a:pt x="2806" y="2915"/>
                  </a:cubicBezTo>
                  <a:cubicBezTo>
                    <a:pt x="2806" y="2915"/>
                    <a:pt x="2806" y="2915"/>
                    <a:pt x="2806" y="2915"/>
                  </a:cubicBezTo>
                  <a:cubicBezTo>
                    <a:pt x="2803" y="2916"/>
                    <a:pt x="2800" y="2918"/>
                    <a:pt x="2797" y="2921"/>
                  </a:cubicBezTo>
                  <a:cubicBezTo>
                    <a:pt x="2796" y="2923"/>
                    <a:pt x="2795" y="2925"/>
                    <a:pt x="2794" y="2927"/>
                  </a:cubicBezTo>
                  <a:cubicBezTo>
                    <a:pt x="2794" y="2929"/>
                    <a:pt x="2793" y="2931"/>
                    <a:pt x="2793" y="2934"/>
                  </a:cubicBezTo>
                  <a:cubicBezTo>
                    <a:pt x="2793" y="2936"/>
                    <a:pt x="2794" y="2938"/>
                    <a:pt x="2794" y="2941"/>
                  </a:cubicBezTo>
                  <a:cubicBezTo>
                    <a:pt x="2794" y="2941"/>
                    <a:pt x="2794" y="2941"/>
                    <a:pt x="2794" y="2941"/>
                  </a:cubicBezTo>
                  <a:cubicBezTo>
                    <a:pt x="2795" y="2941"/>
                    <a:pt x="2795" y="2942"/>
                    <a:pt x="2795" y="2942"/>
                  </a:cubicBezTo>
                  <a:cubicBezTo>
                    <a:pt x="2795" y="2943"/>
                    <a:pt x="2794" y="2945"/>
                    <a:pt x="2794" y="2946"/>
                  </a:cubicBezTo>
                  <a:cubicBezTo>
                    <a:pt x="2793" y="2947"/>
                    <a:pt x="2792" y="2949"/>
                    <a:pt x="2790" y="2951"/>
                  </a:cubicBezTo>
                  <a:cubicBezTo>
                    <a:pt x="2788" y="2953"/>
                    <a:pt x="2787" y="2956"/>
                    <a:pt x="2786" y="2959"/>
                  </a:cubicBezTo>
                  <a:cubicBezTo>
                    <a:pt x="2784" y="2962"/>
                    <a:pt x="2784" y="2964"/>
                    <a:pt x="2784" y="2967"/>
                  </a:cubicBezTo>
                  <a:cubicBezTo>
                    <a:pt x="2784" y="2967"/>
                    <a:pt x="2784" y="2967"/>
                    <a:pt x="2784" y="2967"/>
                  </a:cubicBezTo>
                  <a:cubicBezTo>
                    <a:pt x="2783" y="2971"/>
                    <a:pt x="2783" y="2974"/>
                    <a:pt x="2782" y="2977"/>
                  </a:cubicBezTo>
                  <a:cubicBezTo>
                    <a:pt x="2781" y="2979"/>
                    <a:pt x="2780" y="2981"/>
                    <a:pt x="2778" y="2983"/>
                  </a:cubicBezTo>
                  <a:cubicBezTo>
                    <a:pt x="2777" y="2985"/>
                    <a:pt x="2776" y="2987"/>
                    <a:pt x="2775" y="2988"/>
                  </a:cubicBezTo>
                  <a:cubicBezTo>
                    <a:pt x="2774" y="2990"/>
                    <a:pt x="2774" y="2993"/>
                    <a:pt x="2773" y="2995"/>
                  </a:cubicBezTo>
                  <a:cubicBezTo>
                    <a:pt x="2773" y="2997"/>
                    <a:pt x="2773" y="2999"/>
                    <a:pt x="2773" y="3001"/>
                  </a:cubicBezTo>
                  <a:cubicBezTo>
                    <a:pt x="2773" y="3004"/>
                    <a:pt x="2773" y="3007"/>
                    <a:pt x="2774" y="3010"/>
                  </a:cubicBezTo>
                  <a:cubicBezTo>
                    <a:pt x="2774" y="3012"/>
                    <a:pt x="2775" y="3013"/>
                    <a:pt x="2775" y="3015"/>
                  </a:cubicBezTo>
                  <a:cubicBezTo>
                    <a:pt x="2776" y="3017"/>
                    <a:pt x="2777" y="3018"/>
                    <a:pt x="2778" y="3020"/>
                  </a:cubicBezTo>
                  <a:cubicBezTo>
                    <a:pt x="2778" y="3020"/>
                    <a:pt x="2778" y="3020"/>
                    <a:pt x="2778" y="3020"/>
                  </a:cubicBezTo>
                  <a:cubicBezTo>
                    <a:pt x="2779" y="3021"/>
                    <a:pt x="2779" y="3021"/>
                    <a:pt x="2779" y="3021"/>
                  </a:cubicBezTo>
                  <a:cubicBezTo>
                    <a:pt x="2779" y="3022"/>
                    <a:pt x="2780" y="3023"/>
                    <a:pt x="2780" y="3024"/>
                  </a:cubicBezTo>
                  <a:cubicBezTo>
                    <a:pt x="2780" y="3025"/>
                    <a:pt x="2780" y="3025"/>
                    <a:pt x="2780" y="3025"/>
                  </a:cubicBezTo>
                  <a:cubicBezTo>
                    <a:pt x="2779" y="3027"/>
                    <a:pt x="2779" y="3030"/>
                    <a:pt x="2779" y="3033"/>
                  </a:cubicBezTo>
                  <a:cubicBezTo>
                    <a:pt x="2779" y="3036"/>
                    <a:pt x="2779" y="3038"/>
                    <a:pt x="2780" y="3041"/>
                  </a:cubicBezTo>
                  <a:cubicBezTo>
                    <a:pt x="2780" y="3041"/>
                    <a:pt x="2780" y="3041"/>
                    <a:pt x="2780" y="3041"/>
                  </a:cubicBezTo>
                  <a:cubicBezTo>
                    <a:pt x="2780" y="3041"/>
                    <a:pt x="2780" y="3041"/>
                    <a:pt x="2780" y="3041"/>
                  </a:cubicBezTo>
                  <a:cubicBezTo>
                    <a:pt x="2780" y="3043"/>
                    <a:pt x="2780" y="3045"/>
                    <a:pt x="2780" y="3048"/>
                  </a:cubicBezTo>
                  <a:cubicBezTo>
                    <a:pt x="2781" y="3051"/>
                    <a:pt x="2782" y="3054"/>
                    <a:pt x="2784" y="3058"/>
                  </a:cubicBezTo>
                  <a:cubicBezTo>
                    <a:pt x="2785" y="3060"/>
                    <a:pt x="2786" y="3062"/>
                    <a:pt x="2787" y="3065"/>
                  </a:cubicBezTo>
                  <a:cubicBezTo>
                    <a:pt x="2788" y="3068"/>
                    <a:pt x="2789" y="3072"/>
                    <a:pt x="2790" y="3075"/>
                  </a:cubicBezTo>
                  <a:cubicBezTo>
                    <a:pt x="2790" y="3076"/>
                    <a:pt x="2790" y="3076"/>
                    <a:pt x="2790" y="3076"/>
                  </a:cubicBezTo>
                  <a:cubicBezTo>
                    <a:pt x="2790" y="3076"/>
                    <a:pt x="2790" y="3076"/>
                    <a:pt x="2790" y="3076"/>
                  </a:cubicBezTo>
                  <a:cubicBezTo>
                    <a:pt x="2790" y="3076"/>
                    <a:pt x="2790" y="3077"/>
                    <a:pt x="2790" y="3077"/>
                  </a:cubicBezTo>
                  <a:cubicBezTo>
                    <a:pt x="2790" y="3077"/>
                    <a:pt x="2790" y="3077"/>
                    <a:pt x="2790" y="3077"/>
                  </a:cubicBezTo>
                  <a:cubicBezTo>
                    <a:pt x="2790" y="3077"/>
                    <a:pt x="2790" y="3077"/>
                    <a:pt x="2790" y="3077"/>
                  </a:cubicBezTo>
                  <a:cubicBezTo>
                    <a:pt x="2790" y="3077"/>
                    <a:pt x="2790" y="3077"/>
                    <a:pt x="2790" y="3077"/>
                  </a:cubicBezTo>
                  <a:cubicBezTo>
                    <a:pt x="2790" y="3077"/>
                    <a:pt x="2790" y="3077"/>
                    <a:pt x="2790" y="3077"/>
                  </a:cubicBezTo>
                  <a:cubicBezTo>
                    <a:pt x="2790" y="3077"/>
                    <a:pt x="2790" y="3077"/>
                    <a:pt x="2790" y="3077"/>
                  </a:cubicBezTo>
                  <a:cubicBezTo>
                    <a:pt x="2790" y="3077"/>
                    <a:pt x="2790" y="3077"/>
                    <a:pt x="2790" y="3077"/>
                  </a:cubicBezTo>
                  <a:cubicBezTo>
                    <a:pt x="2790" y="3077"/>
                    <a:pt x="2790" y="3077"/>
                    <a:pt x="2790" y="3077"/>
                  </a:cubicBezTo>
                  <a:cubicBezTo>
                    <a:pt x="2789" y="3078"/>
                    <a:pt x="2789" y="3078"/>
                    <a:pt x="2788" y="3079"/>
                  </a:cubicBezTo>
                  <a:cubicBezTo>
                    <a:pt x="2788" y="3079"/>
                    <a:pt x="2788" y="3079"/>
                    <a:pt x="2788" y="3079"/>
                  </a:cubicBezTo>
                  <a:cubicBezTo>
                    <a:pt x="2788" y="3079"/>
                    <a:pt x="2788" y="3079"/>
                    <a:pt x="2788" y="3079"/>
                  </a:cubicBezTo>
                  <a:cubicBezTo>
                    <a:pt x="2786" y="3081"/>
                    <a:pt x="2783" y="3084"/>
                    <a:pt x="2780" y="3087"/>
                  </a:cubicBezTo>
                  <a:cubicBezTo>
                    <a:pt x="2781" y="3088"/>
                    <a:pt x="2781" y="3088"/>
                    <a:pt x="2781" y="3088"/>
                  </a:cubicBezTo>
                  <a:cubicBezTo>
                    <a:pt x="2780" y="3087"/>
                    <a:pt x="2780" y="3087"/>
                    <a:pt x="2780" y="3087"/>
                  </a:cubicBezTo>
                  <a:cubicBezTo>
                    <a:pt x="2780" y="3087"/>
                    <a:pt x="2780" y="3087"/>
                    <a:pt x="2780" y="3087"/>
                  </a:cubicBezTo>
                  <a:cubicBezTo>
                    <a:pt x="2781" y="3088"/>
                    <a:pt x="2781" y="3088"/>
                    <a:pt x="2781" y="3088"/>
                  </a:cubicBezTo>
                  <a:cubicBezTo>
                    <a:pt x="2780" y="3087"/>
                    <a:pt x="2780" y="3087"/>
                    <a:pt x="2780" y="3087"/>
                  </a:cubicBezTo>
                  <a:cubicBezTo>
                    <a:pt x="2780" y="3087"/>
                    <a:pt x="2780" y="3087"/>
                    <a:pt x="2780" y="3087"/>
                  </a:cubicBezTo>
                  <a:cubicBezTo>
                    <a:pt x="2780" y="3088"/>
                    <a:pt x="2779" y="3088"/>
                    <a:pt x="2778" y="3090"/>
                  </a:cubicBezTo>
                  <a:cubicBezTo>
                    <a:pt x="2777" y="3090"/>
                    <a:pt x="2776" y="3091"/>
                    <a:pt x="2775" y="3093"/>
                  </a:cubicBezTo>
                  <a:cubicBezTo>
                    <a:pt x="2775" y="3093"/>
                    <a:pt x="2775" y="3094"/>
                    <a:pt x="2774" y="3095"/>
                  </a:cubicBezTo>
                  <a:cubicBezTo>
                    <a:pt x="2774" y="3096"/>
                    <a:pt x="2774" y="3098"/>
                    <a:pt x="2774" y="3099"/>
                  </a:cubicBezTo>
                  <a:cubicBezTo>
                    <a:pt x="2774" y="3100"/>
                    <a:pt x="2774" y="3101"/>
                    <a:pt x="2774" y="3101"/>
                  </a:cubicBezTo>
                  <a:cubicBezTo>
                    <a:pt x="2774" y="3101"/>
                    <a:pt x="2774" y="3101"/>
                    <a:pt x="2774" y="3101"/>
                  </a:cubicBezTo>
                  <a:cubicBezTo>
                    <a:pt x="2774" y="3102"/>
                    <a:pt x="2774" y="3102"/>
                    <a:pt x="2774" y="3102"/>
                  </a:cubicBezTo>
                  <a:cubicBezTo>
                    <a:pt x="2774" y="3102"/>
                    <a:pt x="2774" y="3102"/>
                    <a:pt x="2774" y="3102"/>
                  </a:cubicBezTo>
                  <a:cubicBezTo>
                    <a:pt x="2774" y="3103"/>
                    <a:pt x="2773" y="3103"/>
                    <a:pt x="2772" y="3105"/>
                  </a:cubicBezTo>
                  <a:cubicBezTo>
                    <a:pt x="2770" y="3106"/>
                    <a:pt x="2768" y="3108"/>
                    <a:pt x="2766" y="3111"/>
                  </a:cubicBezTo>
                  <a:cubicBezTo>
                    <a:pt x="2760" y="3117"/>
                    <a:pt x="2758" y="3124"/>
                    <a:pt x="2758" y="3132"/>
                  </a:cubicBezTo>
                  <a:cubicBezTo>
                    <a:pt x="2758" y="3142"/>
                    <a:pt x="2763" y="3152"/>
                    <a:pt x="2771" y="3159"/>
                  </a:cubicBezTo>
                  <a:cubicBezTo>
                    <a:pt x="2771" y="3159"/>
                    <a:pt x="2771" y="3159"/>
                    <a:pt x="2771" y="3159"/>
                  </a:cubicBezTo>
                  <a:cubicBezTo>
                    <a:pt x="2772" y="3160"/>
                    <a:pt x="2774" y="3161"/>
                    <a:pt x="2774" y="3161"/>
                  </a:cubicBezTo>
                  <a:cubicBezTo>
                    <a:pt x="2775" y="3162"/>
                    <a:pt x="2776" y="3162"/>
                    <a:pt x="2776" y="3163"/>
                  </a:cubicBezTo>
                  <a:cubicBezTo>
                    <a:pt x="2776" y="3163"/>
                    <a:pt x="2776" y="3163"/>
                    <a:pt x="2776" y="3163"/>
                  </a:cubicBezTo>
                  <a:cubicBezTo>
                    <a:pt x="2777" y="3163"/>
                    <a:pt x="2777" y="3163"/>
                    <a:pt x="2777" y="3163"/>
                  </a:cubicBezTo>
                  <a:cubicBezTo>
                    <a:pt x="2777" y="3163"/>
                    <a:pt x="2777" y="3163"/>
                    <a:pt x="2777" y="3163"/>
                  </a:cubicBezTo>
                  <a:cubicBezTo>
                    <a:pt x="2778" y="3162"/>
                    <a:pt x="2778" y="3162"/>
                    <a:pt x="2778" y="3162"/>
                  </a:cubicBezTo>
                  <a:cubicBezTo>
                    <a:pt x="2776" y="3162"/>
                    <a:pt x="2776" y="3162"/>
                    <a:pt x="2776" y="3162"/>
                  </a:cubicBezTo>
                  <a:cubicBezTo>
                    <a:pt x="2777" y="3163"/>
                    <a:pt x="2777" y="3163"/>
                    <a:pt x="2777" y="3163"/>
                  </a:cubicBezTo>
                  <a:cubicBezTo>
                    <a:pt x="2778" y="3162"/>
                    <a:pt x="2778" y="3162"/>
                    <a:pt x="2778" y="3162"/>
                  </a:cubicBezTo>
                  <a:cubicBezTo>
                    <a:pt x="2776" y="3162"/>
                    <a:pt x="2776" y="3162"/>
                    <a:pt x="2776" y="3162"/>
                  </a:cubicBezTo>
                  <a:cubicBezTo>
                    <a:pt x="2780" y="3161"/>
                    <a:pt x="2780" y="3161"/>
                    <a:pt x="2780" y="3161"/>
                  </a:cubicBezTo>
                  <a:cubicBezTo>
                    <a:pt x="2776" y="3161"/>
                    <a:pt x="2776" y="3161"/>
                    <a:pt x="2776" y="3161"/>
                  </a:cubicBezTo>
                  <a:cubicBezTo>
                    <a:pt x="2776" y="3161"/>
                    <a:pt x="2776" y="3162"/>
                    <a:pt x="2776" y="3162"/>
                  </a:cubicBezTo>
                  <a:cubicBezTo>
                    <a:pt x="2780" y="3161"/>
                    <a:pt x="2780" y="3161"/>
                    <a:pt x="2780" y="3161"/>
                  </a:cubicBezTo>
                  <a:cubicBezTo>
                    <a:pt x="2776" y="3161"/>
                    <a:pt x="2776" y="3161"/>
                    <a:pt x="2776" y="3161"/>
                  </a:cubicBezTo>
                  <a:cubicBezTo>
                    <a:pt x="2780" y="3161"/>
                    <a:pt x="2780" y="3161"/>
                    <a:pt x="2780" y="3161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6" y="3160"/>
                    <a:pt x="2776" y="3161"/>
                    <a:pt x="2776" y="3161"/>
                  </a:cubicBezTo>
                  <a:cubicBezTo>
                    <a:pt x="2780" y="3161"/>
                    <a:pt x="2780" y="3161"/>
                    <a:pt x="2780" y="3161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8" y="3160"/>
                    <a:pt x="2778" y="3160"/>
                    <a:pt x="2778" y="3160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8" y="3160"/>
                    <a:pt x="2778" y="3160"/>
                    <a:pt x="2778" y="3160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6" y="3160"/>
                    <a:pt x="2776" y="3160"/>
                    <a:pt x="2776" y="3160"/>
                  </a:cubicBezTo>
                  <a:cubicBezTo>
                    <a:pt x="2774" y="3164"/>
                    <a:pt x="2771" y="3169"/>
                    <a:pt x="2769" y="3175"/>
                  </a:cubicBezTo>
                  <a:cubicBezTo>
                    <a:pt x="2769" y="3176"/>
                    <a:pt x="2769" y="3176"/>
                    <a:pt x="2769" y="3176"/>
                  </a:cubicBezTo>
                  <a:cubicBezTo>
                    <a:pt x="2769" y="3175"/>
                    <a:pt x="2769" y="3175"/>
                    <a:pt x="2769" y="3175"/>
                  </a:cubicBezTo>
                  <a:cubicBezTo>
                    <a:pt x="2767" y="3180"/>
                    <a:pt x="2765" y="3186"/>
                    <a:pt x="2765" y="3193"/>
                  </a:cubicBezTo>
                  <a:cubicBezTo>
                    <a:pt x="2765" y="3193"/>
                    <a:pt x="2764" y="3194"/>
                    <a:pt x="2764" y="3194"/>
                  </a:cubicBezTo>
                  <a:cubicBezTo>
                    <a:pt x="2764" y="3194"/>
                    <a:pt x="2764" y="3194"/>
                    <a:pt x="2764" y="3194"/>
                  </a:cubicBezTo>
                  <a:cubicBezTo>
                    <a:pt x="2764" y="3194"/>
                    <a:pt x="2764" y="3194"/>
                    <a:pt x="2764" y="3194"/>
                  </a:cubicBezTo>
                  <a:cubicBezTo>
                    <a:pt x="2766" y="3195"/>
                    <a:pt x="2766" y="3195"/>
                    <a:pt x="2766" y="3195"/>
                  </a:cubicBezTo>
                  <a:cubicBezTo>
                    <a:pt x="2764" y="3194"/>
                    <a:pt x="2764" y="3194"/>
                    <a:pt x="2764" y="3194"/>
                  </a:cubicBezTo>
                  <a:cubicBezTo>
                    <a:pt x="2764" y="3194"/>
                    <a:pt x="2764" y="3194"/>
                    <a:pt x="2764" y="3194"/>
                  </a:cubicBezTo>
                  <a:cubicBezTo>
                    <a:pt x="2766" y="3195"/>
                    <a:pt x="2766" y="3195"/>
                    <a:pt x="2766" y="3195"/>
                  </a:cubicBezTo>
                  <a:cubicBezTo>
                    <a:pt x="2764" y="3194"/>
                    <a:pt x="2764" y="3194"/>
                    <a:pt x="2764" y="3194"/>
                  </a:cubicBezTo>
                  <a:cubicBezTo>
                    <a:pt x="2768" y="3196"/>
                    <a:pt x="2768" y="3196"/>
                    <a:pt x="2768" y="3196"/>
                  </a:cubicBezTo>
                  <a:cubicBezTo>
                    <a:pt x="2765" y="3193"/>
                    <a:pt x="2765" y="3193"/>
                    <a:pt x="2765" y="3193"/>
                  </a:cubicBezTo>
                  <a:cubicBezTo>
                    <a:pt x="2765" y="3194"/>
                    <a:pt x="2765" y="3194"/>
                    <a:pt x="2764" y="3194"/>
                  </a:cubicBezTo>
                  <a:cubicBezTo>
                    <a:pt x="2768" y="3196"/>
                    <a:pt x="2768" y="3196"/>
                    <a:pt x="2768" y="3196"/>
                  </a:cubicBezTo>
                  <a:cubicBezTo>
                    <a:pt x="2765" y="3193"/>
                    <a:pt x="2765" y="3193"/>
                    <a:pt x="2765" y="3193"/>
                  </a:cubicBezTo>
                  <a:cubicBezTo>
                    <a:pt x="2768" y="3197"/>
                    <a:pt x="2768" y="3197"/>
                    <a:pt x="2768" y="3197"/>
                  </a:cubicBezTo>
                  <a:cubicBezTo>
                    <a:pt x="2767" y="3192"/>
                    <a:pt x="2767" y="3192"/>
                    <a:pt x="2767" y="3192"/>
                  </a:cubicBezTo>
                  <a:cubicBezTo>
                    <a:pt x="2766" y="3192"/>
                    <a:pt x="2766" y="3193"/>
                    <a:pt x="2765" y="3193"/>
                  </a:cubicBezTo>
                  <a:cubicBezTo>
                    <a:pt x="2768" y="3197"/>
                    <a:pt x="2768" y="3197"/>
                    <a:pt x="2768" y="3197"/>
                  </a:cubicBezTo>
                  <a:cubicBezTo>
                    <a:pt x="2767" y="3192"/>
                    <a:pt x="2767" y="3192"/>
                    <a:pt x="2767" y="3192"/>
                  </a:cubicBezTo>
                  <a:cubicBezTo>
                    <a:pt x="2767" y="3192"/>
                    <a:pt x="2767" y="3192"/>
                    <a:pt x="2767" y="3192"/>
                  </a:cubicBezTo>
                  <a:cubicBezTo>
                    <a:pt x="2761" y="3194"/>
                    <a:pt x="2757" y="3197"/>
                    <a:pt x="2754" y="3200"/>
                  </a:cubicBezTo>
                  <a:cubicBezTo>
                    <a:pt x="2751" y="3203"/>
                    <a:pt x="2749" y="3205"/>
                    <a:pt x="2747" y="3207"/>
                  </a:cubicBezTo>
                  <a:cubicBezTo>
                    <a:pt x="2747" y="3207"/>
                    <a:pt x="2747" y="3207"/>
                    <a:pt x="2747" y="3207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7" y="3208"/>
                    <a:pt x="2747" y="3208"/>
                    <a:pt x="2747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7" y="3208"/>
                    <a:pt x="2747" y="3208"/>
                    <a:pt x="2747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6" y="3208"/>
                    <a:pt x="2746" y="3208"/>
                    <a:pt x="2746" y="3208"/>
                  </a:cubicBezTo>
                  <a:cubicBezTo>
                    <a:pt x="2745" y="3208"/>
                    <a:pt x="2745" y="3208"/>
                    <a:pt x="2745" y="3208"/>
                  </a:cubicBezTo>
                  <a:cubicBezTo>
                    <a:pt x="2745" y="3208"/>
                    <a:pt x="2745" y="3208"/>
                    <a:pt x="2745" y="3208"/>
                  </a:cubicBezTo>
                  <a:cubicBezTo>
                    <a:pt x="2743" y="3207"/>
                    <a:pt x="2741" y="3207"/>
                    <a:pt x="2739" y="3207"/>
                  </a:cubicBezTo>
                  <a:cubicBezTo>
                    <a:pt x="2737" y="3207"/>
                    <a:pt x="2735" y="3207"/>
                    <a:pt x="2732" y="3208"/>
                  </a:cubicBezTo>
                  <a:cubicBezTo>
                    <a:pt x="2730" y="3209"/>
                    <a:pt x="2728" y="3210"/>
                    <a:pt x="2726" y="3212"/>
                  </a:cubicBezTo>
                  <a:cubicBezTo>
                    <a:pt x="2725" y="3213"/>
                    <a:pt x="2724" y="3214"/>
                    <a:pt x="2723" y="3215"/>
                  </a:cubicBezTo>
                  <a:cubicBezTo>
                    <a:pt x="2721" y="3218"/>
                    <a:pt x="2720" y="3220"/>
                    <a:pt x="2718" y="3224"/>
                  </a:cubicBezTo>
                  <a:cubicBezTo>
                    <a:pt x="2718" y="3224"/>
                    <a:pt x="2718" y="3224"/>
                    <a:pt x="2718" y="3224"/>
                  </a:cubicBezTo>
                  <a:cubicBezTo>
                    <a:pt x="2716" y="3228"/>
                    <a:pt x="2714" y="3232"/>
                    <a:pt x="2711" y="3236"/>
                  </a:cubicBezTo>
                  <a:cubicBezTo>
                    <a:pt x="2709" y="3239"/>
                    <a:pt x="2707" y="3242"/>
                    <a:pt x="2704" y="3244"/>
                  </a:cubicBezTo>
                  <a:cubicBezTo>
                    <a:pt x="2702" y="3246"/>
                    <a:pt x="2700" y="3248"/>
                    <a:pt x="2698" y="3249"/>
                  </a:cubicBezTo>
                  <a:cubicBezTo>
                    <a:pt x="2697" y="3250"/>
                    <a:pt x="2696" y="3250"/>
                    <a:pt x="2695" y="3250"/>
                  </a:cubicBezTo>
                  <a:cubicBezTo>
                    <a:pt x="2695" y="3250"/>
                    <a:pt x="2694" y="3250"/>
                    <a:pt x="2694" y="3250"/>
                  </a:cubicBezTo>
                  <a:cubicBezTo>
                    <a:pt x="2693" y="3250"/>
                    <a:pt x="2693" y="3250"/>
                    <a:pt x="2692" y="3250"/>
                  </a:cubicBezTo>
                  <a:cubicBezTo>
                    <a:pt x="2689" y="3249"/>
                    <a:pt x="2686" y="3248"/>
                    <a:pt x="2684" y="3248"/>
                  </a:cubicBezTo>
                  <a:cubicBezTo>
                    <a:pt x="2681" y="3248"/>
                    <a:pt x="2679" y="3249"/>
                    <a:pt x="2677" y="3250"/>
                  </a:cubicBezTo>
                  <a:cubicBezTo>
                    <a:pt x="2674" y="3251"/>
                    <a:pt x="2671" y="3253"/>
                    <a:pt x="2669" y="3255"/>
                  </a:cubicBezTo>
                  <a:cubicBezTo>
                    <a:pt x="2667" y="3257"/>
                    <a:pt x="2665" y="3260"/>
                    <a:pt x="2664" y="3263"/>
                  </a:cubicBezTo>
                  <a:cubicBezTo>
                    <a:pt x="2664" y="3263"/>
                    <a:pt x="2664" y="3263"/>
                    <a:pt x="2664" y="3263"/>
                  </a:cubicBezTo>
                  <a:cubicBezTo>
                    <a:pt x="2664" y="3263"/>
                    <a:pt x="2664" y="3263"/>
                    <a:pt x="2664" y="3263"/>
                  </a:cubicBezTo>
                  <a:cubicBezTo>
                    <a:pt x="2664" y="3263"/>
                    <a:pt x="2664" y="3263"/>
                    <a:pt x="2664" y="3263"/>
                  </a:cubicBezTo>
                  <a:cubicBezTo>
                    <a:pt x="2664" y="3263"/>
                    <a:pt x="2664" y="3263"/>
                    <a:pt x="2664" y="3263"/>
                  </a:cubicBezTo>
                  <a:cubicBezTo>
                    <a:pt x="2664" y="3263"/>
                    <a:pt x="2664" y="3263"/>
                    <a:pt x="2664" y="3263"/>
                  </a:cubicBezTo>
                  <a:cubicBezTo>
                    <a:pt x="2664" y="3263"/>
                    <a:pt x="2664" y="3263"/>
                    <a:pt x="2664" y="3263"/>
                  </a:cubicBezTo>
                  <a:cubicBezTo>
                    <a:pt x="2664" y="3263"/>
                    <a:pt x="2664" y="3263"/>
                    <a:pt x="2664" y="3263"/>
                  </a:cubicBezTo>
                  <a:cubicBezTo>
                    <a:pt x="2667" y="3265"/>
                    <a:pt x="2667" y="3265"/>
                    <a:pt x="2667" y="3265"/>
                  </a:cubicBezTo>
                  <a:cubicBezTo>
                    <a:pt x="2665" y="3262"/>
                    <a:pt x="2665" y="3262"/>
                    <a:pt x="2665" y="3262"/>
                  </a:cubicBezTo>
                  <a:cubicBezTo>
                    <a:pt x="2664" y="3263"/>
                    <a:pt x="2664" y="3263"/>
                    <a:pt x="2664" y="3263"/>
                  </a:cubicBezTo>
                  <a:cubicBezTo>
                    <a:pt x="2667" y="3265"/>
                    <a:pt x="2667" y="3265"/>
                    <a:pt x="2667" y="3265"/>
                  </a:cubicBezTo>
                  <a:cubicBezTo>
                    <a:pt x="2665" y="3262"/>
                    <a:pt x="2665" y="3262"/>
                    <a:pt x="2665" y="3262"/>
                  </a:cubicBezTo>
                  <a:cubicBezTo>
                    <a:pt x="2668" y="3266"/>
                    <a:pt x="2668" y="3266"/>
                    <a:pt x="2668" y="3266"/>
                  </a:cubicBezTo>
                  <a:cubicBezTo>
                    <a:pt x="2666" y="3262"/>
                    <a:pt x="2666" y="3262"/>
                    <a:pt x="2666" y="3262"/>
                  </a:cubicBezTo>
                  <a:cubicBezTo>
                    <a:pt x="2666" y="3262"/>
                    <a:pt x="2665" y="3262"/>
                    <a:pt x="2665" y="3262"/>
                  </a:cubicBezTo>
                  <a:cubicBezTo>
                    <a:pt x="2668" y="3266"/>
                    <a:pt x="2668" y="3266"/>
                    <a:pt x="2668" y="3266"/>
                  </a:cubicBezTo>
                  <a:cubicBezTo>
                    <a:pt x="2666" y="3262"/>
                    <a:pt x="2666" y="3262"/>
                    <a:pt x="2666" y="3262"/>
                  </a:cubicBezTo>
                  <a:cubicBezTo>
                    <a:pt x="2667" y="3264"/>
                    <a:pt x="2667" y="3264"/>
                    <a:pt x="2667" y="3264"/>
                  </a:cubicBezTo>
                  <a:cubicBezTo>
                    <a:pt x="2667" y="3261"/>
                    <a:pt x="2667" y="3261"/>
                    <a:pt x="2667" y="3261"/>
                  </a:cubicBezTo>
                  <a:cubicBezTo>
                    <a:pt x="2666" y="3262"/>
                    <a:pt x="2666" y="3262"/>
                    <a:pt x="2666" y="3262"/>
                  </a:cubicBezTo>
                  <a:cubicBezTo>
                    <a:pt x="2667" y="3264"/>
                    <a:pt x="2667" y="3264"/>
                    <a:pt x="2667" y="3264"/>
                  </a:cubicBezTo>
                  <a:cubicBezTo>
                    <a:pt x="2667" y="3261"/>
                    <a:pt x="2667" y="3261"/>
                    <a:pt x="2667" y="3261"/>
                  </a:cubicBezTo>
                  <a:cubicBezTo>
                    <a:pt x="2667" y="3262"/>
                    <a:pt x="2667" y="3262"/>
                    <a:pt x="2667" y="3262"/>
                  </a:cubicBezTo>
                  <a:cubicBezTo>
                    <a:pt x="2667" y="3261"/>
                    <a:pt x="2667" y="3261"/>
                    <a:pt x="2667" y="3261"/>
                  </a:cubicBezTo>
                  <a:cubicBezTo>
                    <a:pt x="2667" y="3261"/>
                    <a:pt x="2667" y="3261"/>
                    <a:pt x="2667" y="3261"/>
                  </a:cubicBezTo>
                  <a:cubicBezTo>
                    <a:pt x="2667" y="3262"/>
                    <a:pt x="2667" y="3262"/>
                    <a:pt x="2667" y="3262"/>
                  </a:cubicBezTo>
                  <a:cubicBezTo>
                    <a:pt x="2667" y="3261"/>
                    <a:pt x="2667" y="3261"/>
                    <a:pt x="2667" y="3261"/>
                  </a:cubicBezTo>
                  <a:cubicBezTo>
                    <a:pt x="2666" y="3261"/>
                    <a:pt x="2666" y="3261"/>
                    <a:pt x="2666" y="3261"/>
                  </a:cubicBezTo>
                  <a:cubicBezTo>
                    <a:pt x="2666" y="3261"/>
                    <a:pt x="2666" y="3261"/>
                    <a:pt x="2666" y="3261"/>
                  </a:cubicBezTo>
                  <a:cubicBezTo>
                    <a:pt x="2666" y="3261"/>
                    <a:pt x="2666" y="3261"/>
                    <a:pt x="2666" y="3261"/>
                  </a:cubicBezTo>
                  <a:cubicBezTo>
                    <a:pt x="2661" y="3261"/>
                    <a:pt x="2657" y="3261"/>
                    <a:pt x="2652" y="3261"/>
                  </a:cubicBezTo>
                  <a:cubicBezTo>
                    <a:pt x="2644" y="3261"/>
                    <a:pt x="2635" y="3261"/>
                    <a:pt x="2627" y="3261"/>
                  </a:cubicBezTo>
                  <a:cubicBezTo>
                    <a:pt x="2626" y="3261"/>
                    <a:pt x="2624" y="3261"/>
                    <a:pt x="2623" y="3261"/>
                  </a:cubicBezTo>
                  <a:cubicBezTo>
                    <a:pt x="2623" y="3261"/>
                    <a:pt x="2623" y="3261"/>
                    <a:pt x="2623" y="3261"/>
                  </a:cubicBezTo>
                  <a:cubicBezTo>
                    <a:pt x="2570" y="3261"/>
                    <a:pt x="2517" y="3261"/>
                    <a:pt x="2465" y="3261"/>
                  </a:cubicBezTo>
                  <a:cubicBezTo>
                    <a:pt x="2434" y="3261"/>
                    <a:pt x="2404" y="3260"/>
                    <a:pt x="2373" y="3259"/>
                  </a:cubicBezTo>
                  <a:cubicBezTo>
                    <a:pt x="2370" y="3259"/>
                    <a:pt x="2368" y="3259"/>
                    <a:pt x="2365" y="3259"/>
                  </a:cubicBezTo>
                  <a:cubicBezTo>
                    <a:pt x="2357" y="3259"/>
                    <a:pt x="2350" y="3259"/>
                    <a:pt x="2343" y="3259"/>
                  </a:cubicBezTo>
                  <a:cubicBezTo>
                    <a:pt x="2340" y="3259"/>
                    <a:pt x="2338" y="3259"/>
                    <a:pt x="2335" y="3259"/>
                  </a:cubicBezTo>
                  <a:cubicBezTo>
                    <a:pt x="2335" y="3259"/>
                    <a:pt x="2335" y="3259"/>
                    <a:pt x="2335" y="3259"/>
                  </a:cubicBezTo>
                  <a:cubicBezTo>
                    <a:pt x="2335" y="3259"/>
                    <a:pt x="2335" y="3259"/>
                    <a:pt x="2335" y="3259"/>
                  </a:cubicBezTo>
                  <a:cubicBezTo>
                    <a:pt x="2333" y="3259"/>
                    <a:pt x="2332" y="3259"/>
                    <a:pt x="2330" y="3260"/>
                  </a:cubicBezTo>
                  <a:cubicBezTo>
                    <a:pt x="2328" y="3260"/>
                    <a:pt x="2327" y="3260"/>
                    <a:pt x="2325" y="3261"/>
                  </a:cubicBezTo>
                  <a:cubicBezTo>
                    <a:pt x="2322" y="3263"/>
                    <a:pt x="2320" y="3265"/>
                    <a:pt x="2319" y="3267"/>
                  </a:cubicBezTo>
                  <a:cubicBezTo>
                    <a:pt x="2317" y="3269"/>
                    <a:pt x="2317" y="3271"/>
                    <a:pt x="2316" y="3273"/>
                  </a:cubicBezTo>
                  <a:cubicBezTo>
                    <a:pt x="2316" y="3274"/>
                    <a:pt x="2316" y="3274"/>
                    <a:pt x="2316" y="3274"/>
                  </a:cubicBezTo>
                  <a:cubicBezTo>
                    <a:pt x="2316" y="3273"/>
                    <a:pt x="2316" y="3273"/>
                    <a:pt x="2316" y="3273"/>
                  </a:cubicBezTo>
                  <a:cubicBezTo>
                    <a:pt x="2316" y="3274"/>
                    <a:pt x="2316" y="3275"/>
                    <a:pt x="2315" y="3275"/>
                  </a:cubicBezTo>
                  <a:cubicBezTo>
                    <a:pt x="2316" y="3275"/>
                    <a:pt x="2316" y="3275"/>
                    <a:pt x="2316" y="3275"/>
                  </a:cubicBezTo>
                  <a:cubicBezTo>
                    <a:pt x="2315" y="3275"/>
                    <a:pt x="2315" y="3275"/>
                    <a:pt x="2315" y="3275"/>
                  </a:cubicBezTo>
                  <a:cubicBezTo>
                    <a:pt x="2315" y="3275"/>
                    <a:pt x="2315" y="3275"/>
                    <a:pt x="2315" y="3275"/>
                  </a:cubicBezTo>
                  <a:cubicBezTo>
                    <a:pt x="2316" y="3275"/>
                    <a:pt x="2316" y="3275"/>
                    <a:pt x="2316" y="3275"/>
                  </a:cubicBezTo>
                  <a:cubicBezTo>
                    <a:pt x="2315" y="3275"/>
                    <a:pt x="2315" y="3275"/>
                    <a:pt x="2315" y="3275"/>
                  </a:cubicBezTo>
                  <a:cubicBezTo>
                    <a:pt x="2320" y="3277"/>
                    <a:pt x="2320" y="3277"/>
                    <a:pt x="2320" y="3277"/>
                  </a:cubicBezTo>
                  <a:cubicBezTo>
                    <a:pt x="2316" y="3274"/>
                    <a:pt x="2316" y="3274"/>
                    <a:pt x="2316" y="3274"/>
                  </a:cubicBezTo>
                  <a:cubicBezTo>
                    <a:pt x="2316" y="3275"/>
                    <a:pt x="2316" y="3275"/>
                    <a:pt x="2315" y="3275"/>
                  </a:cubicBezTo>
                  <a:cubicBezTo>
                    <a:pt x="2320" y="3277"/>
                    <a:pt x="2320" y="3277"/>
                    <a:pt x="2320" y="3277"/>
                  </a:cubicBezTo>
                  <a:cubicBezTo>
                    <a:pt x="2316" y="3274"/>
                    <a:pt x="2316" y="3274"/>
                    <a:pt x="2316" y="3274"/>
                  </a:cubicBezTo>
                  <a:cubicBezTo>
                    <a:pt x="2322" y="3279"/>
                    <a:pt x="2322" y="3279"/>
                    <a:pt x="2322" y="3279"/>
                  </a:cubicBezTo>
                  <a:cubicBezTo>
                    <a:pt x="2319" y="3272"/>
                    <a:pt x="2319" y="3272"/>
                    <a:pt x="2319" y="3272"/>
                  </a:cubicBezTo>
                  <a:cubicBezTo>
                    <a:pt x="2318" y="3273"/>
                    <a:pt x="2317" y="3274"/>
                    <a:pt x="2316" y="3274"/>
                  </a:cubicBezTo>
                  <a:cubicBezTo>
                    <a:pt x="2322" y="3279"/>
                    <a:pt x="2322" y="3279"/>
                    <a:pt x="2322" y="3279"/>
                  </a:cubicBezTo>
                  <a:cubicBezTo>
                    <a:pt x="2319" y="3272"/>
                    <a:pt x="2319" y="3272"/>
                    <a:pt x="2319" y="3272"/>
                  </a:cubicBezTo>
                  <a:cubicBezTo>
                    <a:pt x="2322" y="3279"/>
                    <a:pt x="2322" y="3279"/>
                    <a:pt x="2322" y="3279"/>
                  </a:cubicBezTo>
                  <a:cubicBezTo>
                    <a:pt x="2322" y="3271"/>
                    <a:pt x="2322" y="3271"/>
                    <a:pt x="2322" y="3271"/>
                  </a:cubicBezTo>
                  <a:cubicBezTo>
                    <a:pt x="2321" y="3271"/>
                    <a:pt x="2320" y="3272"/>
                    <a:pt x="2319" y="3272"/>
                  </a:cubicBezTo>
                  <a:cubicBezTo>
                    <a:pt x="2322" y="3279"/>
                    <a:pt x="2322" y="3279"/>
                    <a:pt x="2322" y="3279"/>
                  </a:cubicBezTo>
                  <a:cubicBezTo>
                    <a:pt x="2322" y="3271"/>
                    <a:pt x="2322" y="3271"/>
                    <a:pt x="2322" y="3271"/>
                  </a:cubicBezTo>
                  <a:cubicBezTo>
                    <a:pt x="2322" y="3275"/>
                    <a:pt x="2322" y="3275"/>
                    <a:pt x="2322" y="3275"/>
                  </a:cubicBezTo>
                  <a:cubicBezTo>
                    <a:pt x="2322" y="3272"/>
                    <a:pt x="2322" y="3272"/>
                    <a:pt x="2322" y="3272"/>
                  </a:cubicBezTo>
                  <a:cubicBezTo>
                    <a:pt x="2322" y="3271"/>
                    <a:pt x="2322" y="3271"/>
                    <a:pt x="2322" y="3271"/>
                  </a:cubicBezTo>
                  <a:cubicBezTo>
                    <a:pt x="2322" y="3275"/>
                    <a:pt x="2322" y="3275"/>
                    <a:pt x="2322" y="3275"/>
                  </a:cubicBezTo>
                  <a:cubicBezTo>
                    <a:pt x="2322" y="3272"/>
                    <a:pt x="2322" y="3272"/>
                    <a:pt x="2322" y="3272"/>
                  </a:cubicBezTo>
                  <a:cubicBezTo>
                    <a:pt x="2322" y="3273"/>
                    <a:pt x="2322" y="3273"/>
                    <a:pt x="2322" y="3273"/>
                  </a:cubicBezTo>
                  <a:cubicBezTo>
                    <a:pt x="2322" y="3272"/>
                    <a:pt x="2322" y="3272"/>
                    <a:pt x="2322" y="3272"/>
                  </a:cubicBezTo>
                  <a:cubicBezTo>
                    <a:pt x="2322" y="3272"/>
                    <a:pt x="2322" y="3272"/>
                    <a:pt x="2322" y="3272"/>
                  </a:cubicBezTo>
                  <a:cubicBezTo>
                    <a:pt x="2322" y="3273"/>
                    <a:pt x="2322" y="3273"/>
                    <a:pt x="2322" y="3273"/>
                  </a:cubicBezTo>
                  <a:cubicBezTo>
                    <a:pt x="2322" y="3272"/>
                    <a:pt x="2322" y="3272"/>
                    <a:pt x="2322" y="3272"/>
                  </a:cubicBezTo>
                  <a:cubicBezTo>
                    <a:pt x="2322" y="3272"/>
                    <a:pt x="2321" y="3271"/>
                    <a:pt x="2319" y="3270"/>
                  </a:cubicBezTo>
                  <a:cubicBezTo>
                    <a:pt x="2319" y="3270"/>
                    <a:pt x="2319" y="3270"/>
                    <a:pt x="2319" y="3270"/>
                  </a:cubicBezTo>
                  <a:cubicBezTo>
                    <a:pt x="2308" y="3267"/>
                    <a:pt x="2297" y="3265"/>
                    <a:pt x="2287" y="3262"/>
                  </a:cubicBezTo>
                  <a:cubicBezTo>
                    <a:pt x="2287" y="3262"/>
                    <a:pt x="2287" y="3262"/>
                    <a:pt x="2287" y="3262"/>
                  </a:cubicBezTo>
                  <a:cubicBezTo>
                    <a:pt x="2275" y="3259"/>
                    <a:pt x="2263" y="3257"/>
                    <a:pt x="2253" y="3254"/>
                  </a:cubicBezTo>
                  <a:cubicBezTo>
                    <a:pt x="2251" y="3254"/>
                    <a:pt x="2248" y="3253"/>
                    <a:pt x="2245" y="3253"/>
                  </a:cubicBezTo>
                  <a:cubicBezTo>
                    <a:pt x="2244" y="3253"/>
                    <a:pt x="2242" y="3253"/>
                    <a:pt x="2240" y="3254"/>
                  </a:cubicBezTo>
                  <a:cubicBezTo>
                    <a:pt x="2238" y="3254"/>
                    <a:pt x="2236" y="3255"/>
                    <a:pt x="2235" y="3256"/>
                  </a:cubicBezTo>
                  <a:cubicBezTo>
                    <a:pt x="2233" y="3258"/>
                    <a:pt x="2231" y="3260"/>
                    <a:pt x="2230" y="3262"/>
                  </a:cubicBezTo>
                  <a:cubicBezTo>
                    <a:pt x="2229" y="3264"/>
                    <a:pt x="2229" y="3266"/>
                    <a:pt x="2228" y="3268"/>
                  </a:cubicBezTo>
                  <a:cubicBezTo>
                    <a:pt x="2228" y="3268"/>
                    <a:pt x="2228" y="3268"/>
                    <a:pt x="2228" y="3268"/>
                  </a:cubicBezTo>
                  <a:cubicBezTo>
                    <a:pt x="2230" y="3268"/>
                    <a:pt x="2230" y="3268"/>
                    <a:pt x="2230" y="3268"/>
                  </a:cubicBezTo>
                  <a:cubicBezTo>
                    <a:pt x="2228" y="3267"/>
                    <a:pt x="2228" y="3267"/>
                    <a:pt x="2228" y="3267"/>
                  </a:cubicBezTo>
                  <a:cubicBezTo>
                    <a:pt x="2228" y="3267"/>
                    <a:pt x="2228" y="3267"/>
                    <a:pt x="2228" y="3268"/>
                  </a:cubicBezTo>
                  <a:cubicBezTo>
                    <a:pt x="2230" y="3268"/>
                    <a:pt x="2230" y="3268"/>
                    <a:pt x="2230" y="3268"/>
                  </a:cubicBezTo>
                  <a:cubicBezTo>
                    <a:pt x="2228" y="3267"/>
                    <a:pt x="2228" y="3267"/>
                    <a:pt x="2228" y="3267"/>
                  </a:cubicBezTo>
                  <a:cubicBezTo>
                    <a:pt x="2233" y="3270"/>
                    <a:pt x="2233" y="3270"/>
                    <a:pt x="2233" y="3270"/>
                  </a:cubicBezTo>
                  <a:cubicBezTo>
                    <a:pt x="2229" y="3266"/>
                    <a:pt x="2229" y="3266"/>
                    <a:pt x="2229" y="3266"/>
                  </a:cubicBezTo>
                  <a:cubicBezTo>
                    <a:pt x="2229" y="3267"/>
                    <a:pt x="2229" y="3267"/>
                    <a:pt x="2228" y="3267"/>
                  </a:cubicBezTo>
                  <a:cubicBezTo>
                    <a:pt x="2233" y="3270"/>
                    <a:pt x="2233" y="3270"/>
                    <a:pt x="2233" y="3270"/>
                  </a:cubicBezTo>
                  <a:cubicBezTo>
                    <a:pt x="2229" y="3266"/>
                    <a:pt x="2229" y="3266"/>
                    <a:pt x="2229" y="3266"/>
                  </a:cubicBezTo>
                  <a:cubicBezTo>
                    <a:pt x="2236" y="3273"/>
                    <a:pt x="2236" y="3273"/>
                    <a:pt x="2236" y="3273"/>
                  </a:cubicBezTo>
                  <a:cubicBezTo>
                    <a:pt x="2233" y="3264"/>
                    <a:pt x="2233" y="3264"/>
                    <a:pt x="2233" y="3264"/>
                  </a:cubicBezTo>
                  <a:cubicBezTo>
                    <a:pt x="2231" y="3265"/>
                    <a:pt x="2230" y="3266"/>
                    <a:pt x="2229" y="3266"/>
                  </a:cubicBezTo>
                  <a:cubicBezTo>
                    <a:pt x="2236" y="3273"/>
                    <a:pt x="2236" y="3273"/>
                    <a:pt x="2236" y="3273"/>
                  </a:cubicBezTo>
                  <a:cubicBezTo>
                    <a:pt x="2233" y="3264"/>
                    <a:pt x="2233" y="3264"/>
                    <a:pt x="2233" y="3264"/>
                  </a:cubicBezTo>
                  <a:cubicBezTo>
                    <a:pt x="2233" y="3264"/>
                    <a:pt x="2233" y="3264"/>
                    <a:pt x="2233" y="3264"/>
                  </a:cubicBezTo>
                  <a:cubicBezTo>
                    <a:pt x="2233" y="3264"/>
                    <a:pt x="2233" y="3264"/>
                    <a:pt x="2233" y="3264"/>
                  </a:cubicBezTo>
                  <a:cubicBezTo>
                    <a:pt x="2230" y="3265"/>
                    <a:pt x="2227" y="3266"/>
                    <a:pt x="2225" y="3268"/>
                  </a:cubicBezTo>
                  <a:cubicBezTo>
                    <a:pt x="2222" y="3271"/>
                    <a:pt x="2220" y="3274"/>
                    <a:pt x="2218" y="3278"/>
                  </a:cubicBezTo>
                  <a:cubicBezTo>
                    <a:pt x="2217" y="3281"/>
                    <a:pt x="2217" y="3284"/>
                    <a:pt x="2216" y="3287"/>
                  </a:cubicBezTo>
                  <a:cubicBezTo>
                    <a:pt x="2216" y="3287"/>
                    <a:pt x="2216" y="3287"/>
                    <a:pt x="2216" y="3287"/>
                  </a:cubicBezTo>
                  <a:cubicBezTo>
                    <a:pt x="2216" y="3287"/>
                    <a:pt x="2216" y="3287"/>
                    <a:pt x="2216" y="3287"/>
                  </a:cubicBezTo>
                  <a:cubicBezTo>
                    <a:pt x="2216" y="3288"/>
                    <a:pt x="2216" y="3288"/>
                    <a:pt x="2216" y="3288"/>
                  </a:cubicBezTo>
                  <a:cubicBezTo>
                    <a:pt x="2216" y="3288"/>
                    <a:pt x="2216" y="3288"/>
                    <a:pt x="2216" y="3288"/>
                  </a:cubicBezTo>
                  <a:cubicBezTo>
                    <a:pt x="2216" y="3288"/>
                    <a:pt x="2216" y="3288"/>
                    <a:pt x="2216" y="3288"/>
                  </a:cubicBezTo>
                  <a:cubicBezTo>
                    <a:pt x="2216" y="3290"/>
                    <a:pt x="2215" y="3293"/>
                    <a:pt x="2215" y="3294"/>
                  </a:cubicBezTo>
                  <a:cubicBezTo>
                    <a:pt x="2215" y="3295"/>
                    <a:pt x="2214" y="3296"/>
                    <a:pt x="2214" y="3296"/>
                  </a:cubicBezTo>
                  <a:cubicBezTo>
                    <a:pt x="2214" y="3296"/>
                    <a:pt x="2214" y="3296"/>
                    <a:pt x="2214" y="3296"/>
                  </a:cubicBezTo>
                  <a:cubicBezTo>
                    <a:pt x="2219" y="3298"/>
                    <a:pt x="2219" y="3298"/>
                    <a:pt x="2219" y="3298"/>
                  </a:cubicBezTo>
                  <a:cubicBezTo>
                    <a:pt x="2215" y="3295"/>
                    <a:pt x="2215" y="3295"/>
                    <a:pt x="2215" y="3295"/>
                  </a:cubicBezTo>
                  <a:cubicBezTo>
                    <a:pt x="2215" y="3296"/>
                    <a:pt x="2214" y="3296"/>
                    <a:pt x="2214" y="3296"/>
                  </a:cubicBezTo>
                  <a:cubicBezTo>
                    <a:pt x="2219" y="3298"/>
                    <a:pt x="2219" y="3298"/>
                    <a:pt x="2219" y="3298"/>
                  </a:cubicBezTo>
                  <a:cubicBezTo>
                    <a:pt x="2215" y="3295"/>
                    <a:pt x="2215" y="3295"/>
                    <a:pt x="2215" y="3295"/>
                  </a:cubicBezTo>
                  <a:cubicBezTo>
                    <a:pt x="2220" y="3300"/>
                    <a:pt x="2220" y="3300"/>
                    <a:pt x="2220" y="3300"/>
                  </a:cubicBezTo>
                  <a:cubicBezTo>
                    <a:pt x="2218" y="3293"/>
                    <a:pt x="2218" y="3293"/>
                    <a:pt x="2218" y="3293"/>
                  </a:cubicBezTo>
                  <a:cubicBezTo>
                    <a:pt x="2217" y="3294"/>
                    <a:pt x="2216" y="3294"/>
                    <a:pt x="2215" y="3295"/>
                  </a:cubicBezTo>
                  <a:cubicBezTo>
                    <a:pt x="2220" y="3300"/>
                    <a:pt x="2220" y="3300"/>
                    <a:pt x="2220" y="3300"/>
                  </a:cubicBezTo>
                  <a:cubicBezTo>
                    <a:pt x="2218" y="3293"/>
                    <a:pt x="2218" y="3293"/>
                    <a:pt x="2218" y="3293"/>
                  </a:cubicBezTo>
                  <a:cubicBezTo>
                    <a:pt x="2219" y="3298"/>
                    <a:pt x="2219" y="3298"/>
                    <a:pt x="2219" y="3298"/>
                  </a:cubicBezTo>
                  <a:cubicBezTo>
                    <a:pt x="2219" y="3293"/>
                    <a:pt x="2219" y="3293"/>
                    <a:pt x="2219" y="3293"/>
                  </a:cubicBezTo>
                  <a:cubicBezTo>
                    <a:pt x="2219" y="3293"/>
                    <a:pt x="2219" y="3293"/>
                    <a:pt x="2218" y="3293"/>
                  </a:cubicBezTo>
                  <a:cubicBezTo>
                    <a:pt x="2219" y="3298"/>
                    <a:pt x="2219" y="3298"/>
                    <a:pt x="2219" y="3298"/>
                  </a:cubicBezTo>
                  <a:cubicBezTo>
                    <a:pt x="2219" y="3293"/>
                    <a:pt x="2219" y="3293"/>
                    <a:pt x="2219" y="3293"/>
                  </a:cubicBezTo>
                  <a:cubicBezTo>
                    <a:pt x="2219" y="3293"/>
                    <a:pt x="2219" y="3293"/>
                    <a:pt x="2219" y="3293"/>
                  </a:cubicBezTo>
                  <a:cubicBezTo>
                    <a:pt x="2218" y="3293"/>
                    <a:pt x="2215" y="3292"/>
                    <a:pt x="2211" y="3291"/>
                  </a:cubicBezTo>
                  <a:cubicBezTo>
                    <a:pt x="2211" y="3291"/>
                    <a:pt x="2211" y="3291"/>
                    <a:pt x="2211" y="3291"/>
                  </a:cubicBezTo>
                  <a:cubicBezTo>
                    <a:pt x="2203" y="3289"/>
                    <a:pt x="2196" y="3288"/>
                    <a:pt x="2190" y="3287"/>
                  </a:cubicBezTo>
                  <a:cubicBezTo>
                    <a:pt x="2179" y="3285"/>
                    <a:pt x="2179" y="3285"/>
                    <a:pt x="2179" y="3285"/>
                  </a:cubicBezTo>
                  <a:cubicBezTo>
                    <a:pt x="2176" y="3295"/>
                    <a:pt x="2176" y="3295"/>
                    <a:pt x="2176" y="3295"/>
                  </a:cubicBezTo>
                  <a:cubicBezTo>
                    <a:pt x="2175" y="3302"/>
                    <a:pt x="2173" y="3308"/>
                    <a:pt x="2171" y="3314"/>
                  </a:cubicBezTo>
                  <a:cubicBezTo>
                    <a:pt x="2171" y="3314"/>
                    <a:pt x="2171" y="3314"/>
                    <a:pt x="2171" y="3314"/>
                  </a:cubicBezTo>
                  <a:cubicBezTo>
                    <a:pt x="2170" y="3319"/>
                    <a:pt x="2169" y="3323"/>
                    <a:pt x="2169" y="3327"/>
                  </a:cubicBezTo>
                  <a:cubicBezTo>
                    <a:pt x="2169" y="3327"/>
                    <a:pt x="2169" y="3327"/>
                    <a:pt x="2169" y="3327"/>
                  </a:cubicBezTo>
                  <a:cubicBezTo>
                    <a:pt x="2167" y="3331"/>
                    <a:pt x="2166" y="3337"/>
                    <a:pt x="2166" y="3344"/>
                  </a:cubicBezTo>
                  <a:cubicBezTo>
                    <a:pt x="2166" y="3347"/>
                    <a:pt x="2166" y="3350"/>
                    <a:pt x="2167" y="3354"/>
                  </a:cubicBezTo>
                  <a:cubicBezTo>
                    <a:pt x="2167" y="3354"/>
                    <a:pt x="2167" y="3354"/>
                    <a:pt x="2167" y="3354"/>
                  </a:cubicBezTo>
                  <a:cubicBezTo>
                    <a:pt x="2167" y="3354"/>
                    <a:pt x="2167" y="3354"/>
                    <a:pt x="2167" y="3354"/>
                  </a:cubicBezTo>
                  <a:cubicBezTo>
                    <a:pt x="2167" y="3354"/>
                    <a:pt x="2167" y="3354"/>
                    <a:pt x="2167" y="3354"/>
                  </a:cubicBezTo>
                  <a:cubicBezTo>
                    <a:pt x="2167" y="3354"/>
                    <a:pt x="2167" y="3354"/>
                    <a:pt x="2167" y="3354"/>
                  </a:cubicBezTo>
                  <a:cubicBezTo>
                    <a:pt x="2167" y="3354"/>
                    <a:pt x="2167" y="3354"/>
                    <a:pt x="2167" y="3354"/>
                  </a:cubicBezTo>
                  <a:cubicBezTo>
                    <a:pt x="2167" y="3354"/>
                    <a:pt x="2167" y="3354"/>
                    <a:pt x="2167" y="3354"/>
                  </a:cubicBezTo>
                  <a:cubicBezTo>
                    <a:pt x="2167" y="3354"/>
                    <a:pt x="2167" y="3354"/>
                    <a:pt x="2167" y="3354"/>
                  </a:cubicBezTo>
                  <a:cubicBezTo>
                    <a:pt x="2167" y="3354"/>
                    <a:pt x="2167" y="3354"/>
                    <a:pt x="2167" y="3354"/>
                  </a:cubicBezTo>
                  <a:cubicBezTo>
                    <a:pt x="2167" y="3355"/>
                    <a:pt x="2167" y="3356"/>
                    <a:pt x="2166" y="3357"/>
                  </a:cubicBezTo>
                  <a:cubicBezTo>
                    <a:pt x="2164" y="3367"/>
                    <a:pt x="2161" y="3376"/>
                    <a:pt x="2159" y="3386"/>
                  </a:cubicBezTo>
                  <a:cubicBezTo>
                    <a:pt x="2158" y="3387"/>
                    <a:pt x="2158" y="3389"/>
                    <a:pt x="2158" y="3389"/>
                  </a:cubicBezTo>
                  <a:cubicBezTo>
                    <a:pt x="2158" y="3390"/>
                    <a:pt x="2158" y="3390"/>
                    <a:pt x="2158" y="3390"/>
                  </a:cubicBezTo>
                  <a:cubicBezTo>
                    <a:pt x="2158" y="3390"/>
                    <a:pt x="2158" y="3390"/>
                    <a:pt x="2158" y="3390"/>
                  </a:cubicBezTo>
                  <a:cubicBezTo>
                    <a:pt x="2161" y="3391"/>
                    <a:pt x="2161" y="3391"/>
                    <a:pt x="2161" y="3391"/>
                  </a:cubicBezTo>
                  <a:cubicBezTo>
                    <a:pt x="2158" y="3389"/>
                    <a:pt x="2158" y="3389"/>
                    <a:pt x="2158" y="3389"/>
                  </a:cubicBezTo>
                  <a:cubicBezTo>
                    <a:pt x="2158" y="3389"/>
                    <a:pt x="2158" y="3390"/>
                    <a:pt x="2158" y="3390"/>
                  </a:cubicBezTo>
                  <a:cubicBezTo>
                    <a:pt x="2161" y="3391"/>
                    <a:pt x="2161" y="3391"/>
                    <a:pt x="2161" y="3391"/>
                  </a:cubicBezTo>
                  <a:cubicBezTo>
                    <a:pt x="2158" y="3389"/>
                    <a:pt x="2158" y="3389"/>
                    <a:pt x="2158" y="3389"/>
                  </a:cubicBezTo>
                  <a:cubicBezTo>
                    <a:pt x="2164" y="3394"/>
                    <a:pt x="2164" y="3394"/>
                    <a:pt x="2164" y="3394"/>
                  </a:cubicBezTo>
                  <a:cubicBezTo>
                    <a:pt x="2161" y="3387"/>
                    <a:pt x="2161" y="3387"/>
                    <a:pt x="2161" y="3387"/>
                  </a:cubicBezTo>
                  <a:cubicBezTo>
                    <a:pt x="2160" y="3387"/>
                    <a:pt x="2159" y="3388"/>
                    <a:pt x="2158" y="3389"/>
                  </a:cubicBezTo>
                  <a:cubicBezTo>
                    <a:pt x="2164" y="3394"/>
                    <a:pt x="2164" y="3394"/>
                    <a:pt x="2164" y="3394"/>
                  </a:cubicBezTo>
                  <a:cubicBezTo>
                    <a:pt x="2161" y="3387"/>
                    <a:pt x="2161" y="3387"/>
                    <a:pt x="2161" y="3387"/>
                  </a:cubicBezTo>
                  <a:cubicBezTo>
                    <a:pt x="2163" y="3392"/>
                    <a:pt x="2163" y="3392"/>
                    <a:pt x="2163" y="3392"/>
                  </a:cubicBezTo>
                  <a:cubicBezTo>
                    <a:pt x="2163" y="3386"/>
                    <a:pt x="2163" y="3386"/>
                    <a:pt x="2163" y="3386"/>
                  </a:cubicBezTo>
                  <a:cubicBezTo>
                    <a:pt x="2163" y="3386"/>
                    <a:pt x="2162" y="3386"/>
                    <a:pt x="2161" y="3387"/>
                  </a:cubicBezTo>
                  <a:cubicBezTo>
                    <a:pt x="2163" y="3392"/>
                    <a:pt x="2163" y="3392"/>
                    <a:pt x="2163" y="3392"/>
                  </a:cubicBezTo>
                  <a:cubicBezTo>
                    <a:pt x="2163" y="3386"/>
                    <a:pt x="2163" y="3386"/>
                    <a:pt x="2163" y="3386"/>
                  </a:cubicBezTo>
                  <a:cubicBezTo>
                    <a:pt x="2163" y="3387"/>
                    <a:pt x="2163" y="3387"/>
                    <a:pt x="2163" y="3387"/>
                  </a:cubicBezTo>
                  <a:cubicBezTo>
                    <a:pt x="2163" y="3386"/>
                    <a:pt x="2163" y="3386"/>
                    <a:pt x="2163" y="3386"/>
                  </a:cubicBezTo>
                  <a:cubicBezTo>
                    <a:pt x="2163" y="3386"/>
                    <a:pt x="2163" y="3386"/>
                    <a:pt x="2163" y="3386"/>
                  </a:cubicBezTo>
                  <a:cubicBezTo>
                    <a:pt x="2163" y="3387"/>
                    <a:pt x="2163" y="3387"/>
                    <a:pt x="2163" y="3387"/>
                  </a:cubicBezTo>
                  <a:cubicBezTo>
                    <a:pt x="2163" y="3386"/>
                    <a:pt x="2163" y="3386"/>
                    <a:pt x="2163" y="3386"/>
                  </a:cubicBezTo>
                  <a:cubicBezTo>
                    <a:pt x="2163" y="3386"/>
                    <a:pt x="2162" y="3386"/>
                    <a:pt x="2160" y="3386"/>
                  </a:cubicBezTo>
                  <a:cubicBezTo>
                    <a:pt x="2160" y="3386"/>
                    <a:pt x="2160" y="3386"/>
                    <a:pt x="2160" y="3386"/>
                  </a:cubicBezTo>
                  <a:cubicBezTo>
                    <a:pt x="2160" y="3386"/>
                    <a:pt x="2160" y="3386"/>
                    <a:pt x="2160" y="3386"/>
                  </a:cubicBezTo>
                  <a:cubicBezTo>
                    <a:pt x="2135" y="3380"/>
                    <a:pt x="2111" y="3374"/>
                    <a:pt x="2087" y="3368"/>
                  </a:cubicBezTo>
                  <a:cubicBezTo>
                    <a:pt x="2087" y="3368"/>
                    <a:pt x="2087" y="3368"/>
                    <a:pt x="2087" y="3368"/>
                  </a:cubicBezTo>
                  <a:cubicBezTo>
                    <a:pt x="2085" y="3367"/>
                    <a:pt x="2083" y="3367"/>
                    <a:pt x="2081" y="3367"/>
                  </a:cubicBezTo>
                  <a:cubicBezTo>
                    <a:pt x="2079" y="3367"/>
                    <a:pt x="2076" y="3367"/>
                    <a:pt x="2074" y="3368"/>
                  </a:cubicBezTo>
                  <a:cubicBezTo>
                    <a:pt x="2072" y="3369"/>
                    <a:pt x="2071" y="3370"/>
                    <a:pt x="2070" y="3371"/>
                  </a:cubicBezTo>
                  <a:cubicBezTo>
                    <a:pt x="2067" y="3373"/>
                    <a:pt x="2066" y="3375"/>
                    <a:pt x="2065" y="3376"/>
                  </a:cubicBezTo>
                  <a:cubicBezTo>
                    <a:pt x="2064" y="3378"/>
                    <a:pt x="2064" y="3380"/>
                    <a:pt x="2064" y="3381"/>
                  </a:cubicBezTo>
                  <a:cubicBezTo>
                    <a:pt x="2064" y="3381"/>
                    <a:pt x="2064" y="3381"/>
                    <a:pt x="2064" y="3381"/>
                  </a:cubicBezTo>
                  <a:cubicBezTo>
                    <a:pt x="2060" y="3395"/>
                    <a:pt x="2056" y="3409"/>
                    <a:pt x="2052" y="3424"/>
                  </a:cubicBezTo>
                  <a:cubicBezTo>
                    <a:pt x="2052" y="3425"/>
                    <a:pt x="2051" y="3427"/>
                    <a:pt x="2051" y="3428"/>
                  </a:cubicBezTo>
                  <a:cubicBezTo>
                    <a:pt x="2051" y="3428"/>
                    <a:pt x="2051" y="3428"/>
                    <a:pt x="2051" y="3428"/>
                  </a:cubicBezTo>
                  <a:cubicBezTo>
                    <a:pt x="2051" y="3428"/>
                    <a:pt x="2051" y="3428"/>
                    <a:pt x="2051" y="3428"/>
                  </a:cubicBezTo>
                  <a:cubicBezTo>
                    <a:pt x="2051" y="3428"/>
                    <a:pt x="2051" y="3428"/>
                    <a:pt x="2051" y="3428"/>
                  </a:cubicBezTo>
                  <a:cubicBezTo>
                    <a:pt x="2054" y="3430"/>
                    <a:pt x="2054" y="3430"/>
                    <a:pt x="2054" y="3430"/>
                  </a:cubicBezTo>
                  <a:cubicBezTo>
                    <a:pt x="2051" y="3428"/>
                    <a:pt x="2051" y="3428"/>
                    <a:pt x="2051" y="3428"/>
                  </a:cubicBezTo>
                  <a:cubicBezTo>
                    <a:pt x="2051" y="3428"/>
                    <a:pt x="2051" y="3428"/>
                    <a:pt x="2051" y="3428"/>
                  </a:cubicBezTo>
                  <a:cubicBezTo>
                    <a:pt x="2054" y="3430"/>
                    <a:pt x="2054" y="3430"/>
                    <a:pt x="2054" y="3430"/>
                  </a:cubicBezTo>
                  <a:cubicBezTo>
                    <a:pt x="2051" y="3428"/>
                    <a:pt x="2051" y="3428"/>
                    <a:pt x="2051" y="3428"/>
                  </a:cubicBezTo>
                  <a:cubicBezTo>
                    <a:pt x="2056" y="3432"/>
                    <a:pt x="2056" y="3432"/>
                    <a:pt x="2056" y="3432"/>
                  </a:cubicBezTo>
                  <a:cubicBezTo>
                    <a:pt x="2054" y="3426"/>
                    <a:pt x="2054" y="3426"/>
                    <a:pt x="2054" y="3426"/>
                  </a:cubicBezTo>
                  <a:cubicBezTo>
                    <a:pt x="2053" y="3427"/>
                    <a:pt x="2052" y="3427"/>
                    <a:pt x="2051" y="3428"/>
                  </a:cubicBezTo>
                  <a:cubicBezTo>
                    <a:pt x="2056" y="3432"/>
                    <a:pt x="2056" y="3432"/>
                    <a:pt x="2056" y="3432"/>
                  </a:cubicBezTo>
                  <a:cubicBezTo>
                    <a:pt x="2054" y="3426"/>
                    <a:pt x="2054" y="3426"/>
                    <a:pt x="2054" y="3426"/>
                  </a:cubicBezTo>
                  <a:cubicBezTo>
                    <a:pt x="2055" y="3431"/>
                    <a:pt x="2055" y="3431"/>
                    <a:pt x="2055" y="3431"/>
                  </a:cubicBezTo>
                  <a:cubicBezTo>
                    <a:pt x="2055" y="3426"/>
                    <a:pt x="2055" y="3426"/>
                    <a:pt x="2055" y="3426"/>
                  </a:cubicBezTo>
                  <a:cubicBezTo>
                    <a:pt x="2054" y="3426"/>
                    <a:pt x="2054" y="3426"/>
                    <a:pt x="2054" y="3426"/>
                  </a:cubicBezTo>
                  <a:cubicBezTo>
                    <a:pt x="2055" y="3431"/>
                    <a:pt x="2055" y="3431"/>
                    <a:pt x="2055" y="3431"/>
                  </a:cubicBezTo>
                  <a:cubicBezTo>
                    <a:pt x="2055" y="3426"/>
                    <a:pt x="2055" y="3426"/>
                    <a:pt x="2055" y="3426"/>
                  </a:cubicBezTo>
                  <a:cubicBezTo>
                    <a:pt x="2055" y="3429"/>
                    <a:pt x="2055" y="3429"/>
                    <a:pt x="2055" y="3429"/>
                  </a:cubicBezTo>
                  <a:cubicBezTo>
                    <a:pt x="2055" y="3426"/>
                    <a:pt x="2055" y="3426"/>
                    <a:pt x="2055" y="3426"/>
                  </a:cubicBezTo>
                  <a:cubicBezTo>
                    <a:pt x="2055" y="3426"/>
                    <a:pt x="2055" y="3426"/>
                    <a:pt x="2055" y="3426"/>
                  </a:cubicBezTo>
                  <a:cubicBezTo>
                    <a:pt x="2055" y="3429"/>
                    <a:pt x="2055" y="3429"/>
                    <a:pt x="2055" y="3429"/>
                  </a:cubicBezTo>
                  <a:cubicBezTo>
                    <a:pt x="2055" y="3426"/>
                    <a:pt x="2055" y="3426"/>
                    <a:pt x="2055" y="3426"/>
                  </a:cubicBezTo>
                  <a:cubicBezTo>
                    <a:pt x="2055" y="3427"/>
                    <a:pt x="2055" y="3427"/>
                    <a:pt x="2055" y="3427"/>
                  </a:cubicBezTo>
                  <a:cubicBezTo>
                    <a:pt x="2055" y="3426"/>
                    <a:pt x="2055" y="3426"/>
                    <a:pt x="2055" y="3426"/>
                  </a:cubicBezTo>
                  <a:cubicBezTo>
                    <a:pt x="2055" y="3426"/>
                    <a:pt x="2055" y="3426"/>
                    <a:pt x="2055" y="3426"/>
                  </a:cubicBezTo>
                  <a:cubicBezTo>
                    <a:pt x="2055" y="3427"/>
                    <a:pt x="2055" y="3427"/>
                    <a:pt x="2055" y="3427"/>
                  </a:cubicBezTo>
                  <a:cubicBezTo>
                    <a:pt x="2055" y="3426"/>
                    <a:pt x="2055" y="3426"/>
                    <a:pt x="2055" y="3426"/>
                  </a:cubicBezTo>
                  <a:cubicBezTo>
                    <a:pt x="2055" y="3426"/>
                    <a:pt x="2055" y="3426"/>
                    <a:pt x="2055" y="3426"/>
                  </a:cubicBezTo>
                  <a:cubicBezTo>
                    <a:pt x="2055" y="3426"/>
                    <a:pt x="2053" y="3426"/>
                    <a:pt x="2050" y="3425"/>
                  </a:cubicBezTo>
                  <a:cubicBezTo>
                    <a:pt x="2050" y="3425"/>
                    <a:pt x="2050" y="3425"/>
                    <a:pt x="2050" y="3425"/>
                  </a:cubicBezTo>
                  <a:cubicBezTo>
                    <a:pt x="2026" y="3419"/>
                    <a:pt x="2002" y="3414"/>
                    <a:pt x="1978" y="3408"/>
                  </a:cubicBezTo>
                  <a:cubicBezTo>
                    <a:pt x="1978" y="3408"/>
                    <a:pt x="1978" y="3408"/>
                    <a:pt x="1978" y="3408"/>
                  </a:cubicBezTo>
                  <a:cubicBezTo>
                    <a:pt x="1976" y="3408"/>
                    <a:pt x="1975" y="3408"/>
                    <a:pt x="1972" y="3408"/>
                  </a:cubicBezTo>
                  <a:cubicBezTo>
                    <a:pt x="1970" y="3408"/>
                    <a:pt x="1968" y="3408"/>
                    <a:pt x="1966" y="3409"/>
                  </a:cubicBezTo>
                  <a:cubicBezTo>
                    <a:pt x="1964" y="3410"/>
                    <a:pt x="1962" y="3411"/>
                    <a:pt x="1961" y="3413"/>
                  </a:cubicBezTo>
                  <a:cubicBezTo>
                    <a:pt x="1959" y="3415"/>
                    <a:pt x="1958" y="3417"/>
                    <a:pt x="1958" y="3418"/>
                  </a:cubicBezTo>
                  <a:cubicBezTo>
                    <a:pt x="1957" y="3420"/>
                    <a:pt x="1957" y="3421"/>
                    <a:pt x="1957" y="3422"/>
                  </a:cubicBezTo>
                  <a:cubicBezTo>
                    <a:pt x="1957" y="3422"/>
                    <a:pt x="1957" y="3422"/>
                    <a:pt x="1957" y="3422"/>
                  </a:cubicBezTo>
                  <a:cubicBezTo>
                    <a:pt x="1954" y="3437"/>
                    <a:pt x="1950" y="3452"/>
                    <a:pt x="1946" y="3467"/>
                  </a:cubicBezTo>
                  <a:cubicBezTo>
                    <a:pt x="1946" y="3467"/>
                    <a:pt x="1946" y="3467"/>
                    <a:pt x="1946" y="3467"/>
                  </a:cubicBezTo>
                  <a:cubicBezTo>
                    <a:pt x="1946" y="3468"/>
                    <a:pt x="1946" y="3469"/>
                    <a:pt x="1945" y="3469"/>
                  </a:cubicBezTo>
                  <a:cubicBezTo>
                    <a:pt x="1945" y="3469"/>
                    <a:pt x="1945" y="3469"/>
                    <a:pt x="1945" y="3469"/>
                  </a:cubicBezTo>
                  <a:cubicBezTo>
                    <a:pt x="1948" y="3471"/>
                    <a:pt x="1948" y="3471"/>
                    <a:pt x="1948" y="3471"/>
                  </a:cubicBezTo>
                  <a:cubicBezTo>
                    <a:pt x="1946" y="3469"/>
                    <a:pt x="1946" y="3469"/>
                    <a:pt x="1946" y="3469"/>
                  </a:cubicBezTo>
                  <a:cubicBezTo>
                    <a:pt x="1945" y="3469"/>
                    <a:pt x="1945" y="3469"/>
                    <a:pt x="1945" y="3469"/>
                  </a:cubicBezTo>
                  <a:cubicBezTo>
                    <a:pt x="1948" y="3471"/>
                    <a:pt x="1948" y="3471"/>
                    <a:pt x="1948" y="3471"/>
                  </a:cubicBezTo>
                  <a:cubicBezTo>
                    <a:pt x="1946" y="3469"/>
                    <a:pt x="1946" y="3469"/>
                    <a:pt x="1946" y="3469"/>
                  </a:cubicBezTo>
                  <a:cubicBezTo>
                    <a:pt x="1950" y="3472"/>
                    <a:pt x="1950" y="3472"/>
                    <a:pt x="1950" y="3472"/>
                  </a:cubicBezTo>
                  <a:cubicBezTo>
                    <a:pt x="1948" y="3468"/>
                    <a:pt x="1948" y="3468"/>
                    <a:pt x="1948" y="3468"/>
                  </a:cubicBezTo>
                  <a:cubicBezTo>
                    <a:pt x="1947" y="3468"/>
                    <a:pt x="1946" y="3468"/>
                    <a:pt x="1946" y="3469"/>
                  </a:cubicBezTo>
                  <a:cubicBezTo>
                    <a:pt x="1950" y="3472"/>
                    <a:pt x="1950" y="3472"/>
                    <a:pt x="1950" y="3472"/>
                  </a:cubicBezTo>
                  <a:cubicBezTo>
                    <a:pt x="1948" y="3468"/>
                    <a:pt x="1948" y="3468"/>
                    <a:pt x="1948" y="3468"/>
                  </a:cubicBezTo>
                  <a:cubicBezTo>
                    <a:pt x="1949" y="3471"/>
                    <a:pt x="1949" y="3471"/>
                    <a:pt x="1949" y="3471"/>
                  </a:cubicBezTo>
                  <a:cubicBezTo>
                    <a:pt x="1949" y="3467"/>
                    <a:pt x="1949" y="3467"/>
                    <a:pt x="1949" y="3467"/>
                  </a:cubicBezTo>
                  <a:cubicBezTo>
                    <a:pt x="1948" y="3468"/>
                    <a:pt x="1948" y="3468"/>
                    <a:pt x="1948" y="3468"/>
                  </a:cubicBezTo>
                  <a:cubicBezTo>
                    <a:pt x="1949" y="3471"/>
                    <a:pt x="1949" y="3471"/>
                    <a:pt x="1949" y="3471"/>
                  </a:cubicBezTo>
                  <a:cubicBezTo>
                    <a:pt x="1949" y="3467"/>
                    <a:pt x="1949" y="3467"/>
                    <a:pt x="1949" y="3467"/>
                  </a:cubicBezTo>
                  <a:cubicBezTo>
                    <a:pt x="1949" y="3469"/>
                    <a:pt x="1949" y="3469"/>
                    <a:pt x="1949" y="3469"/>
                  </a:cubicBezTo>
                  <a:cubicBezTo>
                    <a:pt x="1949" y="3467"/>
                    <a:pt x="1949" y="3467"/>
                    <a:pt x="1949" y="3467"/>
                  </a:cubicBezTo>
                  <a:cubicBezTo>
                    <a:pt x="1949" y="3467"/>
                    <a:pt x="1949" y="3467"/>
                    <a:pt x="1949" y="3467"/>
                  </a:cubicBezTo>
                  <a:cubicBezTo>
                    <a:pt x="1949" y="3469"/>
                    <a:pt x="1949" y="3469"/>
                    <a:pt x="1949" y="3469"/>
                  </a:cubicBezTo>
                  <a:cubicBezTo>
                    <a:pt x="1949" y="3467"/>
                    <a:pt x="1949" y="3467"/>
                    <a:pt x="1949" y="3467"/>
                  </a:cubicBezTo>
                  <a:cubicBezTo>
                    <a:pt x="1949" y="3467"/>
                    <a:pt x="1949" y="3467"/>
                    <a:pt x="1949" y="3467"/>
                  </a:cubicBezTo>
                  <a:cubicBezTo>
                    <a:pt x="1948" y="3467"/>
                    <a:pt x="1947" y="3467"/>
                    <a:pt x="1946" y="3467"/>
                  </a:cubicBezTo>
                  <a:cubicBezTo>
                    <a:pt x="1946" y="3467"/>
                    <a:pt x="1946" y="3467"/>
                    <a:pt x="1946" y="3467"/>
                  </a:cubicBezTo>
                  <a:cubicBezTo>
                    <a:pt x="1942" y="3466"/>
                    <a:pt x="1939" y="3465"/>
                    <a:pt x="1936" y="3464"/>
                  </a:cubicBezTo>
                  <a:cubicBezTo>
                    <a:pt x="1936" y="3464"/>
                    <a:pt x="1936" y="3464"/>
                    <a:pt x="1936" y="3464"/>
                  </a:cubicBezTo>
                  <a:cubicBezTo>
                    <a:pt x="1934" y="3464"/>
                    <a:pt x="1932" y="3463"/>
                    <a:pt x="1929" y="3463"/>
                  </a:cubicBezTo>
                  <a:cubicBezTo>
                    <a:pt x="1927" y="3463"/>
                    <a:pt x="1925" y="3463"/>
                    <a:pt x="1923" y="3464"/>
                  </a:cubicBezTo>
                  <a:cubicBezTo>
                    <a:pt x="1921" y="3465"/>
                    <a:pt x="1919" y="3466"/>
                    <a:pt x="1918" y="3467"/>
                  </a:cubicBezTo>
                  <a:cubicBezTo>
                    <a:pt x="1916" y="3469"/>
                    <a:pt x="1915" y="3471"/>
                    <a:pt x="1914" y="3473"/>
                  </a:cubicBezTo>
                  <a:cubicBezTo>
                    <a:pt x="1914" y="3474"/>
                    <a:pt x="1913" y="3476"/>
                    <a:pt x="1913" y="3477"/>
                  </a:cubicBezTo>
                  <a:cubicBezTo>
                    <a:pt x="1910" y="3488"/>
                    <a:pt x="1907" y="3499"/>
                    <a:pt x="1905" y="3511"/>
                  </a:cubicBezTo>
                  <a:cubicBezTo>
                    <a:pt x="1904" y="3515"/>
                    <a:pt x="1904" y="3518"/>
                    <a:pt x="1903" y="3520"/>
                  </a:cubicBezTo>
                  <a:cubicBezTo>
                    <a:pt x="1903" y="3522"/>
                    <a:pt x="1902" y="3523"/>
                    <a:pt x="1902" y="3523"/>
                  </a:cubicBezTo>
                  <a:cubicBezTo>
                    <a:pt x="1902" y="3524"/>
                    <a:pt x="1902" y="3524"/>
                    <a:pt x="1902" y="3524"/>
                  </a:cubicBezTo>
                  <a:cubicBezTo>
                    <a:pt x="1902" y="3524"/>
                    <a:pt x="1902" y="3524"/>
                    <a:pt x="1902" y="3524"/>
                  </a:cubicBezTo>
                  <a:cubicBezTo>
                    <a:pt x="1903" y="3525"/>
                    <a:pt x="1903" y="3525"/>
                    <a:pt x="1903" y="3525"/>
                  </a:cubicBezTo>
                  <a:cubicBezTo>
                    <a:pt x="1902" y="3524"/>
                    <a:pt x="1902" y="3524"/>
                    <a:pt x="1902" y="3524"/>
                  </a:cubicBezTo>
                  <a:cubicBezTo>
                    <a:pt x="1902" y="3524"/>
                    <a:pt x="1902" y="3524"/>
                    <a:pt x="1902" y="3524"/>
                  </a:cubicBezTo>
                  <a:cubicBezTo>
                    <a:pt x="1903" y="3525"/>
                    <a:pt x="1903" y="3525"/>
                    <a:pt x="1903" y="3525"/>
                  </a:cubicBezTo>
                  <a:cubicBezTo>
                    <a:pt x="1902" y="3524"/>
                    <a:pt x="1902" y="3524"/>
                    <a:pt x="1902" y="3524"/>
                  </a:cubicBezTo>
                  <a:cubicBezTo>
                    <a:pt x="1907" y="3527"/>
                    <a:pt x="1907" y="3527"/>
                    <a:pt x="1907" y="3527"/>
                  </a:cubicBezTo>
                  <a:cubicBezTo>
                    <a:pt x="1904" y="3522"/>
                    <a:pt x="1904" y="3522"/>
                    <a:pt x="1904" y="3522"/>
                  </a:cubicBezTo>
                  <a:cubicBezTo>
                    <a:pt x="1903" y="3522"/>
                    <a:pt x="1902" y="3523"/>
                    <a:pt x="1902" y="3524"/>
                  </a:cubicBezTo>
                  <a:cubicBezTo>
                    <a:pt x="1907" y="3527"/>
                    <a:pt x="1907" y="3527"/>
                    <a:pt x="1907" y="3527"/>
                  </a:cubicBezTo>
                  <a:cubicBezTo>
                    <a:pt x="1904" y="3522"/>
                    <a:pt x="1904" y="3522"/>
                    <a:pt x="1904" y="3522"/>
                  </a:cubicBezTo>
                  <a:cubicBezTo>
                    <a:pt x="1906" y="3526"/>
                    <a:pt x="1906" y="3526"/>
                    <a:pt x="1906" y="3526"/>
                  </a:cubicBezTo>
                  <a:cubicBezTo>
                    <a:pt x="1905" y="3522"/>
                    <a:pt x="1905" y="3522"/>
                    <a:pt x="1905" y="3522"/>
                  </a:cubicBezTo>
                  <a:cubicBezTo>
                    <a:pt x="1905" y="3522"/>
                    <a:pt x="1905" y="3522"/>
                    <a:pt x="1904" y="3522"/>
                  </a:cubicBezTo>
                  <a:cubicBezTo>
                    <a:pt x="1906" y="3526"/>
                    <a:pt x="1906" y="3526"/>
                    <a:pt x="1906" y="3526"/>
                  </a:cubicBezTo>
                  <a:cubicBezTo>
                    <a:pt x="1905" y="3522"/>
                    <a:pt x="1905" y="3522"/>
                    <a:pt x="1905" y="3522"/>
                  </a:cubicBezTo>
                  <a:cubicBezTo>
                    <a:pt x="1906" y="3524"/>
                    <a:pt x="1906" y="3524"/>
                    <a:pt x="1906" y="3524"/>
                  </a:cubicBezTo>
                  <a:cubicBezTo>
                    <a:pt x="1906" y="3521"/>
                    <a:pt x="1906" y="3521"/>
                    <a:pt x="1906" y="3521"/>
                  </a:cubicBezTo>
                  <a:cubicBezTo>
                    <a:pt x="1905" y="3522"/>
                    <a:pt x="1905" y="3522"/>
                    <a:pt x="1905" y="3522"/>
                  </a:cubicBezTo>
                  <a:cubicBezTo>
                    <a:pt x="1906" y="3524"/>
                    <a:pt x="1906" y="3524"/>
                    <a:pt x="1906" y="3524"/>
                  </a:cubicBezTo>
                  <a:cubicBezTo>
                    <a:pt x="1906" y="3521"/>
                    <a:pt x="1906" y="3521"/>
                    <a:pt x="1906" y="3521"/>
                  </a:cubicBezTo>
                  <a:cubicBezTo>
                    <a:pt x="1906" y="3521"/>
                    <a:pt x="1906" y="3521"/>
                    <a:pt x="1906" y="3521"/>
                  </a:cubicBezTo>
                  <a:cubicBezTo>
                    <a:pt x="1905" y="3521"/>
                    <a:pt x="1904" y="3521"/>
                    <a:pt x="1902" y="3521"/>
                  </a:cubicBezTo>
                  <a:cubicBezTo>
                    <a:pt x="1900" y="3521"/>
                    <a:pt x="1897" y="3520"/>
                    <a:pt x="1894" y="3519"/>
                  </a:cubicBezTo>
                  <a:cubicBezTo>
                    <a:pt x="1852" y="3510"/>
                    <a:pt x="1810" y="3500"/>
                    <a:pt x="1768" y="3490"/>
                  </a:cubicBezTo>
                  <a:cubicBezTo>
                    <a:pt x="1748" y="3485"/>
                    <a:pt x="1728" y="3481"/>
                    <a:pt x="1708" y="3476"/>
                  </a:cubicBezTo>
                  <a:cubicBezTo>
                    <a:pt x="1708" y="3476"/>
                    <a:pt x="1708" y="3476"/>
                    <a:pt x="1708" y="3476"/>
                  </a:cubicBezTo>
                  <a:cubicBezTo>
                    <a:pt x="1705" y="3476"/>
                    <a:pt x="1704" y="3476"/>
                    <a:pt x="1703" y="3476"/>
                  </a:cubicBezTo>
                  <a:cubicBezTo>
                    <a:pt x="1702" y="3476"/>
                    <a:pt x="1702" y="3476"/>
                    <a:pt x="1701" y="3476"/>
                  </a:cubicBezTo>
                  <a:cubicBezTo>
                    <a:pt x="1701" y="3476"/>
                    <a:pt x="1701" y="3476"/>
                    <a:pt x="1701" y="3476"/>
                  </a:cubicBezTo>
                  <a:cubicBezTo>
                    <a:pt x="1701" y="3476"/>
                    <a:pt x="1701" y="3476"/>
                    <a:pt x="1701" y="3476"/>
                  </a:cubicBezTo>
                  <a:cubicBezTo>
                    <a:pt x="1701" y="3477"/>
                    <a:pt x="1701" y="3477"/>
                    <a:pt x="1701" y="3477"/>
                  </a:cubicBezTo>
                  <a:cubicBezTo>
                    <a:pt x="1701" y="3476"/>
                    <a:pt x="1701" y="3476"/>
                    <a:pt x="1701" y="3476"/>
                  </a:cubicBezTo>
                  <a:cubicBezTo>
                    <a:pt x="1701" y="3476"/>
                    <a:pt x="1701" y="3476"/>
                    <a:pt x="1701" y="3476"/>
                  </a:cubicBezTo>
                  <a:cubicBezTo>
                    <a:pt x="1701" y="3477"/>
                    <a:pt x="1701" y="3477"/>
                    <a:pt x="1701" y="3477"/>
                  </a:cubicBezTo>
                  <a:cubicBezTo>
                    <a:pt x="1701" y="3476"/>
                    <a:pt x="1701" y="3476"/>
                    <a:pt x="1701" y="3476"/>
                  </a:cubicBezTo>
                  <a:cubicBezTo>
                    <a:pt x="1701" y="3476"/>
                    <a:pt x="1701" y="3476"/>
                    <a:pt x="1701" y="3476"/>
                  </a:cubicBezTo>
                  <a:cubicBezTo>
                    <a:pt x="1700" y="3476"/>
                    <a:pt x="1699" y="3476"/>
                    <a:pt x="1698" y="3476"/>
                  </a:cubicBezTo>
                  <a:cubicBezTo>
                    <a:pt x="1696" y="3476"/>
                    <a:pt x="1695" y="3476"/>
                    <a:pt x="1692" y="3476"/>
                  </a:cubicBezTo>
                  <a:cubicBezTo>
                    <a:pt x="1691" y="3477"/>
                    <a:pt x="1689" y="3478"/>
                    <a:pt x="1688" y="3479"/>
                  </a:cubicBezTo>
                  <a:cubicBezTo>
                    <a:pt x="1685" y="3481"/>
                    <a:pt x="1684" y="3483"/>
                    <a:pt x="1683" y="3485"/>
                  </a:cubicBezTo>
                  <a:cubicBezTo>
                    <a:pt x="1682" y="3487"/>
                    <a:pt x="1682" y="3489"/>
                    <a:pt x="1681" y="3490"/>
                  </a:cubicBezTo>
                  <a:cubicBezTo>
                    <a:pt x="1679" y="3504"/>
                    <a:pt x="1676" y="3518"/>
                    <a:pt x="1673" y="3532"/>
                  </a:cubicBezTo>
                  <a:cubicBezTo>
                    <a:pt x="1673" y="3533"/>
                    <a:pt x="1673" y="3533"/>
                    <a:pt x="1673" y="3533"/>
                  </a:cubicBezTo>
                  <a:cubicBezTo>
                    <a:pt x="1673" y="3532"/>
                    <a:pt x="1673" y="3532"/>
                    <a:pt x="1673" y="3532"/>
                  </a:cubicBezTo>
                  <a:cubicBezTo>
                    <a:pt x="1673" y="3534"/>
                    <a:pt x="1672" y="3536"/>
                    <a:pt x="1672" y="3536"/>
                  </a:cubicBezTo>
                  <a:cubicBezTo>
                    <a:pt x="1672" y="3537"/>
                    <a:pt x="1672" y="3537"/>
                    <a:pt x="1672" y="3537"/>
                  </a:cubicBezTo>
                  <a:cubicBezTo>
                    <a:pt x="1672" y="3537"/>
                    <a:pt x="1672" y="3537"/>
                    <a:pt x="1672" y="3537"/>
                  </a:cubicBezTo>
                  <a:cubicBezTo>
                    <a:pt x="1676" y="3538"/>
                    <a:pt x="1676" y="3538"/>
                    <a:pt x="1676" y="3538"/>
                  </a:cubicBezTo>
                  <a:cubicBezTo>
                    <a:pt x="1673" y="3536"/>
                    <a:pt x="1673" y="3536"/>
                    <a:pt x="1673" y="3536"/>
                  </a:cubicBezTo>
                  <a:cubicBezTo>
                    <a:pt x="1672" y="3536"/>
                    <a:pt x="1672" y="3537"/>
                    <a:pt x="1672" y="3537"/>
                  </a:cubicBezTo>
                  <a:cubicBezTo>
                    <a:pt x="1676" y="3538"/>
                    <a:pt x="1676" y="3538"/>
                    <a:pt x="1676" y="3538"/>
                  </a:cubicBezTo>
                  <a:cubicBezTo>
                    <a:pt x="1673" y="3536"/>
                    <a:pt x="1673" y="3536"/>
                    <a:pt x="1673" y="3536"/>
                  </a:cubicBezTo>
                  <a:cubicBezTo>
                    <a:pt x="1678" y="3540"/>
                    <a:pt x="1678" y="3540"/>
                    <a:pt x="1678" y="3540"/>
                  </a:cubicBezTo>
                  <a:cubicBezTo>
                    <a:pt x="1676" y="3534"/>
                    <a:pt x="1676" y="3534"/>
                    <a:pt x="1676" y="3534"/>
                  </a:cubicBezTo>
                  <a:cubicBezTo>
                    <a:pt x="1674" y="3534"/>
                    <a:pt x="1673" y="3535"/>
                    <a:pt x="1673" y="3536"/>
                  </a:cubicBezTo>
                  <a:cubicBezTo>
                    <a:pt x="1678" y="3540"/>
                    <a:pt x="1678" y="3540"/>
                    <a:pt x="1678" y="3540"/>
                  </a:cubicBezTo>
                  <a:cubicBezTo>
                    <a:pt x="1676" y="3534"/>
                    <a:pt x="1676" y="3534"/>
                    <a:pt x="1676" y="3534"/>
                  </a:cubicBezTo>
                  <a:cubicBezTo>
                    <a:pt x="1678" y="3539"/>
                    <a:pt x="1678" y="3539"/>
                    <a:pt x="1678" y="3539"/>
                  </a:cubicBezTo>
                  <a:cubicBezTo>
                    <a:pt x="1677" y="3533"/>
                    <a:pt x="1677" y="3533"/>
                    <a:pt x="1677" y="3533"/>
                  </a:cubicBezTo>
                  <a:cubicBezTo>
                    <a:pt x="1677" y="3533"/>
                    <a:pt x="1676" y="3533"/>
                    <a:pt x="1676" y="3534"/>
                  </a:cubicBezTo>
                  <a:cubicBezTo>
                    <a:pt x="1678" y="3539"/>
                    <a:pt x="1678" y="3539"/>
                    <a:pt x="1678" y="3539"/>
                  </a:cubicBezTo>
                  <a:cubicBezTo>
                    <a:pt x="1677" y="3533"/>
                    <a:pt x="1677" y="3533"/>
                    <a:pt x="1677" y="3533"/>
                  </a:cubicBezTo>
                  <a:cubicBezTo>
                    <a:pt x="1677" y="3536"/>
                    <a:pt x="1677" y="3536"/>
                    <a:pt x="1677" y="3536"/>
                  </a:cubicBezTo>
                  <a:cubicBezTo>
                    <a:pt x="1677" y="3533"/>
                    <a:pt x="1677" y="3533"/>
                    <a:pt x="1677" y="3533"/>
                  </a:cubicBezTo>
                  <a:cubicBezTo>
                    <a:pt x="1677" y="3533"/>
                    <a:pt x="1677" y="3533"/>
                    <a:pt x="1677" y="3533"/>
                  </a:cubicBezTo>
                  <a:cubicBezTo>
                    <a:pt x="1677" y="3536"/>
                    <a:pt x="1677" y="3536"/>
                    <a:pt x="1677" y="3536"/>
                  </a:cubicBezTo>
                  <a:cubicBezTo>
                    <a:pt x="1677" y="3533"/>
                    <a:pt x="1677" y="3533"/>
                    <a:pt x="1677" y="3533"/>
                  </a:cubicBezTo>
                  <a:cubicBezTo>
                    <a:pt x="1677" y="3533"/>
                    <a:pt x="1676" y="3533"/>
                    <a:pt x="1673" y="3532"/>
                  </a:cubicBezTo>
                  <a:cubicBezTo>
                    <a:pt x="1647" y="3527"/>
                    <a:pt x="1620" y="3521"/>
                    <a:pt x="1594" y="3515"/>
                  </a:cubicBezTo>
                  <a:cubicBezTo>
                    <a:pt x="1594" y="3515"/>
                    <a:pt x="1594" y="3515"/>
                    <a:pt x="1594" y="3515"/>
                  </a:cubicBezTo>
                  <a:cubicBezTo>
                    <a:pt x="1592" y="3514"/>
                    <a:pt x="1591" y="3514"/>
                    <a:pt x="1591" y="3514"/>
                  </a:cubicBezTo>
                  <a:cubicBezTo>
                    <a:pt x="1590" y="3514"/>
                    <a:pt x="1590" y="3514"/>
                    <a:pt x="1590" y="3514"/>
                  </a:cubicBezTo>
                  <a:cubicBezTo>
                    <a:pt x="1589" y="3517"/>
                    <a:pt x="1589" y="3517"/>
                    <a:pt x="1589" y="3517"/>
                  </a:cubicBezTo>
                  <a:cubicBezTo>
                    <a:pt x="1591" y="3514"/>
                    <a:pt x="1591" y="3514"/>
                    <a:pt x="1591" y="3514"/>
                  </a:cubicBezTo>
                  <a:cubicBezTo>
                    <a:pt x="1591" y="3514"/>
                    <a:pt x="1590" y="3514"/>
                    <a:pt x="1590" y="3514"/>
                  </a:cubicBezTo>
                  <a:cubicBezTo>
                    <a:pt x="1589" y="3517"/>
                    <a:pt x="1589" y="3517"/>
                    <a:pt x="1589" y="3517"/>
                  </a:cubicBezTo>
                  <a:cubicBezTo>
                    <a:pt x="1591" y="3514"/>
                    <a:pt x="1591" y="3514"/>
                    <a:pt x="1591" y="3514"/>
                  </a:cubicBezTo>
                  <a:cubicBezTo>
                    <a:pt x="1587" y="3519"/>
                    <a:pt x="1587" y="3519"/>
                    <a:pt x="1587" y="3519"/>
                  </a:cubicBezTo>
                  <a:cubicBezTo>
                    <a:pt x="1593" y="3517"/>
                    <a:pt x="1593" y="3517"/>
                    <a:pt x="1593" y="3517"/>
                  </a:cubicBezTo>
                  <a:cubicBezTo>
                    <a:pt x="1593" y="3516"/>
                    <a:pt x="1592" y="3515"/>
                    <a:pt x="1591" y="3514"/>
                  </a:cubicBezTo>
                  <a:cubicBezTo>
                    <a:pt x="1587" y="3519"/>
                    <a:pt x="1587" y="3519"/>
                    <a:pt x="1587" y="3519"/>
                  </a:cubicBezTo>
                  <a:cubicBezTo>
                    <a:pt x="1593" y="3517"/>
                    <a:pt x="1593" y="3517"/>
                    <a:pt x="1593" y="3517"/>
                  </a:cubicBezTo>
                  <a:cubicBezTo>
                    <a:pt x="1589" y="3518"/>
                    <a:pt x="1589" y="3518"/>
                    <a:pt x="1589" y="3518"/>
                  </a:cubicBezTo>
                  <a:cubicBezTo>
                    <a:pt x="1593" y="3518"/>
                    <a:pt x="1593" y="3518"/>
                    <a:pt x="1593" y="3518"/>
                  </a:cubicBezTo>
                  <a:cubicBezTo>
                    <a:pt x="1593" y="3517"/>
                    <a:pt x="1593" y="3517"/>
                    <a:pt x="1593" y="3517"/>
                  </a:cubicBezTo>
                  <a:cubicBezTo>
                    <a:pt x="1589" y="3518"/>
                    <a:pt x="1589" y="3518"/>
                    <a:pt x="1589" y="3518"/>
                  </a:cubicBezTo>
                  <a:cubicBezTo>
                    <a:pt x="1593" y="3518"/>
                    <a:pt x="1593" y="3518"/>
                    <a:pt x="1593" y="3518"/>
                  </a:cubicBezTo>
                  <a:cubicBezTo>
                    <a:pt x="1592" y="3518"/>
                    <a:pt x="1592" y="3518"/>
                    <a:pt x="1592" y="3518"/>
                  </a:cubicBezTo>
                  <a:cubicBezTo>
                    <a:pt x="1593" y="3518"/>
                    <a:pt x="1593" y="3518"/>
                    <a:pt x="1593" y="3518"/>
                  </a:cubicBezTo>
                  <a:cubicBezTo>
                    <a:pt x="1593" y="3518"/>
                    <a:pt x="1593" y="3518"/>
                    <a:pt x="1593" y="3518"/>
                  </a:cubicBezTo>
                  <a:cubicBezTo>
                    <a:pt x="1592" y="3518"/>
                    <a:pt x="1592" y="3518"/>
                    <a:pt x="1592" y="3518"/>
                  </a:cubicBezTo>
                  <a:cubicBezTo>
                    <a:pt x="1593" y="3518"/>
                    <a:pt x="1593" y="3518"/>
                    <a:pt x="1593" y="3518"/>
                  </a:cubicBezTo>
                  <a:cubicBezTo>
                    <a:pt x="1593" y="3518"/>
                    <a:pt x="1593" y="3518"/>
                    <a:pt x="1593" y="3518"/>
                  </a:cubicBezTo>
                  <a:cubicBezTo>
                    <a:pt x="1593" y="3517"/>
                    <a:pt x="1593" y="3517"/>
                    <a:pt x="1593" y="3517"/>
                  </a:cubicBezTo>
                  <a:cubicBezTo>
                    <a:pt x="1593" y="3517"/>
                    <a:pt x="1593" y="3516"/>
                    <a:pt x="1593" y="3514"/>
                  </a:cubicBezTo>
                  <a:cubicBezTo>
                    <a:pt x="1593" y="3514"/>
                    <a:pt x="1593" y="3514"/>
                    <a:pt x="1593" y="3514"/>
                  </a:cubicBezTo>
                  <a:cubicBezTo>
                    <a:pt x="1596" y="3499"/>
                    <a:pt x="1598" y="3485"/>
                    <a:pt x="1601" y="3470"/>
                  </a:cubicBezTo>
                  <a:cubicBezTo>
                    <a:pt x="1601" y="3470"/>
                    <a:pt x="1601" y="3470"/>
                    <a:pt x="1601" y="3470"/>
                  </a:cubicBezTo>
                  <a:cubicBezTo>
                    <a:pt x="1601" y="3470"/>
                    <a:pt x="1601" y="3470"/>
                    <a:pt x="1601" y="3470"/>
                  </a:cubicBezTo>
                  <a:cubicBezTo>
                    <a:pt x="1601" y="3469"/>
                    <a:pt x="1601" y="3467"/>
                    <a:pt x="1602" y="3465"/>
                  </a:cubicBezTo>
                  <a:cubicBezTo>
                    <a:pt x="1602" y="3464"/>
                    <a:pt x="1601" y="3462"/>
                    <a:pt x="1601" y="3459"/>
                  </a:cubicBezTo>
                  <a:cubicBezTo>
                    <a:pt x="1600" y="3458"/>
                    <a:pt x="1599" y="3456"/>
                    <a:pt x="1598" y="3455"/>
                  </a:cubicBezTo>
                  <a:cubicBezTo>
                    <a:pt x="1596" y="3453"/>
                    <a:pt x="1594" y="3452"/>
                    <a:pt x="1592" y="3451"/>
                  </a:cubicBezTo>
                  <a:cubicBezTo>
                    <a:pt x="1591" y="3450"/>
                    <a:pt x="1589" y="3450"/>
                    <a:pt x="1588" y="3450"/>
                  </a:cubicBezTo>
                  <a:cubicBezTo>
                    <a:pt x="1588" y="3450"/>
                    <a:pt x="1588" y="3450"/>
                    <a:pt x="1588" y="3450"/>
                  </a:cubicBezTo>
                  <a:cubicBezTo>
                    <a:pt x="1577" y="3447"/>
                    <a:pt x="1566" y="3444"/>
                    <a:pt x="1554" y="3442"/>
                  </a:cubicBezTo>
                  <a:cubicBezTo>
                    <a:pt x="1554" y="3442"/>
                    <a:pt x="1554" y="3442"/>
                    <a:pt x="1554" y="3442"/>
                  </a:cubicBezTo>
                  <a:cubicBezTo>
                    <a:pt x="1538" y="3438"/>
                    <a:pt x="1521" y="3435"/>
                    <a:pt x="1506" y="3432"/>
                  </a:cubicBezTo>
                  <a:cubicBezTo>
                    <a:pt x="1505" y="3431"/>
                    <a:pt x="1505" y="3431"/>
                    <a:pt x="1505" y="3431"/>
                  </a:cubicBezTo>
                  <a:cubicBezTo>
                    <a:pt x="1506" y="3432"/>
                    <a:pt x="1506" y="3432"/>
                    <a:pt x="1506" y="3432"/>
                  </a:cubicBezTo>
                  <a:cubicBezTo>
                    <a:pt x="1504" y="3431"/>
                    <a:pt x="1502" y="3431"/>
                    <a:pt x="1500" y="3431"/>
                  </a:cubicBezTo>
                  <a:cubicBezTo>
                    <a:pt x="1498" y="3431"/>
                    <a:pt x="1495" y="3431"/>
                    <a:pt x="1493" y="3432"/>
                  </a:cubicBezTo>
                  <a:cubicBezTo>
                    <a:pt x="1491" y="3433"/>
                    <a:pt x="1489" y="3435"/>
                    <a:pt x="1488" y="3436"/>
                  </a:cubicBezTo>
                  <a:cubicBezTo>
                    <a:pt x="1486" y="3438"/>
                    <a:pt x="1485" y="3440"/>
                    <a:pt x="1485" y="3442"/>
                  </a:cubicBezTo>
                  <a:cubicBezTo>
                    <a:pt x="1484" y="3443"/>
                    <a:pt x="1484" y="3445"/>
                    <a:pt x="1484" y="3446"/>
                  </a:cubicBezTo>
                  <a:cubicBezTo>
                    <a:pt x="1484" y="3445"/>
                    <a:pt x="1484" y="3445"/>
                    <a:pt x="1484" y="3445"/>
                  </a:cubicBezTo>
                  <a:cubicBezTo>
                    <a:pt x="1482" y="3455"/>
                    <a:pt x="1480" y="3464"/>
                    <a:pt x="1478" y="3473"/>
                  </a:cubicBezTo>
                  <a:cubicBezTo>
                    <a:pt x="1478" y="3473"/>
                    <a:pt x="1478" y="3473"/>
                    <a:pt x="1478" y="3473"/>
                  </a:cubicBezTo>
                  <a:cubicBezTo>
                    <a:pt x="1477" y="3480"/>
                    <a:pt x="1476" y="3486"/>
                    <a:pt x="1474" y="3492"/>
                  </a:cubicBezTo>
                  <a:cubicBezTo>
                    <a:pt x="1474" y="3492"/>
                    <a:pt x="1474" y="3492"/>
                    <a:pt x="1474" y="3492"/>
                  </a:cubicBezTo>
                  <a:cubicBezTo>
                    <a:pt x="1474" y="3492"/>
                    <a:pt x="1474" y="3492"/>
                    <a:pt x="1474" y="3492"/>
                  </a:cubicBezTo>
                  <a:cubicBezTo>
                    <a:pt x="1474" y="3492"/>
                    <a:pt x="1474" y="3493"/>
                    <a:pt x="1474" y="3493"/>
                  </a:cubicBezTo>
                  <a:cubicBezTo>
                    <a:pt x="1474" y="3493"/>
                    <a:pt x="1474" y="3493"/>
                    <a:pt x="1474" y="3493"/>
                  </a:cubicBezTo>
                  <a:cubicBezTo>
                    <a:pt x="1477" y="3495"/>
                    <a:pt x="1477" y="3495"/>
                    <a:pt x="1477" y="3495"/>
                  </a:cubicBezTo>
                  <a:cubicBezTo>
                    <a:pt x="1474" y="3492"/>
                    <a:pt x="1474" y="3492"/>
                    <a:pt x="1474" y="3492"/>
                  </a:cubicBezTo>
                  <a:cubicBezTo>
                    <a:pt x="1474" y="3493"/>
                    <a:pt x="1474" y="3493"/>
                    <a:pt x="1474" y="3493"/>
                  </a:cubicBezTo>
                  <a:cubicBezTo>
                    <a:pt x="1477" y="3495"/>
                    <a:pt x="1477" y="3495"/>
                    <a:pt x="1477" y="3495"/>
                  </a:cubicBezTo>
                  <a:cubicBezTo>
                    <a:pt x="1474" y="3492"/>
                    <a:pt x="1474" y="3492"/>
                    <a:pt x="1474" y="3492"/>
                  </a:cubicBezTo>
                  <a:cubicBezTo>
                    <a:pt x="1480" y="3497"/>
                    <a:pt x="1480" y="3497"/>
                    <a:pt x="1480" y="3497"/>
                  </a:cubicBezTo>
                  <a:cubicBezTo>
                    <a:pt x="1477" y="3490"/>
                    <a:pt x="1477" y="3490"/>
                    <a:pt x="1477" y="3490"/>
                  </a:cubicBezTo>
                  <a:cubicBezTo>
                    <a:pt x="1476" y="3491"/>
                    <a:pt x="1475" y="3492"/>
                    <a:pt x="1474" y="3492"/>
                  </a:cubicBezTo>
                  <a:cubicBezTo>
                    <a:pt x="1480" y="3497"/>
                    <a:pt x="1480" y="3497"/>
                    <a:pt x="1480" y="3497"/>
                  </a:cubicBezTo>
                  <a:cubicBezTo>
                    <a:pt x="1477" y="3490"/>
                    <a:pt x="1477" y="3490"/>
                    <a:pt x="1477" y="3490"/>
                  </a:cubicBezTo>
                  <a:cubicBezTo>
                    <a:pt x="1479" y="3495"/>
                    <a:pt x="1479" y="3495"/>
                    <a:pt x="1479" y="3495"/>
                  </a:cubicBezTo>
                  <a:cubicBezTo>
                    <a:pt x="1479" y="3490"/>
                    <a:pt x="1479" y="3490"/>
                    <a:pt x="1479" y="3490"/>
                  </a:cubicBezTo>
                  <a:cubicBezTo>
                    <a:pt x="1479" y="3490"/>
                    <a:pt x="1478" y="3490"/>
                    <a:pt x="1477" y="3490"/>
                  </a:cubicBezTo>
                  <a:cubicBezTo>
                    <a:pt x="1479" y="3495"/>
                    <a:pt x="1479" y="3495"/>
                    <a:pt x="1479" y="3495"/>
                  </a:cubicBezTo>
                  <a:cubicBezTo>
                    <a:pt x="1479" y="3490"/>
                    <a:pt x="1479" y="3490"/>
                    <a:pt x="1479" y="3490"/>
                  </a:cubicBezTo>
                  <a:cubicBezTo>
                    <a:pt x="1478" y="3490"/>
                    <a:pt x="1478" y="3490"/>
                    <a:pt x="1478" y="3490"/>
                  </a:cubicBezTo>
                  <a:cubicBezTo>
                    <a:pt x="1478" y="3490"/>
                    <a:pt x="1478" y="3490"/>
                    <a:pt x="1477" y="3490"/>
                  </a:cubicBezTo>
                  <a:cubicBezTo>
                    <a:pt x="1477" y="3490"/>
                    <a:pt x="1477" y="3490"/>
                    <a:pt x="1477" y="3490"/>
                  </a:cubicBezTo>
                  <a:cubicBezTo>
                    <a:pt x="1457" y="3486"/>
                    <a:pt x="1438" y="3482"/>
                    <a:pt x="1419" y="3477"/>
                  </a:cubicBezTo>
                  <a:cubicBezTo>
                    <a:pt x="1417" y="3477"/>
                    <a:pt x="1415" y="3477"/>
                    <a:pt x="1413" y="3477"/>
                  </a:cubicBezTo>
                  <a:cubicBezTo>
                    <a:pt x="1411" y="3477"/>
                    <a:pt x="1409" y="3477"/>
                    <a:pt x="1407" y="3478"/>
                  </a:cubicBezTo>
                  <a:cubicBezTo>
                    <a:pt x="1405" y="3478"/>
                    <a:pt x="1403" y="3479"/>
                    <a:pt x="1402" y="3481"/>
                  </a:cubicBezTo>
                  <a:cubicBezTo>
                    <a:pt x="1400" y="3482"/>
                    <a:pt x="1399" y="3484"/>
                    <a:pt x="1398" y="3486"/>
                  </a:cubicBezTo>
                  <a:cubicBezTo>
                    <a:pt x="1397" y="3488"/>
                    <a:pt x="1397" y="3489"/>
                    <a:pt x="1396" y="3490"/>
                  </a:cubicBezTo>
                  <a:cubicBezTo>
                    <a:pt x="1396" y="3491"/>
                    <a:pt x="1396" y="3491"/>
                    <a:pt x="1396" y="3491"/>
                  </a:cubicBezTo>
                  <a:cubicBezTo>
                    <a:pt x="1393" y="3504"/>
                    <a:pt x="1390" y="3517"/>
                    <a:pt x="1387" y="3530"/>
                  </a:cubicBezTo>
                  <a:cubicBezTo>
                    <a:pt x="1387" y="3531"/>
                    <a:pt x="1387" y="3531"/>
                    <a:pt x="1387" y="3531"/>
                  </a:cubicBezTo>
                  <a:cubicBezTo>
                    <a:pt x="1387" y="3530"/>
                    <a:pt x="1387" y="3530"/>
                    <a:pt x="1387" y="3530"/>
                  </a:cubicBezTo>
                  <a:cubicBezTo>
                    <a:pt x="1387" y="3533"/>
                    <a:pt x="1387" y="3535"/>
                    <a:pt x="1386" y="3535"/>
                  </a:cubicBezTo>
                  <a:cubicBezTo>
                    <a:pt x="1386" y="3535"/>
                    <a:pt x="1386" y="3535"/>
                    <a:pt x="1386" y="3535"/>
                  </a:cubicBezTo>
                  <a:cubicBezTo>
                    <a:pt x="1386" y="3536"/>
                    <a:pt x="1386" y="3537"/>
                    <a:pt x="1386" y="3537"/>
                  </a:cubicBezTo>
                  <a:cubicBezTo>
                    <a:pt x="1386" y="3537"/>
                    <a:pt x="1386" y="3537"/>
                    <a:pt x="1386" y="3537"/>
                  </a:cubicBezTo>
                  <a:cubicBezTo>
                    <a:pt x="1387" y="3538"/>
                    <a:pt x="1387" y="3538"/>
                    <a:pt x="1387" y="3538"/>
                  </a:cubicBezTo>
                  <a:cubicBezTo>
                    <a:pt x="1386" y="3537"/>
                    <a:pt x="1386" y="3537"/>
                    <a:pt x="1386" y="3537"/>
                  </a:cubicBezTo>
                  <a:cubicBezTo>
                    <a:pt x="1386" y="3537"/>
                    <a:pt x="1386" y="3537"/>
                    <a:pt x="1386" y="3537"/>
                  </a:cubicBezTo>
                  <a:cubicBezTo>
                    <a:pt x="1387" y="3538"/>
                    <a:pt x="1387" y="3538"/>
                    <a:pt x="1387" y="3538"/>
                  </a:cubicBezTo>
                  <a:cubicBezTo>
                    <a:pt x="1386" y="3537"/>
                    <a:pt x="1386" y="3537"/>
                    <a:pt x="1386" y="3537"/>
                  </a:cubicBezTo>
                  <a:cubicBezTo>
                    <a:pt x="1391" y="3540"/>
                    <a:pt x="1391" y="3540"/>
                    <a:pt x="1391" y="3540"/>
                  </a:cubicBezTo>
                  <a:cubicBezTo>
                    <a:pt x="1388" y="3535"/>
                    <a:pt x="1388" y="3535"/>
                    <a:pt x="1388" y="3535"/>
                  </a:cubicBezTo>
                  <a:cubicBezTo>
                    <a:pt x="1387" y="3536"/>
                    <a:pt x="1386" y="3537"/>
                    <a:pt x="1386" y="3537"/>
                  </a:cubicBezTo>
                  <a:cubicBezTo>
                    <a:pt x="1391" y="3540"/>
                    <a:pt x="1391" y="3540"/>
                    <a:pt x="1391" y="3540"/>
                  </a:cubicBezTo>
                  <a:cubicBezTo>
                    <a:pt x="1388" y="3535"/>
                    <a:pt x="1388" y="3535"/>
                    <a:pt x="1388" y="3535"/>
                  </a:cubicBezTo>
                  <a:cubicBezTo>
                    <a:pt x="1390" y="3540"/>
                    <a:pt x="1390" y="3540"/>
                    <a:pt x="1390" y="3540"/>
                  </a:cubicBezTo>
                  <a:cubicBezTo>
                    <a:pt x="1390" y="3534"/>
                    <a:pt x="1390" y="3534"/>
                    <a:pt x="1390" y="3534"/>
                  </a:cubicBezTo>
                  <a:cubicBezTo>
                    <a:pt x="1390" y="3534"/>
                    <a:pt x="1389" y="3534"/>
                    <a:pt x="1388" y="3535"/>
                  </a:cubicBezTo>
                  <a:cubicBezTo>
                    <a:pt x="1390" y="3540"/>
                    <a:pt x="1390" y="3540"/>
                    <a:pt x="1390" y="3540"/>
                  </a:cubicBezTo>
                  <a:cubicBezTo>
                    <a:pt x="1390" y="3534"/>
                    <a:pt x="1390" y="3534"/>
                    <a:pt x="1390" y="3534"/>
                  </a:cubicBezTo>
                  <a:cubicBezTo>
                    <a:pt x="1390" y="3536"/>
                    <a:pt x="1390" y="3536"/>
                    <a:pt x="1390" y="3536"/>
                  </a:cubicBezTo>
                  <a:cubicBezTo>
                    <a:pt x="1390" y="3534"/>
                    <a:pt x="1390" y="3534"/>
                    <a:pt x="1390" y="3534"/>
                  </a:cubicBezTo>
                  <a:cubicBezTo>
                    <a:pt x="1390" y="3534"/>
                    <a:pt x="1390" y="3534"/>
                    <a:pt x="1390" y="3534"/>
                  </a:cubicBezTo>
                  <a:cubicBezTo>
                    <a:pt x="1390" y="3536"/>
                    <a:pt x="1390" y="3536"/>
                    <a:pt x="1390" y="3536"/>
                  </a:cubicBezTo>
                  <a:cubicBezTo>
                    <a:pt x="1390" y="3534"/>
                    <a:pt x="1390" y="3534"/>
                    <a:pt x="1390" y="3534"/>
                  </a:cubicBezTo>
                  <a:cubicBezTo>
                    <a:pt x="1390" y="3534"/>
                    <a:pt x="1390" y="3534"/>
                    <a:pt x="1390" y="3534"/>
                  </a:cubicBezTo>
                  <a:cubicBezTo>
                    <a:pt x="1390" y="3534"/>
                    <a:pt x="1389" y="3534"/>
                    <a:pt x="1389" y="3534"/>
                  </a:cubicBezTo>
                  <a:cubicBezTo>
                    <a:pt x="1389" y="3534"/>
                    <a:pt x="1389" y="3534"/>
                    <a:pt x="1389" y="3534"/>
                  </a:cubicBezTo>
                  <a:cubicBezTo>
                    <a:pt x="1389" y="3534"/>
                    <a:pt x="1389" y="3534"/>
                    <a:pt x="1389" y="3534"/>
                  </a:cubicBezTo>
                  <a:cubicBezTo>
                    <a:pt x="1366" y="3529"/>
                    <a:pt x="1344" y="3524"/>
                    <a:pt x="1321" y="3519"/>
                  </a:cubicBezTo>
                  <a:cubicBezTo>
                    <a:pt x="1321" y="3519"/>
                    <a:pt x="1321" y="3519"/>
                    <a:pt x="1321" y="3519"/>
                  </a:cubicBezTo>
                  <a:cubicBezTo>
                    <a:pt x="1319" y="3518"/>
                    <a:pt x="1317" y="3518"/>
                    <a:pt x="1315" y="3517"/>
                  </a:cubicBezTo>
                  <a:cubicBezTo>
                    <a:pt x="1313" y="3517"/>
                    <a:pt x="1311" y="3516"/>
                    <a:pt x="1308" y="3516"/>
                  </a:cubicBezTo>
                  <a:cubicBezTo>
                    <a:pt x="1307" y="3516"/>
                    <a:pt x="1306" y="3517"/>
                    <a:pt x="1304" y="3517"/>
                  </a:cubicBezTo>
                  <a:cubicBezTo>
                    <a:pt x="1303" y="3517"/>
                    <a:pt x="1301" y="3518"/>
                    <a:pt x="1300" y="3519"/>
                  </a:cubicBezTo>
                  <a:cubicBezTo>
                    <a:pt x="1298" y="3520"/>
                    <a:pt x="1296" y="3522"/>
                    <a:pt x="1294" y="3524"/>
                  </a:cubicBezTo>
                  <a:cubicBezTo>
                    <a:pt x="1292" y="3527"/>
                    <a:pt x="1292" y="3529"/>
                    <a:pt x="1291" y="3531"/>
                  </a:cubicBezTo>
                  <a:cubicBezTo>
                    <a:pt x="1291" y="3534"/>
                    <a:pt x="1290" y="3536"/>
                    <a:pt x="1290" y="3539"/>
                  </a:cubicBezTo>
                  <a:cubicBezTo>
                    <a:pt x="1284" y="3568"/>
                    <a:pt x="1278" y="3597"/>
                    <a:pt x="1273" y="3625"/>
                  </a:cubicBezTo>
                  <a:cubicBezTo>
                    <a:pt x="1272" y="3628"/>
                    <a:pt x="1272" y="3630"/>
                    <a:pt x="1272" y="3632"/>
                  </a:cubicBezTo>
                  <a:cubicBezTo>
                    <a:pt x="1272" y="3634"/>
                    <a:pt x="1272" y="3636"/>
                    <a:pt x="1273" y="3639"/>
                  </a:cubicBezTo>
                  <a:cubicBezTo>
                    <a:pt x="1274" y="3641"/>
                    <a:pt x="1275" y="3642"/>
                    <a:pt x="1276" y="3644"/>
                  </a:cubicBezTo>
                  <a:cubicBezTo>
                    <a:pt x="1279" y="3646"/>
                    <a:pt x="1281" y="3647"/>
                    <a:pt x="1283" y="3648"/>
                  </a:cubicBezTo>
                  <a:cubicBezTo>
                    <a:pt x="1285" y="3648"/>
                    <a:pt x="1286" y="3649"/>
                    <a:pt x="1288" y="3649"/>
                  </a:cubicBezTo>
                  <a:cubicBezTo>
                    <a:pt x="1288" y="3649"/>
                    <a:pt x="1288" y="3649"/>
                    <a:pt x="1288" y="3649"/>
                  </a:cubicBezTo>
                  <a:cubicBezTo>
                    <a:pt x="1300" y="3652"/>
                    <a:pt x="1312" y="3654"/>
                    <a:pt x="1324" y="3656"/>
                  </a:cubicBezTo>
                  <a:cubicBezTo>
                    <a:pt x="1324" y="3656"/>
                    <a:pt x="1324" y="3656"/>
                    <a:pt x="1324" y="3656"/>
                  </a:cubicBezTo>
                  <a:cubicBezTo>
                    <a:pt x="1331" y="3658"/>
                    <a:pt x="1339" y="3659"/>
                    <a:pt x="1346" y="3661"/>
                  </a:cubicBezTo>
                  <a:cubicBezTo>
                    <a:pt x="1346" y="3661"/>
                    <a:pt x="1346" y="3661"/>
                    <a:pt x="1346" y="3661"/>
                  </a:cubicBezTo>
                  <a:cubicBezTo>
                    <a:pt x="1346" y="3660"/>
                    <a:pt x="1346" y="3660"/>
                    <a:pt x="1346" y="3660"/>
                  </a:cubicBezTo>
                  <a:cubicBezTo>
                    <a:pt x="1346" y="3661"/>
                    <a:pt x="1346" y="3661"/>
                    <a:pt x="1346" y="3661"/>
                  </a:cubicBezTo>
                  <a:cubicBezTo>
                    <a:pt x="1346" y="3661"/>
                    <a:pt x="1346" y="3661"/>
                    <a:pt x="1346" y="3661"/>
                  </a:cubicBezTo>
                  <a:cubicBezTo>
                    <a:pt x="1346" y="3660"/>
                    <a:pt x="1346" y="3660"/>
                    <a:pt x="1346" y="3660"/>
                  </a:cubicBezTo>
                  <a:cubicBezTo>
                    <a:pt x="1346" y="3661"/>
                    <a:pt x="1346" y="3661"/>
                    <a:pt x="1346" y="3661"/>
                  </a:cubicBezTo>
                  <a:cubicBezTo>
                    <a:pt x="1348" y="3657"/>
                    <a:pt x="1348" y="3657"/>
                    <a:pt x="1348" y="3657"/>
                  </a:cubicBezTo>
                  <a:cubicBezTo>
                    <a:pt x="1345" y="3659"/>
                    <a:pt x="1345" y="3659"/>
                    <a:pt x="1345" y="3659"/>
                  </a:cubicBezTo>
                  <a:cubicBezTo>
                    <a:pt x="1345" y="3660"/>
                    <a:pt x="1346" y="3661"/>
                    <a:pt x="1346" y="3661"/>
                  </a:cubicBezTo>
                  <a:cubicBezTo>
                    <a:pt x="1348" y="3657"/>
                    <a:pt x="1348" y="3657"/>
                    <a:pt x="1348" y="3657"/>
                  </a:cubicBezTo>
                  <a:cubicBezTo>
                    <a:pt x="1345" y="3659"/>
                    <a:pt x="1345" y="3659"/>
                    <a:pt x="1345" y="3659"/>
                  </a:cubicBezTo>
                  <a:cubicBezTo>
                    <a:pt x="1348" y="3657"/>
                    <a:pt x="1348" y="3657"/>
                    <a:pt x="1348" y="3657"/>
                  </a:cubicBezTo>
                  <a:cubicBezTo>
                    <a:pt x="1344" y="3657"/>
                    <a:pt x="1344" y="3657"/>
                    <a:pt x="1344" y="3657"/>
                  </a:cubicBezTo>
                  <a:cubicBezTo>
                    <a:pt x="1344" y="3657"/>
                    <a:pt x="1344" y="3658"/>
                    <a:pt x="1345" y="3659"/>
                  </a:cubicBezTo>
                  <a:cubicBezTo>
                    <a:pt x="1348" y="3657"/>
                    <a:pt x="1348" y="3657"/>
                    <a:pt x="1348" y="3657"/>
                  </a:cubicBezTo>
                  <a:cubicBezTo>
                    <a:pt x="1344" y="3657"/>
                    <a:pt x="1344" y="3657"/>
                    <a:pt x="1344" y="3657"/>
                  </a:cubicBezTo>
                  <a:cubicBezTo>
                    <a:pt x="1345" y="3657"/>
                    <a:pt x="1345" y="3657"/>
                    <a:pt x="1345" y="3657"/>
                  </a:cubicBezTo>
                  <a:cubicBezTo>
                    <a:pt x="1344" y="3657"/>
                    <a:pt x="1344" y="3657"/>
                    <a:pt x="1344" y="3657"/>
                  </a:cubicBezTo>
                  <a:cubicBezTo>
                    <a:pt x="1344" y="3657"/>
                    <a:pt x="1344" y="3657"/>
                    <a:pt x="1344" y="3657"/>
                  </a:cubicBezTo>
                  <a:cubicBezTo>
                    <a:pt x="1345" y="3657"/>
                    <a:pt x="1345" y="3657"/>
                    <a:pt x="1345" y="3657"/>
                  </a:cubicBezTo>
                  <a:cubicBezTo>
                    <a:pt x="1344" y="3657"/>
                    <a:pt x="1344" y="3657"/>
                    <a:pt x="1344" y="3657"/>
                  </a:cubicBezTo>
                  <a:cubicBezTo>
                    <a:pt x="1344" y="3657"/>
                    <a:pt x="1344" y="3657"/>
                    <a:pt x="1344" y="3657"/>
                  </a:cubicBezTo>
                  <a:cubicBezTo>
                    <a:pt x="1344" y="3657"/>
                    <a:pt x="1344" y="3657"/>
                    <a:pt x="1344" y="3657"/>
                  </a:cubicBezTo>
                  <a:cubicBezTo>
                    <a:pt x="1343" y="3663"/>
                    <a:pt x="1343" y="3669"/>
                    <a:pt x="1341" y="3674"/>
                  </a:cubicBezTo>
                  <a:cubicBezTo>
                    <a:pt x="1341" y="3674"/>
                    <a:pt x="1341" y="3674"/>
                    <a:pt x="1341" y="3674"/>
                  </a:cubicBezTo>
                  <a:cubicBezTo>
                    <a:pt x="1341" y="3675"/>
                    <a:pt x="1341" y="3677"/>
                    <a:pt x="1341" y="3679"/>
                  </a:cubicBezTo>
                  <a:cubicBezTo>
                    <a:pt x="1341" y="3681"/>
                    <a:pt x="1341" y="3683"/>
                    <a:pt x="1342" y="3686"/>
                  </a:cubicBezTo>
                  <a:cubicBezTo>
                    <a:pt x="1343" y="3687"/>
                    <a:pt x="1344" y="3689"/>
                    <a:pt x="1346" y="3690"/>
                  </a:cubicBezTo>
                  <a:cubicBezTo>
                    <a:pt x="1348" y="3692"/>
                    <a:pt x="1350" y="3693"/>
                    <a:pt x="1351" y="3694"/>
                  </a:cubicBezTo>
                  <a:cubicBezTo>
                    <a:pt x="1353" y="3695"/>
                    <a:pt x="1355" y="3695"/>
                    <a:pt x="1356" y="3695"/>
                  </a:cubicBezTo>
                  <a:cubicBezTo>
                    <a:pt x="1356" y="3695"/>
                    <a:pt x="1356" y="3695"/>
                    <a:pt x="1356" y="3695"/>
                  </a:cubicBezTo>
                  <a:cubicBezTo>
                    <a:pt x="1364" y="3697"/>
                    <a:pt x="1373" y="3699"/>
                    <a:pt x="1383" y="3702"/>
                  </a:cubicBezTo>
                  <a:cubicBezTo>
                    <a:pt x="1383" y="3702"/>
                    <a:pt x="1383" y="3702"/>
                    <a:pt x="1383" y="3702"/>
                  </a:cubicBezTo>
                  <a:cubicBezTo>
                    <a:pt x="1384" y="3702"/>
                    <a:pt x="1385" y="3702"/>
                    <a:pt x="1385" y="3702"/>
                  </a:cubicBezTo>
                  <a:cubicBezTo>
                    <a:pt x="1385" y="3702"/>
                    <a:pt x="1385" y="3702"/>
                    <a:pt x="1385" y="3702"/>
                  </a:cubicBezTo>
                  <a:cubicBezTo>
                    <a:pt x="1387" y="3699"/>
                    <a:pt x="1387" y="3699"/>
                    <a:pt x="1387" y="3699"/>
                  </a:cubicBezTo>
                  <a:cubicBezTo>
                    <a:pt x="1385" y="3702"/>
                    <a:pt x="1385" y="3702"/>
                    <a:pt x="1385" y="3702"/>
                  </a:cubicBezTo>
                  <a:cubicBezTo>
                    <a:pt x="1385" y="3702"/>
                    <a:pt x="1385" y="3702"/>
                    <a:pt x="1385" y="3702"/>
                  </a:cubicBezTo>
                  <a:cubicBezTo>
                    <a:pt x="1387" y="3699"/>
                    <a:pt x="1387" y="3699"/>
                    <a:pt x="1387" y="3699"/>
                  </a:cubicBezTo>
                  <a:cubicBezTo>
                    <a:pt x="1385" y="3702"/>
                    <a:pt x="1385" y="3702"/>
                    <a:pt x="1385" y="3702"/>
                  </a:cubicBezTo>
                  <a:cubicBezTo>
                    <a:pt x="1388" y="3697"/>
                    <a:pt x="1388" y="3697"/>
                    <a:pt x="1388" y="3697"/>
                  </a:cubicBezTo>
                  <a:cubicBezTo>
                    <a:pt x="1383" y="3699"/>
                    <a:pt x="1383" y="3699"/>
                    <a:pt x="1383" y="3699"/>
                  </a:cubicBezTo>
                  <a:cubicBezTo>
                    <a:pt x="1383" y="3700"/>
                    <a:pt x="1384" y="3701"/>
                    <a:pt x="1385" y="3702"/>
                  </a:cubicBezTo>
                  <a:cubicBezTo>
                    <a:pt x="1388" y="3697"/>
                    <a:pt x="1388" y="3697"/>
                    <a:pt x="1388" y="3697"/>
                  </a:cubicBezTo>
                  <a:cubicBezTo>
                    <a:pt x="1383" y="3699"/>
                    <a:pt x="1383" y="3699"/>
                    <a:pt x="1383" y="3699"/>
                  </a:cubicBezTo>
                  <a:cubicBezTo>
                    <a:pt x="1386" y="3698"/>
                    <a:pt x="1386" y="3698"/>
                    <a:pt x="1386" y="3698"/>
                  </a:cubicBezTo>
                  <a:cubicBezTo>
                    <a:pt x="1383" y="3699"/>
                    <a:pt x="1383" y="3699"/>
                    <a:pt x="1383" y="3699"/>
                  </a:cubicBezTo>
                  <a:cubicBezTo>
                    <a:pt x="1383" y="3699"/>
                    <a:pt x="1383" y="3699"/>
                    <a:pt x="1383" y="3699"/>
                  </a:cubicBezTo>
                  <a:cubicBezTo>
                    <a:pt x="1386" y="3698"/>
                    <a:pt x="1386" y="3698"/>
                    <a:pt x="1386" y="3698"/>
                  </a:cubicBezTo>
                  <a:cubicBezTo>
                    <a:pt x="1383" y="3699"/>
                    <a:pt x="1383" y="3699"/>
                    <a:pt x="1383" y="3699"/>
                  </a:cubicBezTo>
                  <a:cubicBezTo>
                    <a:pt x="1384" y="3699"/>
                    <a:pt x="1384" y="3699"/>
                    <a:pt x="1384" y="3699"/>
                  </a:cubicBezTo>
                  <a:cubicBezTo>
                    <a:pt x="1383" y="3699"/>
                    <a:pt x="1383" y="3699"/>
                    <a:pt x="1383" y="3699"/>
                  </a:cubicBezTo>
                  <a:cubicBezTo>
                    <a:pt x="1383" y="3699"/>
                    <a:pt x="1383" y="3699"/>
                    <a:pt x="1383" y="3699"/>
                  </a:cubicBezTo>
                  <a:cubicBezTo>
                    <a:pt x="1384" y="3699"/>
                    <a:pt x="1384" y="3699"/>
                    <a:pt x="1384" y="3699"/>
                  </a:cubicBezTo>
                  <a:cubicBezTo>
                    <a:pt x="1383" y="3699"/>
                    <a:pt x="1383" y="3699"/>
                    <a:pt x="1383" y="3699"/>
                  </a:cubicBezTo>
                  <a:cubicBezTo>
                    <a:pt x="1383" y="3699"/>
                    <a:pt x="1383" y="3699"/>
                    <a:pt x="1383" y="3699"/>
                  </a:cubicBezTo>
                  <a:cubicBezTo>
                    <a:pt x="1383" y="3700"/>
                    <a:pt x="1383" y="3700"/>
                    <a:pt x="1383" y="3700"/>
                  </a:cubicBezTo>
                  <a:cubicBezTo>
                    <a:pt x="1383" y="3700"/>
                    <a:pt x="1383" y="3701"/>
                    <a:pt x="1383" y="3702"/>
                  </a:cubicBezTo>
                  <a:cubicBezTo>
                    <a:pt x="1383" y="3702"/>
                    <a:pt x="1383" y="3702"/>
                    <a:pt x="1383" y="3702"/>
                  </a:cubicBezTo>
                  <a:cubicBezTo>
                    <a:pt x="1383" y="3702"/>
                    <a:pt x="1383" y="3703"/>
                    <a:pt x="1382" y="3704"/>
                  </a:cubicBezTo>
                  <a:cubicBezTo>
                    <a:pt x="1382" y="3705"/>
                    <a:pt x="1382" y="3707"/>
                    <a:pt x="1381" y="3709"/>
                  </a:cubicBezTo>
                  <a:cubicBezTo>
                    <a:pt x="1381" y="3709"/>
                    <a:pt x="1381" y="3709"/>
                    <a:pt x="1381" y="3709"/>
                  </a:cubicBezTo>
                  <a:cubicBezTo>
                    <a:pt x="1381" y="3711"/>
                    <a:pt x="1380" y="3713"/>
                    <a:pt x="1380" y="3717"/>
                  </a:cubicBezTo>
                  <a:cubicBezTo>
                    <a:pt x="1380" y="3719"/>
                    <a:pt x="1381" y="3723"/>
                    <a:pt x="1382" y="3726"/>
                  </a:cubicBezTo>
                  <a:cubicBezTo>
                    <a:pt x="1384" y="3729"/>
                    <a:pt x="1386" y="3732"/>
                    <a:pt x="1389" y="3734"/>
                  </a:cubicBezTo>
                  <a:cubicBezTo>
                    <a:pt x="1389" y="3734"/>
                    <a:pt x="1389" y="3734"/>
                    <a:pt x="1389" y="3734"/>
                  </a:cubicBezTo>
                  <a:cubicBezTo>
                    <a:pt x="1389" y="3734"/>
                    <a:pt x="1389" y="3734"/>
                    <a:pt x="1389" y="3734"/>
                  </a:cubicBezTo>
                  <a:cubicBezTo>
                    <a:pt x="1392" y="3730"/>
                    <a:pt x="1392" y="3730"/>
                    <a:pt x="1392" y="3730"/>
                  </a:cubicBezTo>
                  <a:cubicBezTo>
                    <a:pt x="1387" y="3732"/>
                    <a:pt x="1387" y="3732"/>
                    <a:pt x="1387" y="3732"/>
                  </a:cubicBezTo>
                  <a:cubicBezTo>
                    <a:pt x="1388" y="3733"/>
                    <a:pt x="1389" y="3734"/>
                    <a:pt x="1389" y="3734"/>
                  </a:cubicBezTo>
                  <a:cubicBezTo>
                    <a:pt x="1392" y="3730"/>
                    <a:pt x="1392" y="3730"/>
                    <a:pt x="1392" y="3730"/>
                  </a:cubicBezTo>
                  <a:cubicBezTo>
                    <a:pt x="1387" y="3732"/>
                    <a:pt x="1387" y="3732"/>
                    <a:pt x="1387" y="3732"/>
                  </a:cubicBezTo>
                  <a:cubicBezTo>
                    <a:pt x="1392" y="3730"/>
                    <a:pt x="1392" y="3730"/>
                    <a:pt x="1392" y="3730"/>
                  </a:cubicBezTo>
                  <a:cubicBezTo>
                    <a:pt x="1387" y="3730"/>
                    <a:pt x="1387" y="3730"/>
                    <a:pt x="1387" y="3730"/>
                  </a:cubicBezTo>
                  <a:cubicBezTo>
                    <a:pt x="1387" y="3730"/>
                    <a:pt x="1387" y="3731"/>
                    <a:pt x="1387" y="3732"/>
                  </a:cubicBezTo>
                  <a:cubicBezTo>
                    <a:pt x="1392" y="3730"/>
                    <a:pt x="1392" y="3730"/>
                    <a:pt x="1392" y="3730"/>
                  </a:cubicBezTo>
                  <a:cubicBezTo>
                    <a:pt x="1387" y="3730"/>
                    <a:pt x="1387" y="3730"/>
                    <a:pt x="1387" y="3730"/>
                  </a:cubicBezTo>
                  <a:cubicBezTo>
                    <a:pt x="1388" y="3730"/>
                    <a:pt x="1388" y="3730"/>
                    <a:pt x="1388" y="3730"/>
                  </a:cubicBezTo>
                  <a:cubicBezTo>
                    <a:pt x="1387" y="3730"/>
                    <a:pt x="1387" y="3730"/>
                    <a:pt x="1387" y="3730"/>
                  </a:cubicBezTo>
                  <a:cubicBezTo>
                    <a:pt x="1387" y="3730"/>
                    <a:pt x="1387" y="3730"/>
                    <a:pt x="1387" y="3730"/>
                  </a:cubicBezTo>
                  <a:cubicBezTo>
                    <a:pt x="1388" y="3730"/>
                    <a:pt x="1388" y="3730"/>
                    <a:pt x="1388" y="3730"/>
                  </a:cubicBezTo>
                  <a:cubicBezTo>
                    <a:pt x="1387" y="3730"/>
                    <a:pt x="1387" y="3730"/>
                    <a:pt x="1387" y="3730"/>
                  </a:cubicBezTo>
                  <a:cubicBezTo>
                    <a:pt x="1387" y="3730"/>
                    <a:pt x="1387" y="3731"/>
                    <a:pt x="1387" y="3731"/>
                  </a:cubicBezTo>
                  <a:cubicBezTo>
                    <a:pt x="1387" y="3731"/>
                    <a:pt x="1387" y="3731"/>
                    <a:pt x="1387" y="3731"/>
                  </a:cubicBezTo>
                  <a:cubicBezTo>
                    <a:pt x="1384" y="3745"/>
                    <a:pt x="1381" y="3759"/>
                    <a:pt x="1379" y="3772"/>
                  </a:cubicBezTo>
                  <a:cubicBezTo>
                    <a:pt x="1379" y="3772"/>
                    <a:pt x="1379" y="3772"/>
                    <a:pt x="1379" y="3772"/>
                  </a:cubicBezTo>
                  <a:cubicBezTo>
                    <a:pt x="1378" y="3774"/>
                    <a:pt x="1378" y="3775"/>
                    <a:pt x="1378" y="3775"/>
                  </a:cubicBezTo>
                  <a:cubicBezTo>
                    <a:pt x="1378" y="3775"/>
                    <a:pt x="1378" y="3775"/>
                    <a:pt x="1378" y="3775"/>
                  </a:cubicBezTo>
                  <a:cubicBezTo>
                    <a:pt x="1377" y="3776"/>
                    <a:pt x="1377" y="3777"/>
                    <a:pt x="1377" y="3777"/>
                  </a:cubicBezTo>
                  <a:cubicBezTo>
                    <a:pt x="1377" y="3777"/>
                    <a:pt x="1377" y="3777"/>
                    <a:pt x="1377" y="3777"/>
                  </a:cubicBezTo>
                  <a:cubicBezTo>
                    <a:pt x="1377" y="3777"/>
                    <a:pt x="1377" y="3777"/>
                    <a:pt x="1377" y="3777"/>
                  </a:cubicBezTo>
                  <a:cubicBezTo>
                    <a:pt x="1381" y="3781"/>
                    <a:pt x="1381" y="3781"/>
                    <a:pt x="1381" y="3781"/>
                  </a:cubicBezTo>
                  <a:cubicBezTo>
                    <a:pt x="1378" y="3776"/>
                    <a:pt x="1378" y="3776"/>
                    <a:pt x="1378" y="3776"/>
                  </a:cubicBezTo>
                  <a:cubicBezTo>
                    <a:pt x="1377" y="3777"/>
                    <a:pt x="1377" y="3777"/>
                    <a:pt x="1377" y="3777"/>
                  </a:cubicBezTo>
                  <a:cubicBezTo>
                    <a:pt x="1381" y="3781"/>
                    <a:pt x="1381" y="3781"/>
                    <a:pt x="1381" y="3781"/>
                  </a:cubicBezTo>
                  <a:cubicBezTo>
                    <a:pt x="1378" y="3776"/>
                    <a:pt x="1378" y="3776"/>
                    <a:pt x="1378" y="3776"/>
                  </a:cubicBezTo>
                  <a:cubicBezTo>
                    <a:pt x="1383" y="3783"/>
                    <a:pt x="1383" y="3783"/>
                    <a:pt x="1383" y="3783"/>
                  </a:cubicBezTo>
                  <a:cubicBezTo>
                    <a:pt x="1383" y="3775"/>
                    <a:pt x="1383" y="3775"/>
                    <a:pt x="1383" y="3775"/>
                  </a:cubicBezTo>
                  <a:cubicBezTo>
                    <a:pt x="1381" y="3775"/>
                    <a:pt x="1379" y="3775"/>
                    <a:pt x="1378" y="3776"/>
                  </a:cubicBezTo>
                  <a:cubicBezTo>
                    <a:pt x="1383" y="3783"/>
                    <a:pt x="1383" y="3783"/>
                    <a:pt x="1383" y="3783"/>
                  </a:cubicBezTo>
                  <a:cubicBezTo>
                    <a:pt x="1383" y="3775"/>
                    <a:pt x="1383" y="3775"/>
                    <a:pt x="1383" y="3775"/>
                  </a:cubicBezTo>
                  <a:cubicBezTo>
                    <a:pt x="1383" y="3781"/>
                    <a:pt x="1383" y="3781"/>
                    <a:pt x="1383" y="3781"/>
                  </a:cubicBezTo>
                  <a:cubicBezTo>
                    <a:pt x="1384" y="3775"/>
                    <a:pt x="1384" y="3775"/>
                    <a:pt x="1384" y="3775"/>
                  </a:cubicBezTo>
                  <a:cubicBezTo>
                    <a:pt x="1384" y="3775"/>
                    <a:pt x="1383" y="3775"/>
                    <a:pt x="1383" y="3775"/>
                  </a:cubicBezTo>
                  <a:cubicBezTo>
                    <a:pt x="1383" y="3781"/>
                    <a:pt x="1383" y="3781"/>
                    <a:pt x="1383" y="3781"/>
                  </a:cubicBezTo>
                  <a:cubicBezTo>
                    <a:pt x="1384" y="3775"/>
                    <a:pt x="1384" y="3775"/>
                    <a:pt x="1384" y="3775"/>
                  </a:cubicBezTo>
                  <a:cubicBezTo>
                    <a:pt x="1383" y="3777"/>
                    <a:pt x="1383" y="3777"/>
                    <a:pt x="1383" y="3777"/>
                  </a:cubicBezTo>
                  <a:cubicBezTo>
                    <a:pt x="1384" y="3775"/>
                    <a:pt x="1384" y="3775"/>
                    <a:pt x="1384" y="3775"/>
                  </a:cubicBezTo>
                  <a:cubicBezTo>
                    <a:pt x="1384" y="3775"/>
                    <a:pt x="1384" y="3775"/>
                    <a:pt x="1384" y="3775"/>
                  </a:cubicBezTo>
                  <a:cubicBezTo>
                    <a:pt x="1383" y="3777"/>
                    <a:pt x="1383" y="3777"/>
                    <a:pt x="1383" y="3777"/>
                  </a:cubicBezTo>
                  <a:cubicBezTo>
                    <a:pt x="1384" y="3775"/>
                    <a:pt x="1384" y="3775"/>
                    <a:pt x="1384" y="3775"/>
                  </a:cubicBezTo>
                  <a:cubicBezTo>
                    <a:pt x="1384" y="3775"/>
                    <a:pt x="1384" y="3775"/>
                    <a:pt x="1384" y="3775"/>
                  </a:cubicBezTo>
                  <a:cubicBezTo>
                    <a:pt x="1383" y="3775"/>
                    <a:pt x="1383" y="3774"/>
                    <a:pt x="1382" y="3774"/>
                  </a:cubicBezTo>
                  <a:cubicBezTo>
                    <a:pt x="1376" y="3771"/>
                    <a:pt x="1369" y="3766"/>
                    <a:pt x="1362" y="3762"/>
                  </a:cubicBezTo>
                  <a:cubicBezTo>
                    <a:pt x="1362" y="3762"/>
                    <a:pt x="1362" y="3762"/>
                    <a:pt x="1362" y="3762"/>
                  </a:cubicBezTo>
                  <a:cubicBezTo>
                    <a:pt x="1356" y="3758"/>
                    <a:pt x="1350" y="3754"/>
                    <a:pt x="1344" y="3750"/>
                  </a:cubicBezTo>
                  <a:cubicBezTo>
                    <a:pt x="1344" y="3750"/>
                    <a:pt x="1344" y="3750"/>
                    <a:pt x="1344" y="3750"/>
                  </a:cubicBezTo>
                  <a:cubicBezTo>
                    <a:pt x="1343" y="3749"/>
                    <a:pt x="1341" y="3748"/>
                    <a:pt x="1339" y="3748"/>
                  </a:cubicBezTo>
                  <a:cubicBezTo>
                    <a:pt x="1337" y="3747"/>
                    <a:pt x="1335" y="3746"/>
                    <a:pt x="1333" y="3746"/>
                  </a:cubicBezTo>
                  <a:cubicBezTo>
                    <a:pt x="1330" y="3746"/>
                    <a:pt x="1328" y="3747"/>
                    <a:pt x="1326" y="3748"/>
                  </a:cubicBezTo>
                  <a:cubicBezTo>
                    <a:pt x="1324" y="3748"/>
                    <a:pt x="1322" y="3749"/>
                    <a:pt x="1321" y="3750"/>
                  </a:cubicBezTo>
                  <a:cubicBezTo>
                    <a:pt x="1321" y="3750"/>
                    <a:pt x="1321" y="3750"/>
                    <a:pt x="1321" y="3750"/>
                  </a:cubicBezTo>
                  <a:cubicBezTo>
                    <a:pt x="1318" y="3752"/>
                    <a:pt x="1315" y="3754"/>
                    <a:pt x="1313" y="3756"/>
                  </a:cubicBezTo>
                  <a:cubicBezTo>
                    <a:pt x="1309" y="3760"/>
                    <a:pt x="1307" y="3763"/>
                    <a:pt x="1305" y="3766"/>
                  </a:cubicBezTo>
                  <a:cubicBezTo>
                    <a:pt x="1303" y="3769"/>
                    <a:pt x="1302" y="3772"/>
                    <a:pt x="1300" y="3773"/>
                  </a:cubicBezTo>
                  <a:cubicBezTo>
                    <a:pt x="1289" y="3788"/>
                    <a:pt x="1282" y="3804"/>
                    <a:pt x="1276" y="3820"/>
                  </a:cubicBezTo>
                  <a:cubicBezTo>
                    <a:pt x="1276" y="3820"/>
                    <a:pt x="1276" y="3820"/>
                    <a:pt x="1276" y="3820"/>
                  </a:cubicBezTo>
                  <a:cubicBezTo>
                    <a:pt x="1276" y="3820"/>
                    <a:pt x="1276" y="3820"/>
                    <a:pt x="1276" y="3820"/>
                  </a:cubicBezTo>
                  <a:cubicBezTo>
                    <a:pt x="1274" y="3825"/>
                    <a:pt x="1271" y="3830"/>
                    <a:pt x="1267" y="3835"/>
                  </a:cubicBezTo>
                  <a:cubicBezTo>
                    <a:pt x="1263" y="3840"/>
                    <a:pt x="1259" y="3845"/>
                    <a:pt x="1255" y="3850"/>
                  </a:cubicBezTo>
                  <a:cubicBezTo>
                    <a:pt x="1255" y="3850"/>
                    <a:pt x="1255" y="3850"/>
                    <a:pt x="1255" y="3850"/>
                  </a:cubicBezTo>
                  <a:cubicBezTo>
                    <a:pt x="1248" y="3859"/>
                    <a:pt x="1240" y="3868"/>
                    <a:pt x="1235" y="3880"/>
                  </a:cubicBezTo>
                  <a:cubicBezTo>
                    <a:pt x="1234" y="3880"/>
                    <a:pt x="1234" y="3880"/>
                    <a:pt x="1234" y="3880"/>
                  </a:cubicBezTo>
                  <a:cubicBezTo>
                    <a:pt x="1235" y="3880"/>
                    <a:pt x="1235" y="3880"/>
                    <a:pt x="1235" y="3880"/>
                  </a:cubicBezTo>
                  <a:cubicBezTo>
                    <a:pt x="1232" y="3884"/>
                    <a:pt x="1230" y="3887"/>
                    <a:pt x="1226" y="3890"/>
                  </a:cubicBezTo>
                  <a:cubicBezTo>
                    <a:pt x="1222" y="3893"/>
                    <a:pt x="1218" y="3896"/>
                    <a:pt x="1213" y="3899"/>
                  </a:cubicBezTo>
                  <a:cubicBezTo>
                    <a:pt x="1213" y="3899"/>
                    <a:pt x="1213" y="3899"/>
                    <a:pt x="1213" y="3899"/>
                  </a:cubicBezTo>
                  <a:cubicBezTo>
                    <a:pt x="1216" y="3905"/>
                    <a:pt x="1216" y="3905"/>
                    <a:pt x="1216" y="3905"/>
                  </a:cubicBezTo>
                  <a:cubicBezTo>
                    <a:pt x="1215" y="3898"/>
                    <a:pt x="1215" y="3898"/>
                    <a:pt x="1215" y="3898"/>
                  </a:cubicBezTo>
                  <a:cubicBezTo>
                    <a:pt x="1214" y="3898"/>
                    <a:pt x="1214" y="3898"/>
                    <a:pt x="1213" y="3899"/>
                  </a:cubicBezTo>
                  <a:cubicBezTo>
                    <a:pt x="1216" y="3905"/>
                    <a:pt x="1216" y="3905"/>
                    <a:pt x="1216" y="3905"/>
                  </a:cubicBezTo>
                  <a:cubicBezTo>
                    <a:pt x="1215" y="3898"/>
                    <a:pt x="1215" y="3898"/>
                    <a:pt x="1215" y="3898"/>
                  </a:cubicBezTo>
                  <a:cubicBezTo>
                    <a:pt x="1216" y="3902"/>
                    <a:pt x="1216" y="3902"/>
                    <a:pt x="1216" y="3902"/>
                  </a:cubicBezTo>
                  <a:cubicBezTo>
                    <a:pt x="1216" y="3898"/>
                    <a:pt x="1216" y="3898"/>
                    <a:pt x="1216" y="3898"/>
                  </a:cubicBezTo>
                  <a:cubicBezTo>
                    <a:pt x="1216" y="3898"/>
                    <a:pt x="1215" y="3898"/>
                    <a:pt x="1215" y="3898"/>
                  </a:cubicBezTo>
                  <a:cubicBezTo>
                    <a:pt x="1216" y="3902"/>
                    <a:pt x="1216" y="3902"/>
                    <a:pt x="1216" y="3902"/>
                  </a:cubicBezTo>
                  <a:cubicBezTo>
                    <a:pt x="1216" y="3898"/>
                    <a:pt x="1216" y="3898"/>
                    <a:pt x="1216" y="3898"/>
                  </a:cubicBezTo>
                  <a:cubicBezTo>
                    <a:pt x="1216" y="3899"/>
                    <a:pt x="1216" y="3899"/>
                    <a:pt x="1216" y="3899"/>
                  </a:cubicBezTo>
                  <a:cubicBezTo>
                    <a:pt x="1216" y="3898"/>
                    <a:pt x="1216" y="3898"/>
                    <a:pt x="1216" y="3898"/>
                  </a:cubicBezTo>
                  <a:cubicBezTo>
                    <a:pt x="1216" y="3898"/>
                    <a:pt x="1216" y="3898"/>
                    <a:pt x="1216" y="3898"/>
                  </a:cubicBezTo>
                  <a:cubicBezTo>
                    <a:pt x="1216" y="3899"/>
                    <a:pt x="1216" y="3899"/>
                    <a:pt x="1216" y="3899"/>
                  </a:cubicBezTo>
                  <a:cubicBezTo>
                    <a:pt x="1216" y="3898"/>
                    <a:pt x="1216" y="3898"/>
                    <a:pt x="1216" y="3898"/>
                  </a:cubicBezTo>
                  <a:cubicBezTo>
                    <a:pt x="1215" y="3898"/>
                    <a:pt x="1215" y="3898"/>
                    <a:pt x="1215" y="3898"/>
                  </a:cubicBezTo>
                  <a:cubicBezTo>
                    <a:pt x="1215" y="3898"/>
                    <a:pt x="1215" y="3898"/>
                    <a:pt x="1215" y="3898"/>
                  </a:cubicBezTo>
                  <a:cubicBezTo>
                    <a:pt x="1215" y="3898"/>
                    <a:pt x="1215" y="3898"/>
                    <a:pt x="1215" y="3898"/>
                  </a:cubicBezTo>
                  <a:cubicBezTo>
                    <a:pt x="1214" y="3900"/>
                    <a:pt x="1214" y="3900"/>
                    <a:pt x="1214" y="3900"/>
                  </a:cubicBezTo>
                  <a:cubicBezTo>
                    <a:pt x="1216" y="3898"/>
                    <a:pt x="1216" y="3898"/>
                    <a:pt x="1216" y="3898"/>
                  </a:cubicBezTo>
                  <a:cubicBezTo>
                    <a:pt x="1215" y="3898"/>
                    <a:pt x="1215" y="3898"/>
                    <a:pt x="1215" y="3898"/>
                  </a:cubicBezTo>
                  <a:cubicBezTo>
                    <a:pt x="1214" y="3900"/>
                    <a:pt x="1214" y="3900"/>
                    <a:pt x="1214" y="3900"/>
                  </a:cubicBezTo>
                  <a:cubicBezTo>
                    <a:pt x="1216" y="3898"/>
                    <a:pt x="1216" y="3898"/>
                    <a:pt x="1216" y="3898"/>
                  </a:cubicBezTo>
                  <a:cubicBezTo>
                    <a:pt x="1216" y="3898"/>
                    <a:pt x="1216" y="3898"/>
                    <a:pt x="1216" y="3898"/>
                  </a:cubicBezTo>
                  <a:cubicBezTo>
                    <a:pt x="1213" y="3896"/>
                    <a:pt x="1212" y="3895"/>
                    <a:pt x="1211" y="3893"/>
                  </a:cubicBezTo>
                  <a:cubicBezTo>
                    <a:pt x="1209" y="3891"/>
                    <a:pt x="1208" y="3889"/>
                    <a:pt x="1208" y="3886"/>
                  </a:cubicBezTo>
                  <a:cubicBezTo>
                    <a:pt x="1208" y="3886"/>
                    <a:pt x="1208" y="3886"/>
                    <a:pt x="1208" y="3886"/>
                  </a:cubicBezTo>
                  <a:cubicBezTo>
                    <a:pt x="1208" y="3883"/>
                    <a:pt x="1207" y="3881"/>
                    <a:pt x="1206" y="3879"/>
                  </a:cubicBezTo>
                  <a:cubicBezTo>
                    <a:pt x="1205" y="3875"/>
                    <a:pt x="1203" y="3872"/>
                    <a:pt x="1200" y="3869"/>
                  </a:cubicBezTo>
                  <a:cubicBezTo>
                    <a:pt x="1197" y="3867"/>
                    <a:pt x="1194" y="3865"/>
                    <a:pt x="1191" y="3863"/>
                  </a:cubicBezTo>
                  <a:cubicBezTo>
                    <a:pt x="1191" y="3863"/>
                    <a:pt x="1191" y="3863"/>
                    <a:pt x="1191" y="3863"/>
                  </a:cubicBezTo>
                  <a:cubicBezTo>
                    <a:pt x="1184" y="3860"/>
                    <a:pt x="1178" y="3857"/>
                    <a:pt x="1171" y="3853"/>
                  </a:cubicBezTo>
                  <a:cubicBezTo>
                    <a:pt x="1171" y="3853"/>
                    <a:pt x="1171" y="3853"/>
                    <a:pt x="1171" y="3853"/>
                  </a:cubicBezTo>
                  <a:cubicBezTo>
                    <a:pt x="1169" y="3852"/>
                    <a:pt x="1168" y="3851"/>
                    <a:pt x="1166" y="3850"/>
                  </a:cubicBezTo>
                  <a:cubicBezTo>
                    <a:pt x="1164" y="3849"/>
                    <a:pt x="1161" y="3848"/>
                    <a:pt x="1158" y="3848"/>
                  </a:cubicBezTo>
                  <a:cubicBezTo>
                    <a:pt x="1156" y="3848"/>
                    <a:pt x="1154" y="3849"/>
                    <a:pt x="1152" y="3849"/>
                  </a:cubicBezTo>
                  <a:cubicBezTo>
                    <a:pt x="1150" y="3850"/>
                    <a:pt x="1148" y="3851"/>
                    <a:pt x="1146" y="3852"/>
                  </a:cubicBezTo>
                  <a:cubicBezTo>
                    <a:pt x="1146" y="3852"/>
                    <a:pt x="1146" y="3852"/>
                    <a:pt x="1146" y="3852"/>
                  </a:cubicBezTo>
                  <a:cubicBezTo>
                    <a:pt x="1150" y="3857"/>
                    <a:pt x="1150" y="3857"/>
                    <a:pt x="1150" y="3857"/>
                  </a:cubicBezTo>
                  <a:cubicBezTo>
                    <a:pt x="1147" y="3851"/>
                    <a:pt x="1147" y="3851"/>
                    <a:pt x="1147" y="3851"/>
                  </a:cubicBezTo>
                  <a:cubicBezTo>
                    <a:pt x="1147" y="3851"/>
                    <a:pt x="1147" y="3852"/>
                    <a:pt x="1146" y="3852"/>
                  </a:cubicBezTo>
                  <a:cubicBezTo>
                    <a:pt x="1150" y="3857"/>
                    <a:pt x="1150" y="3857"/>
                    <a:pt x="1150" y="3857"/>
                  </a:cubicBezTo>
                  <a:cubicBezTo>
                    <a:pt x="1147" y="3851"/>
                    <a:pt x="1147" y="3851"/>
                    <a:pt x="1147" y="3851"/>
                  </a:cubicBezTo>
                  <a:cubicBezTo>
                    <a:pt x="1148" y="3854"/>
                    <a:pt x="1148" y="3854"/>
                    <a:pt x="1148" y="3854"/>
                  </a:cubicBezTo>
                  <a:cubicBezTo>
                    <a:pt x="1148" y="3851"/>
                    <a:pt x="1148" y="3851"/>
                    <a:pt x="1148" y="3851"/>
                  </a:cubicBezTo>
                  <a:cubicBezTo>
                    <a:pt x="1147" y="3851"/>
                    <a:pt x="1147" y="3851"/>
                    <a:pt x="1147" y="3851"/>
                  </a:cubicBezTo>
                  <a:cubicBezTo>
                    <a:pt x="1148" y="3854"/>
                    <a:pt x="1148" y="3854"/>
                    <a:pt x="1148" y="3854"/>
                  </a:cubicBezTo>
                  <a:cubicBezTo>
                    <a:pt x="1148" y="3851"/>
                    <a:pt x="1148" y="3851"/>
                    <a:pt x="1148" y="3851"/>
                  </a:cubicBezTo>
                  <a:cubicBezTo>
                    <a:pt x="1147" y="3851"/>
                    <a:pt x="1147" y="3851"/>
                    <a:pt x="1147" y="3851"/>
                  </a:cubicBezTo>
                  <a:cubicBezTo>
                    <a:pt x="1147" y="3851"/>
                    <a:pt x="1147" y="3851"/>
                    <a:pt x="1146" y="3851"/>
                  </a:cubicBezTo>
                  <a:cubicBezTo>
                    <a:pt x="1146" y="3851"/>
                    <a:pt x="1146" y="3851"/>
                    <a:pt x="1146" y="3851"/>
                  </a:cubicBezTo>
                  <a:cubicBezTo>
                    <a:pt x="1141" y="3852"/>
                    <a:pt x="1137" y="3853"/>
                    <a:pt x="1132" y="3855"/>
                  </a:cubicBezTo>
                  <a:cubicBezTo>
                    <a:pt x="1128" y="3858"/>
                    <a:pt x="1124" y="3861"/>
                    <a:pt x="1122" y="3866"/>
                  </a:cubicBezTo>
                  <a:cubicBezTo>
                    <a:pt x="1122" y="3865"/>
                    <a:pt x="1122" y="3865"/>
                    <a:pt x="1122" y="3865"/>
                  </a:cubicBezTo>
                  <a:cubicBezTo>
                    <a:pt x="1116" y="3875"/>
                    <a:pt x="1109" y="3885"/>
                    <a:pt x="1103" y="3894"/>
                  </a:cubicBezTo>
                  <a:cubicBezTo>
                    <a:pt x="1103" y="3894"/>
                    <a:pt x="1103" y="3894"/>
                    <a:pt x="1103" y="3894"/>
                  </a:cubicBezTo>
                  <a:cubicBezTo>
                    <a:pt x="1103" y="3895"/>
                    <a:pt x="1102" y="3895"/>
                    <a:pt x="1101" y="3896"/>
                  </a:cubicBezTo>
                  <a:cubicBezTo>
                    <a:pt x="1101" y="3897"/>
                    <a:pt x="1099" y="3899"/>
                    <a:pt x="1098" y="3900"/>
                  </a:cubicBezTo>
                  <a:cubicBezTo>
                    <a:pt x="1108" y="3908"/>
                    <a:pt x="1108" y="3908"/>
                    <a:pt x="1108" y="3908"/>
                  </a:cubicBezTo>
                  <a:cubicBezTo>
                    <a:pt x="1098" y="3900"/>
                    <a:pt x="1098" y="3900"/>
                    <a:pt x="1098" y="3900"/>
                  </a:cubicBezTo>
                  <a:cubicBezTo>
                    <a:pt x="1098" y="3901"/>
                    <a:pt x="1097" y="3902"/>
                    <a:pt x="1096" y="3904"/>
                  </a:cubicBezTo>
                  <a:cubicBezTo>
                    <a:pt x="1095" y="3905"/>
                    <a:pt x="1093" y="3908"/>
                    <a:pt x="1093" y="3911"/>
                  </a:cubicBezTo>
                  <a:cubicBezTo>
                    <a:pt x="1093" y="3911"/>
                    <a:pt x="1093" y="3911"/>
                    <a:pt x="1093" y="3911"/>
                  </a:cubicBezTo>
                  <a:cubicBezTo>
                    <a:pt x="1092" y="3915"/>
                    <a:pt x="1090" y="3918"/>
                    <a:pt x="1089" y="3919"/>
                  </a:cubicBezTo>
                  <a:cubicBezTo>
                    <a:pt x="1088" y="3919"/>
                    <a:pt x="1088" y="3920"/>
                    <a:pt x="1087" y="3920"/>
                  </a:cubicBezTo>
                  <a:cubicBezTo>
                    <a:pt x="1087" y="3920"/>
                    <a:pt x="1086" y="3920"/>
                    <a:pt x="1085" y="3920"/>
                  </a:cubicBezTo>
                  <a:cubicBezTo>
                    <a:pt x="1084" y="3920"/>
                    <a:pt x="1083" y="3920"/>
                    <a:pt x="1081" y="3920"/>
                  </a:cubicBezTo>
                  <a:cubicBezTo>
                    <a:pt x="1081" y="3920"/>
                    <a:pt x="1081" y="3920"/>
                    <a:pt x="1081" y="3920"/>
                  </a:cubicBezTo>
                  <a:cubicBezTo>
                    <a:pt x="1078" y="3919"/>
                    <a:pt x="1074" y="3919"/>
                    <a:pt x="1071" y="3919"/>
                  </a:cubicBezTo>
                  <a:cubicBezTo>
                    <a:pt x="1066" y="3919"/>
                    <a:pt x="1061" y="3919"/>
                    <a:pt x="1057" y="3920"/>
                  </a:cubicBezTo>
                  <a:cubicBezTo>
                    <a:pt x="1053" y="3921"/>
                    <a:pt x="1049" y="3922"/>
                    <a:pt x="1046" y="3923"/>
                  </a:cubicBezTo>
                  <a:cubicBezTo>
                    <a:pt x="1046" y="3923"/>
                    <a:pt x="1046" y="3923"/>
                    <a:pt x="1046" y="3923"/>
                  </a:cubicBezTo>
                  <a:cubicBezTo>
                    <a:pt x="1039" y="3925"/>
                    <a:pt x="1033" y="3927"/>
                    <a:pt x="1027" y="3928"/>
                  </a:cubicBezTo>
                  <a:cubicBezTo>
                    <a:pt x="1021" y="3930"/>
                    <a:pt x="1015" y="3931"/>
                    <a:pt x="1010" y="3931"/>
                  </a:cubicBezTo>
                  <a:cubicBezTo>
                    <a:pt x="1009" y="3931"/>
                    <a:pt x="1009" y="3931"/>
                    <a:pt x="1008" y="3931"/>
                  </a:cubicBezTo>
                  <a:cubicBezTo>
                    <a:pt x="1007" y="3931"/>
                    <a:pt x="1007" y="3931"/>
                    <a:pt x="1007" y="3931"/>
                  </a:cubicBezTo>
                  <a:cubicBezTo>
                    <a:pt x="1008" y="3931"/>
                    <a:pt x="1008" y="3931"/>
                    <a:pt x="1008" y="3931"/>
                  </a:cubicBezTo>
                  <a:cubicBezTo>
                    <a:pt x="1007" y="3931"/>
                    <a:pt x="1007" y="3931"/>
                    <a:pt x="1007" y="3931"/>
                  </a:cubicBezTo>
                  <a:cubicBezTo>
                    <a:pt x="1004" y="3931"/>
                    <a:pt x="1002" y="3931"/>
                    <a:pt x="1000" y="3932"/>
                  </a:cubicBezTo>
                  <a:cubicBezTo>
                    <a:pt x="997" y="3933"/>
                    <a:pt x="995" y="3935"/>
                    <a:pt x="993" y="3936"/>
                  </a:cubicBezTo>
                  <a:cubicBezTo>
                    <a:pt x="991" y="3937"/>
                    <a:pt x="990" y="3938"/>
                    <a:pt x="990" y="3938"/>
                  </a:cubicBezTo>
                  <a:cubicBezTo>
                    <a:pt x="990" y="3938"/>
                    <a:pt x="990" y="3938"/>
                    <a:pt x="990" y="3938"/>
                  </a:cubicBezTo>
                  <a:cubicBezTo>
                    <a:pt x="987" y="3939"/>
                    <a:pt x="985" y="3940"/>
                    <a:pt x="983" y="3942"/>
                  </a:cubicBezTo>
                  <a:cubicBezTo>
                    <a:pt x="981" y="3944"/>
                    <a:pt x="980" y="3945"/>
                    <a:pt x="979" y="3947"/>
                  </a:cubicBezTo>
                  <a:cubicBezTo>
                    <a:pt x="978" y="3949"/>
                    <a:pt x="977" y="3952"/>
                    <a:pt x="976" y="3954"/>
                  </a:cubicBezTo>
                  <a:cubicBezTo>
                    <a:pt x="976" y="3955"/>
                    <a:pt x="976" y="3957"/>
                    <a:pt x="975" y="3958"/>
                  </a:cubicBezTo>
                  <a:cubicBezTo>
                    <a:pt x="975" y="3959"/>
                    <a:pt x="975" y="3959"/>
                    <a:pt x="975" y="3959"/>
                  </a:cubicBezTo>
                  <a:cubicBezTo>
                    <a:pt x="975" y="3961"/>
                    <a:pt x="974" y="3963"/>
                    <a:pt x="974" y="3965"/>
                  </a:cubicBezTo>
                  <a:cubicBezTo>
                    <a:pt x="974" y="3966"/>
                    <a:pt x="973" y="3967"/>
                    <a:pt x="973" y="3967"/>
                  </a:cubicBezTo>
                  <a:cubicBezTo>
                    <a:pt x="973" y="3967"/>
                    <a:pt x="973" y="3967"/>
                    <a:pt x="973" y="3967"/>
                  </a:cubicBezTo>
                  <a:cubicBezTo>
                    <a:pt x="975" y="3968"/>
                    <a:pt x="975" y="3968"/>
                    <a:pt x="975" y="3968"/>
                  </a:cubicBezTo>
                  <a:cubicBezTo>
                    <a:pt x="973" y="3967"/>
                    <a:pt x="973" y="3967"/>
                    <a:pt x="973" y="3967"/>
                  </a:cubicBezTo>
                  <a:cubicBezTo>
                    <a:pt x="973" y="3967"/>
                    <a:pt x="973" y="3967"/>
                    <a:pt x="973" y="3967"/>
                  </a:cubicBezTo>
                  <a:cubicBezTo>
                    <a:pt x="975" y="3968"/>
                    <a:pt x="975" y="3968"/>
                    <a:pt x="975" y="3968"/>
                  </a:cubicBezTo>
                  <a:cubicBezTo>
                    <a:pt x="973" y="3967"/>
                    <a:pt x="973" y="3967"/>
                    <a:pt x="973" y="3967"/>
                  </a:cubicBezTo>
                  <a:cubicBezTo>
                    <a:pt x="978" y="3969"/>
                    <a:pt x="978" y="3969"/>
                    <a:pt x="978" y="3969"/>
                  </a:cubicBezTo>
                  <a:cubicBezTo>
                    <a:pt x="974" y="3965"/>
                    <a:pt x="974" y="3965"/>
                    <a:pt x="974" y="3965"/>
                  </a:cubicBezTo>
                  <a:cubicBezTo>
                    <a:pt x="974" y="3966"/>
                    <a:pt x="974" y="3966"/>
                    <a:pt x="973" y="3967"/>
                  </a:cubicBezTo>
                  <a:cubicBezTo>
                    <a:pt x="978" y="3969"/>
                    <a:pt x="978" y="3969"/>
                    <a:pt x="978" y="3969"/>
                  </a:cubicBezTo>
                  <a:cubicBezTo>
                    <a:pt x="974" y="3965"/>
                    <a:pt x="974" y="3965"/>
                    <a:pt x="974" y="3965"/>
                  </a:cubicBezTo>
                  <a:cubicBezTo>
                    <a:pt x="979" y="3970"/>
                    <a:pt x="979" y="3970"/>
                    <a:pt x="979" y="3970"/>
                  </a:cubicBezTo>
                  <a:cubicBezTo>
                    <a:pt x="977" y="3964"/>
                    <a:pt x="977" y="3964"/>
                    <a:pt x="977" y="3964"/>
                  </a:cubicBezTo>
                  <a:cubicBezTo>
                    <a:pt x="976" y="3964"/>
                    <a:pt x="975" y="3965"/>
                    <a:pt x="974" y="3965"/>
                  </a:cubicBezTo>
                  <a:cubicBezTo>
                    <a:pt x="979" y="3970"/>
                    <a:pt x="979" y="3970"/>
                    <a:pt x="979" y="3970"/>
                  </a:cubicBezTo>
                  <a:cubicBezTo>
                    <a:pt x="977" y="3964"/>
                    <a:pt x="977" y="3964"/>
                    <a:pt x="977" y="3964"/>
                  </a:cubicBezTo>
                  <a:cubicBezTo>
                    <a:pt x="979" y="3969"/>
                    <a:pt x="979" y="3969"/>
                    <a:pt x="979" y="3969"/>
                  </a:cubicBezTo>
                  <a:cubicBezTo>
                    <a:pt x="978" y="3964"/>
                    <a:pt x="978" y="3964"/>
                    <a:pt x="978" y="3964"/>
                  </a:cubicBezTo>
                  <a:cubicBezTo>
                    <a:pt x="978" y="3964"/>
                    <a:pt x="978" y="3964"/>
                    <a:pt x="977" y="3964"/>
                  </a:cubicBezTo>
                  <a:cubicBezTo>
                    <a:pt x="979" y="3969"/>
                    <a:pt x="979" y="3969"/>
                    <a:pt x="979" y="3969"/>
                  </a:cubicBezTo>
                  <a:cubicBezTo>
                    <a:pt x="978" y="3964"/>
                    <a:pt x="978" y="3964"/>
                    <a:pt x="978" y="3964"/>
                  </a:cubicBezTo>
                  <a:cubicBezTo>
                    <a:pt x="978" y="3966"/>
                    <a:pt x="978" y="3966"/>
                    <a:pt x="978" y="3966"/>
                  </a:cubicBezTo>
                  <a:cubicBezTo>
                    <a:pt x="978" y="3964"/>
                    <a:pt x="978" y="3964"/>
                    <a:pt x="978" y="3964"/>
                  </a:cubicBezTo>
                  <a:cubicBezTo>
                    <a:pt x="978" y="3964"/>
                    <a:pt x="978" y="3964"/>
                    <a:pt x="978" y="3964"/>
                  </a:cubicBezTo>
                  <a:cubicBezTo>
                    <a:pt x="978" y="3966"/>
                    <a:pt x="978" y="3966"/>
                    <a:pt x="978" y="3966"/>
                  </a:cubicBezTo>
                  <a:cubicBezTo>
                    <a:pt x="978" y="3964"/>
                    <a:pt x="978" y="3964"/>
                    <a:pt x="978" y="3964"/>
                  </a:cubicBezTo>
                  <a:cubicBezTo>
                    <a:pt x="978" y="3964"/>
                    <a:pt x="978" y="3964"/>
                    <a:pt x="978" y="3964"/>
                  </a:cubicBezTo>
                  <a:cubicBezTo>
                    <a:pt x="978" y="3964"/>
                    <a:pt x="977" y="3963"/>
                    <a:pt x="975" y="3963"/>
                  </a:cubicBezTo>
                  <a:cubicBezTo>
                    <a:pt x="974" y="3963"/>
                    <a:pt x="971" y="3962"/>
                    <a:pt x="969" y="3962"/>
                  </a:cubicBezTo>
                  <a:cubicBezTo>
                    <a:pt x="968" y="3962"/>
                    <a:pt x="968" y="3962"/>
                    <a:pt x="968" y="3962"/>
                  </a:cubicBezTo>
                  <a:cubicBezTo>
                    <a:pt x="969" y="3962"/>
                    <a:pt x="969" y="3962"/>
                    <a:pt x="969" y="3962"/>
                  </a:cubicBezTo>
                  <a:cubicBezTo>
                    <a:pt x="959" y="3960"/>
                    <a:pt x="949" y="3958"/>
                    <a:pt x="939" y="3956"/>
                  </a:cubicBezTo>
                  <a:cubicBezTo>
                    <a:pt x="939" y="3956"/>
                    <a:pt x="939" y="3956"/>
                    <a:pt x="939" y="3956"/>
                  </a:cubicBezTo>
                  <a:cubicBezTo>
                    <a:pt x="938" y="3962"/>
                    <a:pt x="938" y="3962"/>
                    <a:pt x="938" y="3962"/>
                  </a:cubicBezTo>
                  <a:cubicBezTo>
                    <a:pt x="940" y="3956"/>
                    <a:pt x="940" y="3956"/>
                    <a:pt x="940" y="3956"/>
                  </a:cubicBezTo>
                  <a:cubicBezTo>
                    <a:pt x="939" y="3956"/>
                    <a:pt x="939" y="3956"/>
                    <a:pt x="939" y="3956"/>
                  </a:cubicBezTo>
                  <a:cubicBezTo>
                    <a:pt x="938" y="3962"/>
                    <a:pt x="938" y="3962"/>
                    <a:pt x="938" y="3962"/>
                  </a:cubicBezTo>
                  <a:cubicBezTo>
                    <a:pt x="940" y="3956"/>
                    <a:pt x="940" y="3956"/>
                    <a:pt x="940" y="3956"/>
                  </a:cubicBezTo>
                  <a:cubicBezTo>
                    <a:pt x="939" y="3959"/>
                    <a:pt x="939" y="3959"/>
                    <a:pt x="939" y="3959"/>
                  </a:cubicBezTo>
                  <a:cubicBezTo>
                    <a:pt x="940" y="3956"/>
                    <a:pt x="940" y="3956"/>
                    <a:pt x="940" y="3956"/>
                  </a:cubicBezTo>
                  <a:cubicBezTo>
                    <a:pt x="940" y="3956"/>
                    <a:pt x="940" y="3956"/>
                    <a:pt x="940" y="3956"/>
                  </a:cubicBezTo>
                  <a:cubicBezTo>
                    <a:pt x="939" y="3959"/>
                    <a:pt x="939" y="3959"/>
                    <a:pt x="939" y="3959"/>
                  </a:cubicBezTo>
                  <a:cubicBezTo>
                    <a:pt x="940" y="3956"/>
                    <a:pt x="940" y="3956"/>
                    <a:pt x="940" y="3956"/>
                  </a:cubicBezTo>
                  <a:cubicBezTo>
                    <a:pt x="940" y="3957"/>
                    <a:pt x="940" y="3957"/>
                    <a:pt x="940" y="3957"/>
                  </a:cubicBezTo>
                  <a:cubicBezTo>
                    <a:pt x="940" y="3956"/>
                    <a:pt x="940" y="3956"/>
                    <a:pt x="940" y="3956"/>
                  </a:cubicBezTo>
                  <a:cubicBezTo>
                    <a:pt x="940" y="3956"/>
                    <a:pt x="940" y="3956"/>
                    <a:pt x="940" y="3956"/>
                  </a:cubicBezTo>
                  <a:cubicBezTo>
                    <a:pt x="940" y="3957"/>
                    <a:pt x="940" y="3957"/>
                    <a:pt x="940" y="3957"/>
                  </a:cubicBezTo>
                  <a:cubicBezTo>
                    <a:pt x="940" y="3956"/>
                    <a:pt x="940" y="3956"/>
                    <a:pt x="940" y="3956"/>
                  </a:cubicBezTo>
                  <a:cubicBezTo>
                    <a:pt x="940" y="3956"/>
                    <a:pt x="939" y="3956"/>
                    <a:pt x="938" y="3956"/>
                  </a:cubicBezTo>
                  <a:cubicBezTo>
                    <a:pt x="937" y="3955"/>
                    <a:pt x="935" y="3955"/>
                    <a:pt x="932" y="3954"/>
                  </a:cubicBezTo>
                  <a:cubicBezTo>
                    <a:pt x="931" y="3954"/>
                    <a:pt x="929" y="3955"/>
                    <a:pt x="928" y="3955"/>
                  </a:cubicBezTo>
                  <a:cubicBezTo>
                    <a:pt x="925" y="3956"/>
                    <a:pt x="923" y="3957"/>
                    <a:pt x="921" y="3959"/>
                  </a:cubicBezTo>
                  <a:cubicBezTo>
                    <a:pt x="920" y="3961"/>
                    <a:pt x="919" y="3963"/>
                    <a:pt x="918" y="3964"/>
                  </a:cubicBezTo>
                  <a:cubicBezTo>
                    <a:pt x="918" y="3964"/>
                    <a:pt x="918" y="3964"/>
                    <a:pt x="918" y="3964"/>
                  </a:cubicBezTo>
                  <a:cubicBezTo>
                    <a:pt x="917" y="3967"/>
                    <a:pt x="917" y="3970"/>
                    <a:pt x="917" y="3973"/>
                  </a:cubicBezTo>
                  <a:cubicBezTo>
                    <a:pt x="917" y="3976"/>
                    <a:pt x="917" y="3979"/>
                    <a:pt x="919" y="3982"/>
                  </a:cubicBezTo>
                  <a:cubicBezTo>
                    <a:pt x="920" y="3985"/>
                    <a:pt x="922" y="3987"/>
                    <a:pt x="925" y="3989"/>
                  </a:cubicBezTo>
                  <a:cubicBezTo>
                    <a:pt x="925" y="3989"/>
                    <a:pt x="925" y="3989"/>
                    <a:pt x="925" y="3989"/>
                  </a:cubicBezTo>
                  <a:cubicBezTo>
                    <a:pt x="925" y="3989"/>
                    <a:pt x="925" y="3989"/>
                    <a:pt x="925" y="3989"/>
                  </a:cubicBezTo>
                  <a:cubicBezTo>
                    <a:pt x="927" y="3990"/>
                    <a:pt x="928" y="3991"/>
                    <a:pt x="928" y="3991"/>
                  </a:cubicBezTo>
                  <a:cubicBezTo>
                    <a:pt x="928" y="3991"/>
                    <a:pt x="928" y="3991"/>
                    <a:pt x="928" y="3991"/>
                  </a:cubicBezTo>
                  <a:cubicBezTo>
                    <a:pt x="929" y="3989"/>
                    <a:pt x="929" y="3989"/>
                    <a:pt x="929" y="3989"/>
                  </a:cubicBezTo>
                  <a:cubicBezTo>
                    <a:pt x="928" y="3991"/>
                    <a:pt x="928" y="3991"/>
                    <a:pt x="928" y="3991"/>
                  </a:cubicBezTo>
                  <a:cubicBezTo>
                    <a:pt x="928" y="3991"/>
                    <a:pt x="928" y="3991"/>
                    <a:pt x="928" y="3991"/>
                  </a:cubicBezTo>
                  <a:cubicBezTo>
                    <a:pt x="929" y="3989"/>
                    <a:pt x="929" y="3989"/>
                    <a:pt x="929" y="3989"/>
                  </a:cubicBezTo>
                  <a:cubicBezTo>
                    <a:pt x="928" y="3991"/>
                    <a:pt x="928" y="3991"/>
                    <a:pt x="928" y="3991"/>
                  </a:cubicBezTo>
                  <a:cubicBezTo>
                    <a:pt x="932" y="3984"/>
                    <a:pt x="932" y="3984"/>
                    <a:pt x="932" y="3984"/>
                  </a:cubicBezTo>
                  <a:cubicBezTo>
                    <a:pt x="927" y="3990"/>
                    <a:pt x="927" y="3990"/>
                    <a:pt x="927" y="3990"/>
                  </a:cubicBezTo>
                  <a:cubicBezTo>
                    <a:pt x="927" y="3990"/>
                    <a:pt x="928" y="3991"/>
                    <a:pt x="928" y="3991"/>
                  </a:cubicBezTo>
                  <a:cubicBezTo>
                    <a:pt x="932" y="3984"/>
                    <a:pt x="932" y="3984"/>
                    <a:pt x="932" y="3984"/>
                  </a:cubicBezTo>
                  <a:cubicBezTo>
                    <a:pt x="927" y="3990"/>
                    <a:pt x="927" y="3990"/>
                    <a:pt x="927" y="3990"/>
                  </a:cubicBezTo>
                  <a:cubicBezTo>
                    <a:pt x="927" y="3990"/>
                    <a:pt x="927" y="3990"/>
                    <a:pt x="927" y="3990"/>
                  </a:cubicBezTo>
                  <a:cubicBezTo>
                    <a:pt x="927" y="3990"/>
                    <a:pt x="927" y="3990"/>
                    <a:pt x="927" y="3990"/>
                  </a:cubicBezTo>
                  <a:cubicBezTo>
                    <a:pt x="930" y="3993"/>
                    <a:pt x="934" y="3996"/>
                    <a:pt x="937" y="3999"/>
                  </a:cubicBezTo>
                  <a:cubicBezTo>
                    <a:pt x="937" y="3999"/>
                    <a:pt x="937" y="3999"/>
                    <a:pt x="937" y="3999"/>
                  </a:cubicBezTo>
                  <a:cubicBezTo>
                    <a:pt x="937" y="4000"/>
                    <a:pt x="937" y="4000"/>
                    <a:pt x="937" y="4000"/>
                  </a:cubicBezTo>
                  <a:cubicBezTo>
                    <a:pt x="938" y="4000"/>
                    <a:pt x="938" y="4000"/>
                    <a:pt x="938" y="4000"/>
                  </a:cubicBezTo>
                  <a:cubicBezTo>
                    <a:pt x="940" y="3998"/>
                    <a:pt x="940" y="3998"/>
                    <a:pt x="940" y="3998"/>
                  </a:cubicBezTo>
                  <a:cubicBezTo>
                    <a:pt x="937" y="3999"/>
                    <a:pt x="937" y="3999"/>
                    <a:pt x="937" y="3999"/>
                  </a:cubicBezTo>
                  <a:cubicBezTo>
                    <a:pt x="937" y="4000"/>
                    <a:pt x="938" y="4000"/>
                    <a:pt x="938" y="4000"/>
                  </a:cubicBezTo>
                  <a:cubicBezTo>
                    <a:pt x="940" y="3998"/>
                    <a:pt x="940" y="3998"/>
                    <a:pt x="940" y="3998"/>
                  </a:cubicBezTo>
                  <a:cubicBezTo>
                    <a:pt x="937" y="3999"/>
                    <a:pt x="937" y="3999"/>
                    <a:pt x="937" y="3999"/>
                  </a:cubicBezTo>
                  <a:cubicBezTo>
                    <a:pt x="943" y="3997"/>
                    <a:pt x="943" y="3997"/>
                    <a:pt x="943" y="3997"/>
                  </a:cubicBezTo>
                  <a:cubicBezTo>
                    <a:pt x="937" y="3997"/>
                    <a:pt x="937" y="3997"/>
                    <a:pt x="937" y="3997"/>
                  </a:cubicBezTo>
                  <a:cubicBezTo>
                    <a:pt x="937" y="3998"/>
                    <a:pt x="937" y="3999"/>
                    <a:pt x="937" y="3999"/>
                  </a:cubicBezTo>
                  <a:cubicBezTo>
                    <a:pt x="943" y="3997"/>
                    <a:pt x="943" y="3997"/>
                    <a:pt x="943" y="3997"/>
                  </a:cubicBezTo>
                  <a:cubicBezTo>
                    <a:pt x="937" y="3997"/>
                    <a:pt x="937" y="3997"/>
                    <a:pt x="937" y="3997"/>
                  </a:cubicBezTo>
                  <a:cubicBezTo>
                    <a:pt x="944" y="3997"/>
                    <a:pt x="944" y="3997"/>
                    <a:pt x="944" y="3997"/>
                  </a:cubicBezTo>
                  <a:cubicBezTo>
                    <a:pt x="937" y="3994"/>
                    <a:pt x="937" y="3994"/>
                    <a:pt x="937" y="3994"/>
                  </a:cubicBezTo>
                  <a:cubicBezTo>
                    <a:pt x="937" y="3995"/>
                    <a:pt x="937" y="3996"/>
                    <a:pt x="937" y="3997"/>
                  </a:cubicBezTo>
                  <a:cubicBezTo>
                    <a:pt x="944" y="3997"/>
                    <a:pt x="944" y="3997"/>
                    <a:pt x="944" y="3997"/>
                  </a:cubicBezTo>
                  <a:cubicBezTo>
                    <a:pt x="937" y="3994"/>
                    <a:pt x="937" y="3994"/>
                    <a:pt x="937" y="3994"/>
                  </a:cubicBezTo>
                  <a:cubicBezTo>
                    <a:pt x="943" y="3997"/>
                    <a:pt x="943" y="3997"/>
                    <a:pt x="943" y="3997"/>
                  </a:cubicBezTo>
                  <a:cubicBezTo>
                    <a:pt x="938" y="3992"/>
                    <a:pt x="938" y="3992"/>
                    <a:pt x="938" y="3992"/>
                  </a:cubicBezTo>
                  <a:cubicBezTo>
                    <a:pt x="938" y="3993"/>
                    <a:pt x="938" y="3994"/>
                    <a:pt x="937" y="3994"/>
                  </a:cubicBezTo>
                  <a:cubicBezTo>
                    <a:pt x="943" y="3997"/>
                    <a:pt x="943" y="3997"/>
                    <a:pt x="943" y="3997"/>
                  </a:cubicBezTo>
                  <a:cubicBezTo>
                    <a:pt x="938" y="3992"/>
                    <a:pt x="938" y="3992"/>
                    <a:pt x="938" y="3992"/>
                  </a:cubicBezTo>
                  <a:cubicBezTo>
                    <a:pt x="938" y="3992"/>
                    <a:pt x="938" y="3992"/>
                    <a:pt x="938" y="3992"/>
                  </a:cubicBezTo>
                  <a:cubicBezTo>
                    <a:pt x="938" y="3993"/>
                    <a:pt x="936" y="3995"/>
                    <a:pt x="936" y="3995"/>
                  </a:cubicBezTo>
                  <a:cubicBezTo>
                    <a:pt x="935" y="3995"/>
                    <a:pt x="935" y="3995"/>
                    <a:pt x="935" y="3995"/>
                  </a:cubicBezTo>
                  <a:cubicBezTo>
                    <a:pt x="935" y="3996"/>
                    <a:pt x="935" y="3996"/>
                    <a:pt x="935" y="3996"/>
                  </a:cubicBezTo>
                  <a:cubicBezTo>
                    <a:pt x="936" y="3997"/>
                    <a:pt x="936" y="3997"/>
                    <a:pt x="936" y="3997"/>
                  </a:cubicBezTo>
                  <a:cubicBezTo>
                    <a:pt x="935" y="3995"/>
                    <a:pt x="935" y="3995"/>
                    <a:pt x="935" y="3995"/>
                  </a:cubicBezTo>
                  <a:cubicBezTo>
                    <a:pt x="935" y="3996"/>
                    <a:pt x="935" y="3996"/>
                    <a:pt x="935" y="3996"/>
                  </a:cubicBezTo>
                  <a:cubicBezTo>
                    <a:pt x="936" y="3997"/>
                    <a:pt x="936" y="3997"/>
                    <a:pt x="936" y="3997"/>
                  </a:cubicBezTo>
                  <a:cubicBezTo>
                    <a:pt x="935" y="3995"/>
                    <a:pt x="935" y="3995"/>
                    <a:pt x="935" y="3995"/>
                  </a:cubicBezTo>
                  <a:cubicBezTo>
                    <a:pt x="938" y="4001"/>
                    <a:pt x="938" y="4001"/>
                    <a:pt x="938" y="4001"/>
                  </a:cubicBezTo>
                  <a:cubicBezTo>
                    <a:pt x="938" y="3995"/>
                    <a:pt x="938" y="3995"/>
                    <a:pt x="938" y="3995"/>
                  </a:cubicBezTo>
                  <a:cubicBezTo>
                    <a:pt x="936" y="3995"/>
                    <a:pt x="936" y="3995"/>
                    <a:pt x="935" y="3995"/>
                  </a:cubicBezTo>
                  <a:cubicBezTo>
                    <a:pt x="938" y="4001"/>
                    <a:pt x="938" y="4001"/>
                    <a:pt x="938" y="4001"/>
                  </a:cubicBezTo>
                  <a:cubicBezTo>
                    <a:pt x="938" y="3995"/>
                    <a:pt x="938" y="3995"/>
                    <a:pt x="938" y="3995"/>
                  </a:cubicBezTo>
                  <a:cubicBezTo>
                    <a:pt x="938" y="4004"/>
                    <a:pt x="938" y="4004"/>
                    <a:pt x="938" y="4004"/>
                  </a:cubicBezTo>
                  <a:cubicBezTo>
                    <a:pt x="939" y="3995"/>
                    <a:pt x="939" y="3995"/>
                    <a:pt x="939" y="3995"/>
                  </a:cubicBezTo>
                  <a:cubicBezTo>
                    <a:pt x="939" y="3995"/>
                    <a:pt x="939" y="3995"/>
                    <a:pt x="938" y="3995"/>
                  </a:cubicBezTo>
                  <a:cubicBezTo>
                    <a:pt x="938" y="4004"/>
                    <a:pt x="938" y="4004"/>
                    <a:pt x="938" y="4004"/>
                  </a:cubicBezTo>
                  <a:cubicBezTo>
                    <a:pt x="939" y="3995"/>
                    <a:pt x="939" y="3995"/>
                    <a:pt x="939" y="3995"/>
                  </a:cubicBezTo>
                  <a:cubicBezTo>
                    <a:pt x="939" y="3995"/>
                    <a:pt x="939" y="3995"/>
                    <a:pt x="939" y="3995"/>
                  </a:cubicBezTo>
                  <a:cubicBezTo>
                    <a:pt x="938" y="3995"/>
                    <a:pt x="937" y="3995"/>
                    <a:pt x="935" y="3995"/>
                  </a:cubicBezTo>
                  <a:cubicBezTo>
                    <a:pt x="932" y="3995"/>
                    <a:pt x="928" y="3995"/>
                    <a:pt x="925" y="3997"/>
                  </a:cubicBezTo>
                  <a:cubicBezTo>
                    <a:pt x="922" y="3998"/>
                    <a:pt x="920" y="3999"/>
                    <a:pt x="918" y="4000"/>
                  </a:cubicBezTo>
                  <a:cubicBezTo>
                    <a:pt x="918" y="4000"/>
                    <a:pt x="918" y="4000"/>
                    <a:pt x="918" y="4000"/>
                  </a:cubicBezTo>
                  <a:cubicBezTo>
                    <a:pt x="919" y="4003"/>
                    <a:pt x="919" y="4003"/>
                    <a:pt x="919" y="4003"/>
                  </a:cubicBezTo>
                  <a:cubicBezTo>
                    <a:pt x="918" y="4000"/>
                    <a:pt x="918" y="4000"/>
                    <a:pt x="918" y="4000"/>
                  </a:cubicBezTo>
                  <a:cubicBezTo>
                    <a:pt x="918" y="4000"/>
                    <a:pt x="918" y="4000"/>
                    <a:pt x="918" y="4000"/>
                  </a:cubicBezTo>
                  <a:cubicBezTo>
                    <a:pt x="919" y="4003"/>
                    <a:pt x="919" y="4003"/>
                    <a:pt x="919" y="4003"/>
                  </a:cubicBezTo>
                  <a:cubicBezTo>
                    <a:pt x="918" y="4000"/>
                    <a:pt x="918" y="4000"/>
                    <a:pt x="918" y="4000"/>
                  </a:cubicBezTo>
                  <a:cubicBezTo>
                    <a:pt x="919" y="4001"/>
                    <a:pt x="919" y="4001"/>
                    <a:pt x="919" y="4001"/>
                  </a:cubicBezTo>
                  <a:cubicBezTo>
                    <a:pt x="918" y="4000"/>
                    <a:pt x="918" y="4000"/>
                    <a:pt x="918" y="4000"/>
                  </a:cubicBezTo>
                  <a:cubicBezTo>
                    <a:pt x="918" y="4000"/>
                    <a:pt x="918" y="4000"/>
                    <a:pt x="918" y="4000"/>
                  </a:cubicBezTo>
                  <a:cubicBezTo>
                    <a:pt x="919" y="4001"/>
                    <a:pt x="919" y="4001"/>
                    <a:pt x="919" y="4001"/>
                  </a:cubicBezTo>
                  <a:cubicBezTo>
                    <a:pt x="918" y="4000"/>
                    <a:pt x="918" y="4000"/>
                    <a:pt x="918" y="4000"/>
                  </a:cubicBezTo>
                  <a:cubicBezTo>
                    <a:pt x="918" y="4000"/>
                    <a:pt x="918" y="4000"/>
                    <a:pt x="918" y="4000"/>
                  </a:cubicBezTo>
                  <a:cubicBezTo>
                    <a:pt x="918" y="4000"/>
                    <a:pt x="917" y="4000"/>
                    <a:pt x="916" y="4000"/>
                  </a:cubicBezTo>
                  <a:cubicBezTo>
                    <a:pt x="915" y="4000"/>
                    <a:pt x="913" y="4000"/>
                    <a:pt x="910" y="4000"/>
                  </a:cubicBezTo>
                  <a:cubicBezTo>
                    <a:pt x="910" y="4000"/>
                    <a:pt x="910" y="4000"/>
                    <a:pt x="910" y="4000"/>
                  </a:cubicBezTo>
                  <a:cubicBezTo>
                    <a:pt x="909" y="4000"/>
                    <a:pt x="909" y="4000"/>
                    <a:pt x="909" y="4000"/>
                  </a:cubicBezTo>
                  <a:cubicBezTo>
                    <a:pt x="908" y="4000"/>
                    <a:pt x="906" y="4000"/>
                    <a:pt x="904" y="4001"/>
                  </a:cubicBezTo>
                  <a:cubicBezTo>
                    <a:pt x="902" y="4001"/>
                    <a:pt x="900" y="4002"/>
                    <a:pt x="898" y="4003"/>
                  </a:cubicBezTo>
                  <a:cubicBezTo>
                    <a:pt x="896" y="4005"/>
                    <a:pt x="894" y="4007"/>
                    <a:pt x="893" y="4010"/>
                  </a:cubicBezTo>
                  <a:cubicBezTo>
                    <a:pt x="892" y="4012"/>
                    <a:pt x="891" y="4014"/>
                    <a:pt x="891" y="4016"/>
                  </a:cubicBezTo>
                  <a:cubicBezTo>
                    <a:pt x="891" y="4016"/>
                    <a:pt x="891" y="4016"/>
                    <a:pt x="891" y="4016"/>
                  </a:cubicBezTo>
                  <a:cubicBezTo>
                    <a:pt x="889" y="4029"/>
                    <a:pt x="886" y="4042"/>
                    <a:pt x="883" y="4057"/>
                  </a:cubicBezTo>
                  <a:cubicBezTo>
                    <a:pt x="883" y="4057"/>
                    <a:pt x="883" y="4057"/>
                    <a:pt x="883" y="4057"/>
                  </a:cubicBezTo>
                  <a:cubicBezTo>
                    <a:pt x="883" y="4058"/>
                    <a:pt x="882" y="4060"/>
                    <a:pt x="882" y="4063"/>
                  </a:cubicBezTo>
                  <a:cubicBezTo>
                    <a:pt x="882" y="4065"/>
                    <a:pt x="882" y="4067"/>
                    <a:pt x="883" y="4069"/>
                  </a:cubicBezTo>
                  <a:cubicBezTo>
                    <a:pt x="884" y="4071"/>
                    <a:pt x="884" y="4073"/>
                    <a:pt x="886" y="4074"/>
                  </a:cubicBezTo>
                  <a:cubicBezTo>
                    <a:pt x="887" y="4077"/>
                    <a:pt x="890" y="4079"/>
                    <a:pt x="893" y="4080"/>
                  </a:cubicBezTo>
                  <a:cubicBezTo>
                    <a:pt x="895" y="4081"/>
                    <a:pt x="898" y="4081"/>
                    <a:pt x="900" y="4081"/>
                  </a:cubicBezTo>
                  <a:cubicBezTo>
                    <a:pt x="900" y="4081"/>
                    <a:pt x="900" y="4081"/>
                    <a:pt x="900" y="4081"/>
                  </a:cubicBezTo>
                  <a:cubicBezTo>
                    <a:pt x="901" y="4075"/>
                    <a:pt x="901" y="4075"/>
                    <a:pt x="901" y="4075"/>
                  </a:cubicBezTo>
                  <a:cubicBezTo>
                    <a:pt x="896" y="4079"/>
                    <a:pt x="896" y="4079"/>
                    <a:pt x="896" y="4079"/>
                  </a:cubicBezTo>
                  <a:cubicBezTo>
                    <a:pt x="897" y="4080"/>
                    <a:pt x="899" y="4081"/>
                    <a:pt x="900" y="4081"/>
                  </a:cubicBezTo>
                  <a:cubicBezTo>
                    <a:pt x="901" y="4075"/>
                    <a:pt x="901" y="4075"/>
                    <a:pt x="901" y="4075"/>
                  </a:cubicBezTo>
                  <a:cubicBezTo>
                    <a:pt x="896" y="4079"/>
                    <a:pt x="896" y="4079"/>
                    <a:pt x="896" y="4079"/>
                  </a:cubicBezTo>
                  <a:cubicBezTo>
                    <a:pt x="900" y="4076"/>
                    <a:pt x="900" y="4076"/>
                    <a:pt x="900" y="4076"/>
                  </a:cubicBezTo>
                  <a:cubicBezTo>
                    <a:pt x="895" y="4076"/>
                    <a:pt x="895" y="4076"/>
                    <a:pt x="895" y="4076"/>
                  </a:cubicBezTo>
                  <a:cubicBezTo>
                    <a:pt x="895" y="4077"/>
                    <a:pt x="895" y="4078"/>
                    <a:pt x="896" y="4079"/>
                  </a:cubicBezTo>
                  <a:cubicBezTo>
                    <a:pt x="900" y="4076"/>
                    <a:pt x="900" y="4076"/>
                    <a:pt x="900" y="4076"/>
                  </a:cubicBezTo>
                  <a:cubicBezTo>
                    <a:pt x="895" y="4076"/>
                    <a:pt x="895" y="4076"/>
                    <a:pt x="895" y="4076"/>
                  </a:cubicBezTo>
                  <a:cubicBezTo>
                    <a:pt x="896" y="4076"/>
                    <a:pt x="896" y="4076"/>
                    <a:pt x="896" y="4076"/>
                  </a:cubicBezTo>
                  <a:cubicBezTo>
                    <a:pt x="895" y="4076"/>
                    <a:pt x="895" y="4076"/>
                    <a:pt x="895" y="4076"/>
                  </a:cubicBezTo>
                  <a:cubicBezTo>
                    <a:pt x="895" y="4076"/>
                    <a:pt x="895" y="4076"/>
                    <a:pt x="895" y="4076"/>
                  </a:cubicBezTo>
                  <a:cubicBezTo>
                    <a:pt x="896" y="4076"/>
                    <a:pt x="896" y="4076"/>
                    <a:pt x="896" y="4076"/>
                  </a:cubicBezTo>
                  <a:cubicBezTo>
                    <a:pt x="895" y="4076"/>
                    <a:pt x="895" y="4076"/>
                    <a:pt x="895" y="4076"/>
                  </a:cubicBezTo>
                  <a:cubicBezTo>
                    <a:pt x="895" y="4076"/>
                    <a:pt x="895" y="4076"/>
                    <a:pt x="895" y="4076"/>
                  </a:cubicBezTo>
                  <a:cubicBezTo>
                    <a:pt x="894" y="4080"/>
                    <a:pt x="893" y="4084"/>
                    <a:pt x="893" y="4087"/>
                  </a:cubicBezTo>
                  <a:cubicBezTo>
                    <a:pt x="892" y="4091"/>
                    <a:pt x="892" y="4094"/>
                    <a:pt x="891" y="4097"/>
                  </a:cubicBezTo>
                  <a:cubicBezTo>
                    <a:pt x="891" y="4097"/>
                    <a:pt x="891" y="4097"/>
                    <a:pt x="891" y="4097"/>
                  </a:cubicBezTo>
                  <a:cubicBezTo>
                    <a:pt x="891" y="4098"/>
                    <a:pt x="890" y="4100"/>
                    <a:pt x="890" y="4102"/>
                  </a:cubicBezTo>
                  <a:cubicBezTo>
                    <a:pt x="889" y="4104"/>
                    <a:pt x="889" y="4106"/>
                    <a:pt x="889" y="4109"/>
                  </a:cubicBezTo>
                  <a:cubicBezTo>
                    <a:pt x="889" y="4111"/>
                    <a:pt x="889" y="4114"/>
                    <a:pt x="890" y="4117"/>
                  </a:cubicBezTo>
                  <a:cubicBezTo>
                    <a:pt x="891" y="4120"/>
                    <a:pt x="893" y="4123"/>
                    <a:pt x="895" y="4125"/>
                  </a:cubicBezTo>
                  <a:cubicBezTo>
                    <a:pt x="895" y="4125"/>
                    <a:pt x="895" y="4125"/>
                    <a:pt x="895" y="4125"/>
                  </a:cubicBezTo>
                  <a:cubicBezTo>
                    <a:pt x="900" y="4121"/>
                    <a:pt x="900" y="4121"/>
                    <a:pt x="900" y="4121"/>
                  </a:cubicBezTo>
                  <a:cubicBezTo>
                    <a:pt x="894" y="4123"/>
                    <a:pt x="894" y="4123"/>
                    <a:pt x="894" y="4123"/>
                  </a:cubicBezTo>
                  <a:cubicBezTo>
                    <a:pt x="894" y="4123"/>
                    <a:pt x="894" y="4124"/>
                    <a:pt x="895" y="4125"/>
                  </a:cubicBezTo>
                  <a:cubicBezTo>
                    <a:pt x="900" y="4121"/>
                    <a:pt x="900" y="4121"/>
                    <a:pt x="900" y="4121"/>
                  </a:cubicBezTo>
                  <a:cubicBezTo>
                    <a:pt x="894" y="4123"/>
                    <a:pt x="894" y="4123"/>
                    <a:pt x="894" y="4123"/>
                  </a:cubicBezTo>
                  <a:cubicBezTo>
                    <a:pt x="896" y="4122"/>
                    <a:pt x="896" y="4122"/>
                    <a:pt x="896" y="4122"/>
                  </a:cubicBezTo>
                  <a:cubicBezTo>
                    <a:pt x="894" y="4122"/>
                    <a:pt x="894" y="4122"/>
                    <a:pt x="894" y="4122"/>
                  </a:cubicBezTo>
                  <a:cubicBezTo>
                    <a:pt x="894" y="4123"/>
                    <a:pt x="894" y="4123"/>
                    <a:pt x="894" y="4123"/>
                  </a:cubicBezTo>
                  <a:cubicBezTo>
                    <a:pt x="896" y="4122"/>
                    <a:pt x="896" y="4122"/>
                    <a:pt x="896" y="4122"/>
                  </a:cubicBezTo>
                  <a:cubicBezTo>
                    <a:pt x="894" y="4122"/>
                    <a:pt x="894" y="4122"/>
                    <a:pt x="894" y="4122"/>
                  </a:cubicBezTo>
                  <a:cubicBezTo>
                    <a:pt x="894" y="4122"/>
                    <a:pt x="894" y="4122"/>
                    <a:pt x="894" y="4122"/>
                  </a:cubicBezTo>
                  <a:cubicBezTo>
                    <a:pt x="894" y="4122"/>
                    <a:pt x="894" y="4122"/>
                    <a:pt x="894" y="4122"/>
                  </a:cubicBezTo>
                  <a:cubicBezTo>
                    <a:pt x="894" y="4122"/>
                    <a:pt x="894" y="4122"/>
                    <a:pt x="894" y="4122"/>
                  </a:cubicBezTo>
                  <a:cubicBezTo>
                    <a:pt x="894" y="4122"/>
                    <a:pt x="894" y="4122"/>
                    <a:pt x="894" y="4122"/>
                  </a:cubicBezTo>
                  <a:cubicBezTo>
                    <a:pt x="894" y="4122"/>
                    <a:pt x="894" y="4122"/>
                    <a:pt x="894" y="4122"/>
                  </a:cubicBezTo>
                  <a:cubicBezTo>
                    <a:pt x="894" y="4123"/>
                    <a:pt x="894" y="4123"/>
                    <a:pt x="894" y="4123"/>
                  </a:cubicBezTo>
                  <a:cubicBezTo>
                    <a:pt x="894" y="4124"/>
                    <a:pt x="894" y="4125"/>
                    <a:pt x="893" y="4126"/>
                  </a:cubicBezTo>
                  <a:cubicBezTo>
                    <a:pt x="893" y="4126"/>
                    <a:pt x="893" y="4126"/>
                    <a:pt x="893" y="4126"/>
                  </a:cubicBezTo>
                  <a:cubicBezTo>
                    <a:pt x="893" y="4126"/>
                    <a:pt x="893" y="4126"/>
                    <a:pt x="893" y="4126"/>
                  </a:cubicBezTo>
                  <a:cubicBezTo>
                    <a:pt x="891" y="4143"/>
                    <a:pt x="888" y="4159"/>
                    <a:pt x="885" y="4176"/>
                  </a:cubicBezTo>
                  <a:cubicBezTo>
                    <a:pt x="885" y="4176"/>
                    <a:pt x="885" y="4176"/>
                    <a:pt x="885" y="4176"/>
                  </a:cubicBezTo>
                  <a:cubicBezTo>
                    <a:pt x="885" y="4176"/>
                    <a:pt x="885" y="4176"/>
                    <a:pt x="885" y="4176"/>
                  </a:cubicBezTo>
                  <a:cubicBezTo>
                    <a:pt x="885" y="4176"/>
                    <a:pt x="885" y="4176"/>
                    <a:pt x="885" y="4176"/>
                  </a:cubicBezTo>
                  <a:cubicBezTo>
                    <a:pt x="885" y="4176"/>
                    <a:pt x="885" y="4176"/>
                    <a:pt x="885" y="4176"/>
                  </a:cubicBezTo>
                  <a:cubicBezTo>
                    <a:pt x="885" y="4176"/>
                    <a:pt x="885" y="4176"/>
                    <a:pt x="885" y="4176"/>
                  </a:cubicBezTo>
                  <a:cubicBezTo>
                    <a:pt x="885" y="4176"/>
                    <a:pt x="885" y="4176"/>
                    <a:pt x="885" y="4176"/>
                  </a:cubicBezTo>
                  <a:cubicBezTo>
                    <a:pt x="885" y="4176"/>
                    <a:pt x="885" y="4176"/>
                    <a:pt x="885" y="4176"/>
                  </a:cubicBezTo>
                  <a:cubicBezTo>
                    <a:pt x="888" y="4177"/>
                    <a:pt x="888" y="4177"/>
                    <a:pt x="888" y="4177"/>
                  </a:cubicBezTo>
                  <a:cubicBezTo>
                    <a:pt x="886" y="4174"/>
                    <a:pt x="886" y="4174"/>
                    <a:pt x="886" y="4174"/>
                  </a:cubicBezTo>
                  <a:cubicBezTo>
                    <a:pt x="885" y="4175"/>
                    <a:pt x="885" y="4175"/>
                    <a:pt x="885" y="4176"/>
                  </a:cubicBezTo>
                  <a:cubicBezTo>
                    <a:pt x="888" y="4177"/>
                    <a:pt x="888" y="4177"/>
                    <a:pt x="888" y="4177"/>
                  </a:cubicBezTo>
                  <a:cubicBezTo>
                    <a:pt x="886" y="4174"/>
                    <a:pt x="886" y="4174"/>
                    <a:pt x="886" y="4174"/>
                  </a:cubicBezTo>
                  <a:cubicBezTo>
                    <a:pt x="889" y="4178"/>
                    <a:pt x="889" y="4178"/>
                    <a:pt x="889" y="4178"/>
                  </a:cubicBezTo>
                  <a:cubicBezTo>
                    <a:pt x="889" y="4173"/>
                    <a:pt x="889" y="4173"/>
                    <a:pt x="889" y="4173"/>
                  </a:cubicBezTo>
                  <a:cubicBezTo>
                    <a:pt x="888" y="4173"/>
                    <a:pt x="887" y="4173"/>
                    <a:pt x="886" y="4174"/>
                  </a:cubicBezTo>
                  <a:cubicBezTo>
                    <a:pt x="889" y="4178"/>
                    <a:pt x="889" y="4178"/>
                    <a:pt x="889" y="4178"/>
                  </a:cubicBezTo>
                  <a:cubicBezTo>
                    <a:pt x="889" y="4173"/>
                    <a:pt x="889" y="4173"/>
                    <a:pt x="889" y="4173"/>
                  </a:cubicBezTo>
                  <a:cubicBezTo>
                    <a:pt x="889" y="4175"/>
                    <a:pt x="889" y="4175"/>
                    <a:pt x="889" y="4175"/>
                  </a:cubicBezTo>
                  <a:cubicBezTo>
                    <a:pt x="889" y="4173"/>
                    <a:pt x="889" y="4173"/>
                    <a:pt x="889" y="4173"/>
                  </a:cubicBezTo>
                  <a:cubicBezTo>
                    <a:pt x="889" y="4173"/>
                    <a:pt x="889" y="4173"/>
                    <a:pt x="889" y="4173"/>
                  </a:cubicBezTo>
                  <a:cubicBezTo>
                    <a:pt x="889" y="4175"/>
                    <a:pt x="889" y="4175"/>
                    <a:pt x="889" y="4175"/>
                  </a:cubicBezTo>
                  <a:cubicBezTo>
                    <a:pt x="889" y="4173"/>
                    <a:pt x="889" y="4173"/>
                    <a:pt x="889" y="4173"/>
                  </a:cubicBezTo>
                  <a:cubicBezTo>
                    <a:pt x="889" y="4174"/>
                    <a:pt x="889" y="4174"/>
                    <a:pt x="889" y="4174"/>
                  </a:cubicBezTo>
                  <a:cubicBezTo>
                    <a:pt x="889" y="4173"/>
                    <a:pt x="889" y="4173"/>
                    <a:pt x="889" y="4173"/>
                  </a:cubicBezTo>
                  <a:cubicBezTo>
                    <a:pt x="889" y="4173"/>
                    <a:pt x="889" y="4173"/>
                    <a:pt x="889" y="4173"/>
                  </a:cubicBezTo>
                  <a:cubicBezTo>
                    <a:pt x="889" y="4174"/>
                    <a:pt x="889" y="4174"/>
                    <a:pt x="889" y="4174"/>
                  </a:cubicBezTo>
                  <a:cubicBezTo>
                    <a:pt x="889" y="4173"/>
                    <a:pt x="889" y="4173"/>
                    <a:pt x="889" y="4173"/>
                  </a:cubicBezTo>
                  <a:cubicBezTo>
                    <a:pt x="889" y="4173"/>
                    <a:pt x="889" y="4173"/>
                    <a:pt x="889" y="4173"/>
                  </a:cubicBezTo>
                  <a:cubicBezTo>
                    <a:pt x="888" y="4173"/>
                    <a:pt x="886" y="4172"/>
                    <a:pt x="884" y="4172"/>
                  </a:cubicBezTo>
                  <a:cubicBezTo>
                    <a:pt x="881" y="4172"/>
                    <a:pt x="879" y="4173"/>
                    <a:pt x="877" y="4174"/>
                  </a:cubicBezTo>
                  <a:cubicBezTo>
                    <a:pt x="875" y="4175"/>
                    <a:pt x="874" y="4176"/>
                    <a:pt x="873" y="4176"/>
                  </a:cubicBezTo>
                  <a:cubicBezTo>
                    <a:pt x="873" y="4176"/>
                    <a:pt x="873" y="4176"/>
                    <a:pt x="873" y="4176"/>
                  </a:cubicBezTo>
                  <a:cubicBezTo>
                    <a:pt x="872" y="4176"/>
                    <a:pt x="871" y="4177"/>
                    <a:pt x="871" y="4177"/>
                  </a:cubicBezTo>
                  <a:cubicBezTo>
                    <a:pt x="870" y="4177"/>
                    <a:pt x="870" y="4177"/>
                    <a:pt x="870" y="4177"/>
                  </a:cubicBezTo>
                  <a:cubicBezTo>
                    <a:pt x="870" y="4177"/>
                    <a:pt x="870" y="4177"/>
                    <a:pt x="870" y="4177"/>
                  </a:cubicBezTo>
                  <a:cubicBezTo>
                    <a:pt x="870" y="4179"/>
                    <a:pt x="870" y="4179"/>
                    <a:pt x="870" y="4179"/>
                  </a:cubicBezTo>
                  <a:cubicBezTo>
                    <a:pt x="870" y="4177"/>
                    <a:pt x="870" y="4177"/>
                    <a:pt x="870" y="4177"/>
                  </a:cubicBezTo>
                  <a:cubicBezTo>
                    <a:pt x="870" y="4177"/>
                    <a:pt x="870" y="4177"/>
                    <a:pt x="870" y="4177"/>
                  </a:cubicBezTo>
                  <a:cubicBezTo>
                    <a:pt x="870" y="4179"/>
                    <a:pt x="870" y="4179"/>
                    <a:pt x="870" y="4179"/>
                  </a:cubicBezTo>
                  <a:cubicBezTo>
                    <a:pt x="870" y="4177"/>
                    <a:pt x="870" y="4177"/>
                    <a:pt x="870" y="4177"/>
                  </a:cubicBezTo>
                  <a:cubicBezTo>
                    <a:pt x="870" y="4181"/>
                    <a:pt x="870" y="4181"/>
                    <a:pt x="870" y="4181"/>
                  </a:cubicBezTo>
                  <a:cubicBezTo>
                    <a:pt x="871" y="4177"/>
                    <a:pt x="871" y="4177"/>
                    <a:pt x="871" y="4177"/>
                  </a:cubicBezTo>
                  <a:cubicBezTo>
                    <a:pt x="870" y="4177"/>
                    <a:pt x="870" y="4177"/>
                    <a:pt x="870" y="4177"/>
                  </a:cubicBezTo>
                  <a:cubicBezTo>
                    <a:pt x="870" y="4181"/>
                    <a:pt x="870" y="4181"/>
                    <a:pt x="870" y="4181"/>
                  </a:cubicBezTo>
                  <a:cubicBezTo>
                    <a:pt x="871" y="4177"/>
                    <a:pt x="871" y="4177"/>
                    <a:pt x="871" y="4177"/>
                  </a:cubicBezTo>
                  <a:cubicBezTo>
                    <a:pt x="871" y="4177"/>
                    <a:pt x="871" y="4177"/>
                    <a:pt x="871" y="4177"/>
                  </a:cubicBezTo>
                  <a:cubicBezTo>
                    <a:pt x="859" y="4176"/>
                    <a:pt x="847" y="4173"/>
                    <a:pt x="834" y="4171"/>
                  </a:cubicBezTo>
                  <a:cubicBezTo>
                    <a:pt x="834" y="4171"/>
                    <a:pt x="834" y="4171"/>
                    <a:pt x="834" y="4171"/>
                  </a:cubicBezTo>
                  <a:cubicBezTo>
                    <a:pt x="834" y="4171"/>
                    <a:pt x="834" y="4171"/>
                    <a:pt x="834" y="4171"/>
                  </a:cubicBezTo>
                  <a:cubicBezTo>
                    <a:pt x="834" y="4171"/>
                    <a:pt x="834" y="4171"/>
                    <a:pt x="834" y="4171"/>
                  </a:cubicBezTo>
                  <a:cubicBezTo>
                    <a:pt x="833" y="4174"/>
                    <a:pt x="833" y="4174"/>
                    <a:pt x="833" y="4174"/>
                  </a:cubicBezTo>
                  <a:cubicBezTo>
                    <a:pt x="835" y="4172"/>
                    <a:pt x="835" y="4172"/>
                    <a:pt x="835" y="4172"/>
                  </a:cubicBezTo>
                  <a:cubicBezTo>
                    <a:pt x="834" y="4171"/>
                    <a:pt x="834" y="4171"/>
                    <a:pt x="834" y="4171"/>
                  </a:cubicBezTo>
                  <a:cubicBezTo>
                    <a:pt x="833" y="4174"/>
                    <a:pt x="833" y="4174"/>
                    <a:pt x="833" y="4174"/>
                  </a:cubicBezTo>
                  <a:cubicBezTo>
                    <a:pt x="835" y="4172"/>
                    <a:pt x="835" y="4172"/>
                    <a:pt x="835" y="4172"/>
                  </a:cubicBezTo>
                  <a:cubicBezTo>
                    <a:pt x="832" y="4176"/>
                    <a:pt x="832" y="4176"/>
                    <a:pt x="832" y="4176"/>
                  </a:cubicBezTo>
                  <a:cubicBezTo>
                    <a:pt x="837" y="4174"/>
                    <a:pt x="837" y="4174"/>
                    <a:pt x="837" y="4174"/>
                  </a:cubicBezTo>
                  <a:cubicBezTo>
                    <a:pt x="837" y="4173"/>
                    <a:pt x="836" y="4172"/>
                    <a:pt x="835" y="4172"/>
                  </a:cubicBezTo>
                  <a:cubicBezTo>
                    <a:pt x="832" y="4176"/>
                    <a:pt x="832" y="4176"/>
                    <a:pt x="832" y="4176"/>
                  </a:cubicBezTo>
                  <a:cubicBezTo>
                    <a:pt x="837" y="4174"/>
                    <a:pt x="837" y="4174"/>
                    <a:pt x="837" y="4174"/>
                  </a:cubicBezTo>
                  <a:cubicBezTo>
                    <a:pt x="833" y="4176"/>
                    <a:pt x="833" y="4176"/>
                    <a:pt x="833" y="4176"/>
                  </a:cubicBezTo>
                  <a:cubicBezTo>
                    <a:pt x="837" y="4175"/>
                    <a:pt x="837" y="4175"/>
                    <a:pt x="837" y="4175"/>
                  </a:cubicBezTo>
                  <a:cubicBezTo>
                    <a:pt x="837" y="4174"/>
                    <a:pt x="837" y="4174"/>
                    <a:pt x="837" y="4174"/>
                  </a:cubicBezTo>
                  <a:cubicBezTo>
                    <a:pt x="833" y="4176"/>
                    <a:pt x="833" y="4176"/>
                    <a:pt x="833" y="4176"/>
                  </a:cubicBezTo>
                  <a:cubicBezTo>
                    <a:pt x="837" y="4175"/>
                    <a:pt x="837" y="4175"/>
                    <a:pt x="837" y="4175"/>
                  </a:cubicBezTo>
                  <a:cubicBezTo>
                    <a:pt x="836" y="4175"/>
                    <a:pt x="836" y="4175"/>
                    <a:pt x="836" y="4175"/>
                  </a:cubicBezTo>
                  <a:cubicBezTo>
                    <a:pt x="837" y="4175"/>
                    <a:pt x="837" y="4175"/>
                    <a:pt x="837" y="4175"/>
                  </a:cubicBezTo>
                  <a:cubicBezTo>
                    <a:pt x="837" y="4175"/>
                    <a:pt x="837" y="4175"/>
                    <a:pt x="837" y="4175"/>
                  </a:cubicBezTo>
                  <a:cubicBezTo>
                    <a:pt x="836" y="4175"/>
                    <a:pt x="836" y="4175"/>
                    <a:pt x="836" y="4175"/>
                  </a:cubicBezTo>
                  <a:cubicBezTo>
                    <a:pt x="837" y="4175"/>
                    <a:pt x="837" y="4175"/>
                    <a:pt x="837" y="4175"/>
                  </a:cubicBezTo>
                  <a:cubicBezTo>
                    <a:pt x="837" y="4175"/>
                    <a:pt x="837" y="4175"/>
                    <a:pt x="837" y="4175"/>
                  </a:cubicBezTo>
                  <a:cubicBezTo>
                    <a:pt x="825" y="4176"/>
                    <a:pt x="825" y="4176"/>
                    <a:pt x="825" y="4176"/>
                  </a:cubicBezTo>
                  <a:cubicBezTo>
                    <a:pt x="837" y="4176"/>
                    <a:pt x="837" y="4176"/>
                    <a:pt x="837" y="4176"/>
                  </a:cubicBezTo>
                  <a:cubicBezTo>
                    <a:pt x="837" y="4175"/>
                    <a:pt x="837" y="4175"/>
                    <a:pt x="837" y="4175"/>
                  </a:cubicBezTo>
                  <a:cubicBezTo>
                    <a:pt x="837" y="4174"/>
                    <a:pt x="837" y="4174"/>
                    <a:pt x="837" y="4174"/>
                  </a:cubicBezTo>
                  <a:cubicBezTo>
                    <a:pt x="837" y="4173"/>
                    <a:pt x="837" y="4173"/>
                    <a:pt x="837" y="4173"/>
                  </a:cubicBezTo>
                  <a:cubicBezTo>
                    <a:pt x="837" y="4169"/>
                    <a:pt x="836" y="4167"/>
                    <a:pt x="836" y="4165"/>
                  </a:cubicBezTo>
                  <a:cubicBezTo>
                    <a:pt x="836" y="4163"/>
                    <a:pt x="836" y="4162"/>
                    <a:pt x="836" y="4162"/>
                  </a:cubicBezTo>
                  <a:cubicBezTo>
                    <a:pt x="836" y="4162"/>
                    <a:pt x="836" y="4162"/>
                    <a:pt x="836" y="4162"/>
                  </a:cubicBezTo>
                  <a:cubicBezTo>
                    <a:pt x="833" y="4162"/>
                    <a:pt x="833" y="4162"/>
                    <a:pt x="833" y="4162"/>
                  </a:cubicBezTo>
                  <a:cubicBezTo>
                    <a:pt x="836" y="4163"/>
                    <a:pt x="836" y="4163"/>
                    <a:pt x="836" y="4163"/>
                  </a:cubicBezTo>
                  <a:cubicBezTo>
                    <a:pt x="836" y="4162"/>
                    <a:pt x="836" y="4162"/>
                    <a:pt x="836" y="4162"/>
                  </a:cubicBezTo>
                  <a:cubicBezTo>
                    <a:pt x="833" y="4162"/>
                    <a:pt x="833" y="4162"/>
                    <a:pt x="833" y="4162"/>
                  </a:cubicBezTo>
                  <a:cubicBezTo>
                    <a:pt x="836" y="4163"/>
                    <a:pt x="836" y="4163"/>
                    <a:pt x="836" y="4163"/>
                  </a:cubicBezTo>
                  <a:cubicBezTo>
                    <a:pt x="835" y="4163"/>
                    <a:pt x="835" y="4163"/>
                    <a:pt x="835" y="4163"/>
                  </a:cubicBezTo>
                  <a:cubicBezTo>
                    <a:pt x="836" y="4163"/>
                    <a:pt x="836" y="4163"/>
                    <a:pt x="836" y="4163"/>
                  </a:cubicBezTo>
                  <a:cubicBezTo>
                    <a:pt x="836" y="4163"/>
                    <a:pt x="836" y="4163"/>
                    <a:pt x="836" y="4163"/>
                  </a:cubicBezTo>
                  <a:cubicBezTo>
                    <a:pt x="835" y="4163"/>
                    <a:pt x="835" y="4163"/>
                    <a:pt x="835" y="4163"/>
                  </a:cubicBezTo>
                  <a:cubicBezTo>
                    <a:pt x="836" y="4163"/>
                    <a:pt x="836" y="4163"/>
                    <a:pt x="836" y="4163"/>
                  </a:cubicBezTo>
                  <a:cubicBezTo>
                    <a:pt x="836" y="4163"/>
                    <a:pt x="836" y="4162"/>
                    <a:pt x="836" y="4162"/>
                  </a:cubicBezTo>
                  <a:cubicBezTo>
                    <a:pt x="836" y="4162"/>
                    <a:pt x="836" y="4162"/>
                    <a:pt x="836" y="4162"/>
                  </a:cubicBezTo>
                  <a:cubicBezTo>
                    <a:pt x="836" y="4162"/>
                    <a:pt x="836" y="4162"/>
                    <a:pt x="836" y="4162"/>
                  </a:cubicBezTo>
                  <a:cubicBezTo>
                    <a:pt x="838" y="4156"/>
                    <a:pt x="839" y="4150"/>
                    <a:pt x="841" y="4144"/>
                  </a:cubicBezTo>
                  <a:cubicBezTo>
                    <a:pt x="841" y="4144"/>
                    <a:pt x="841" y="4144"/>
                    <a:pt x="841" y="4144"/>
                  </a:cubicBezTo>
                  <a:cubicBezTo>
                    <a:pt x="842" y="4137"/>
                    <a:pt x="843" y="4130"/>
                    <a:pt x="844" y="4123"/>
                  </a:cubicBezTo>
                  <a:cubicBezTo>
                    <a:pt x="844" y="4123"/>
                    <a:pt x="844" y="4123"/>
                    <a:pt x="844" y="4123"/>
                  </a:cubicBezTo>
                  <a:cubicBezTo>
                    <a:pt x="844" y="4123"/>
                    <a:pt x="844" y="4123"/>
                    <a:pt x="844" y="4123"/>
                  </a:cubicBezTo>
                  <a:cubicBezTo>
                    <a:pt x="844" y="4122"/>
                    <a:pt x="844" y="4121"/>
                    <a:pt x="844" y="4119"/>
                  </a:cubicBezTo>
                  <a:cubicBezTo>
                    <a:pt x="844" y="4118"/>
                    <a:pt x="844" y="4116"/>
                    <a:pt x="843" y="4113"/>
                  </a:cubicBezTo>
                  <a:cubicBezTo>
                    <a:pt x="843" y="4112"/>
                    <a:pt x="842" y="4110"/>
                    <a:pt x="841" y="4108"/>
                  </a:cubicBezTo>
                  <a:cubicBezTo>
                    <a:pt x="839" y="4106"/>
                    <a:pt x="837" y="4104"/>
                    <a:pt x="834" y="4103"/>
                  </a:cubicBezTo>
                  <a:cubicBezTo>
                    <a:pt x="832" y="4102"/>
                    <a:pt x="830" y="4102"/>
                    <a:pt x="827" y="4102"/>
                  </a:cubicBezTo>
                  <a:cubicBezTo>
                    <a:pt x="827" y="4102"/>
                    <a:pt x="827" y="4102"/>
                    <a:pt x="827" y="4102"/>
                  </a:cubicBezTo>
                  <a:cubicBezTo>
                    <a:pt x="820" y="4101"/>
                    <a:pt x="812" y="4099"/>
                    <a:pt x="803" y="4098"/>
                  </a:cubicBezTo>
                  <a:cubicBezTo>
                    <a:pt x="801" y="4097"/>
                    <a:pt x="800" y="4097"/>
                    <a:pt x="800" y="4097"/>
                  </a:cubicBezTo>
                  <a:cubicBezTo>
                    <a:pt x="800" y="4097"/>
                    <a:pt x="800" y="4097"/>
                    <a:pt x="800" y="4097"/>
                  </a:cubicBezTo>
                  <a:cubicBezTo>
                    <a:pt x="800" y="4097"/>
                    <a:pt x="800" y="4097"/>
                    <a:pt x="800" y="4097"/>
                  </a:cubicBezTo>
                  <a:cubicBezTo>
                    <a:pt x="800" y="4097"/>
                    <a:pt x="800" y="4097"/>
                    <a:pt x="800" y="4097"/>
                  </a:cubicBezTo>
                  <a:cubicBezTo>
                    <a:pt x="800" y="4097"/>
                    <a:pt x="800" y="4097"/>
                    <a:pt x="800" y="4097"/>
                  </a:cubicBezTo>
                  <a:cubicBezTo>
                    <a:pt x="800" y="4097"/>
                    <a:pt x="800" y="4097"/>
                    <a:pt x="800" y="4097"/>
                  </a:cubicBezTo>
                  <a:cubicBezTo>
                    <a:pt x="798" y="4101"/>
                    <a:pt x="798" y="4101"/>
                    <a:pt x="798" y="4101"/>
                  </a:cubicBezTo>
                  <a:cubicBezTo>
                    <a:pt x="802" y="4098"/>
                    <a:pt x="802" y="4098"/>
                    <a:pt x="802" y="4098"/>
                  </a:cubicBezTo>
                  <a:cubicBezTo>
                    <a:pt x="801" y="4097"/>
                    <a:pt x="800" y="4097"/>
                    <a:pt x="800" y="4097"/>
                  </a:cubicBezTo>
                  <a:cubicBezTo>
                    <a:pt x="798" y="4101"/>
                    <a:pt x="798" y="4101"/>
                    <a:pt x="798" y="4101"/>
                  </a:cubicBezTo>
                  <a:cubicBezTo>
                    <a:pt x="802" y="4098"/>
                    <a:pt x="802" y="4098"/>
                    <a:pt x="802" y="4098"/>
                  </a:cubicBezTo>
                  <a:cubicBezTo>
                    <a:pt x="797" y="4102"/>
                    <a:pt x="797" y="4102"/>
                    <a:pt x="797" y="4102"/>
                  </a:cubicBezTo>
                  <a:cubicBezTo>
                    <a:pt x="803" y="4099"/>
                    <a:pt x="803" y="4099"/>
                    <a:pt x="803" y="4099"/>
                  </a:cubicBezTo>
                  <a:cubicBezTo>
                    <a:pt x="802" y="4099"/>
                    <a:pt x="802" y="4098"/>
                    <a:pt x="802" y="4098"/>
                  </a:cubicBezTo>
                  <a:cubicBezTo>
                    <a:pt x="797" y="4102"/>
                    <a:pt x="797" y="4102"/>
                    <a:pt x="797" y="4102"/>
                  </a:cubicBezTo>
                  <a:cubicBezTo>
                    <a:pt x="803" y="4099"/>
                    <a:pt x="803" y="4099"/>
                    <a:pt x="803" y="4099"/>
                  </a:cubicBezTo>
                  <a:cubicBezTo>
                    <a:pt x="798" y="4102"/>
                    <a:pt x="798" y="4102"/>
                    <a:pt x="798" y="4102"/>
                  </a:cubicBezTo>
                  <a:cubicBezTo>
                    <a:pt x="803" y="4100"/>
                    <a:pt x="803" y="4100"/>
                    <a:pt x="803" y="4100"/>
                  </a:cubicBezTo>
                  <a:cubicBezTo>
                    <a:pt x="803" y="4100"/>
                    <a:pt x="803" y="4100"/>
                    <a:pt x="803" y="4099"/>
                  </a:cubicBezTo>
                  <a:cubicBezTo>
                    <a:pt x="798" y="4102"/>
                    <a:pt x="798" y="4102"/>
                    <a:pt x="798" y="4102"/>
                  </a:cubicBezTo>
                  <a:cubicBezTo>
                    <a:pt x="803" y="4100"/>
                    <a:pt x="803" y="4100"/>
                    <a:pt x="803" y="4100"/>
                  </a:cubicBezTo>
                  <a:cubicBezTo>
                    <a:pt x="801" y="4101"/>
                    <a:pt x="801" y="4101"/>
                    <a:pt x="801" y="4101"/>
                  </a:cubicBezTo>
                  <a:cubicBezTo>
                    <a:pt x="803" y="4101"/>
                    <a:pt x="803" y="4101"/>
                    <a:pt x="803" y="4101"/>
                  </a:cubicBezTo>
                  <a:cubicBezTo>
                    <a:pt x="803" y="4100"/>
                    <a:pt x="803" y="4100"/>
                    <a:pt x="803" y="4100"/>
                  </a:cubicBezTo>
                  <a:cubicBezTo>
                    <a:pt x="801" y="4101"/>
                    <a:pt x="801" y="4101"/>
                    <a:pt x="801" y="4101"/>
                  </a:cubicBezTo>
                  <a:cubicBezTo>
                    <a:pt x="803" y="4101"/>
                    <a:pt x="803" y="4101"/>
                    <a:pt x="803" y="4101"/>
                  </a:cubicBezTo>
                  <a:cubicBezTo>
                    <a:pt x="803" y="4100"/>
                    <a:pt x="803" y="4100"/>
                    <a:pt x="803" y="4100"/>
                  </a:cubicBezTo>
                  <a:cubicBezTo>
                    <a:pt x="803" y="4100"/>
                    <a:pt x="803" y="4100"/>
                    <a:pt x="803" y="4099"/>
                  </a:cubicBezTo>
                  <a:cubicBezTo>
                    <a:pt x="803" y="4098"/>
                    <a:pt x="803" y="4098"/>
                    <a:pt x="803" y="4097"/>
                  </a:cubicBezTo>
                  <a:cubicBezTo>
                    <a:pt x="803" y="4097"/>
                    <a:pt x="803" y="4097"/>
                    <a:pt x="803" y="4097"/>
                  </a:cubicBezTo>
                  <a:cubicBezTo>
                    <a:pt x="803" y="4097"/>
                    <a:pt x="803" y="4097"/>
                    <a:pt x="803" y="4097"/>
                  </a:cubicBezTo>
                  <a:cubicBezTo>
                    <a:pt x="803" y="4097"/>
                    <a:pt x="803" y="4097"/>
                    <a:pt x="803" y="4097"/>
                  </a:cubicBezTo>
                  <a:cubicBezTo>
                    <a:pt x="803" y="4097"/>
                    <a:pt x="803" y="4097"/>
                    <a:pt x="803" y="4097"/>
                  </a:cubicBezTo>
                  <a:cubicBezTo>
                    <a:pt x="803" y="4097"/>
                    <a:pt x="803" y="4097"/>
                    <a:pt x="803" y="4097"/>
                  </a:cubicBezTo>
                  <a:cubicBezTo>
                    <a:pt x="803" y="4097"/>
                    <a:pt x="803" y="4097"/>
                    <a:pt x="803" y="4097"/>
                  </a:cubicBezTo>
                  <a:cubicBezTo>
                    <a:pt x="803" y="4097"/>
                    <a:pt x="803" y="4096"/>
                    <a:pt x="804" y="4095"/>
                  </a:cubicBezTo>
                  <a:cubicBezTo>
                    <a:pt x="804" y="4093"/>
                    <a:pt x="804" y="4092"/>
                    <a:pt x="804" y="4089"/>
                  </a:cubicBezTo>
                  <a:cubicBezTo>
                    <a:pt x="804" y="4088"/>
                    <a:pt x="804" y="4086"/>
                    <a:pt x="804" y="4085"/>
                  </a:cubicBezTo>
                  <a:cubicBezTo>
                    <a:pt x="803" y="4083"/>
                    <a:pt x="802" y="4081"/>
                    <a:pt x="800" y="4079"/>
                  </a:cubicBezTo>
                  <a:cubicBezTo>
                    <a:pt x="800" y="4079"/>
                    <a:pt x="800" y="4079"/>
                    <a:pt x="800" y="4079"/>
                  </a:cubicBezTo>
                  <a:cubicBezTo>
                    <a:pt x="799" y="4077"/>
                    <a:pt x="797" y="4076"/>
                    <a:pt x="796" y="4075"/>
                  </a:cubicBezTo>
                  <a:cubicBezTo>
                    <a:pt x="794" y="4074"/>
                    <a:pt x="792" y="4074"/>
                    <a:pt x="790" y="4074"/>
                  </a:cubicBezTo>
                  <a:cubicBezTo>
                    <a:pt x="788" y="4074"/>
                    <a:pt x="786" y="4074"/>
                    <a:pt x="785" y="4074"/>
                  </a:cubicBezTo>
                  <a:cubicBezTo>
                    <a:pt x="785" y="4074"/>
                    <a:pt x="784" y="4074"/>
                    <a:pt x="784" y="4074"/>
                  </a:cubicBezTo>
                  <a:cubicBezTo>
                    <a:pt x="784" y="4074"/>
                    <a:pt x="784" y="4074"/>
                    <a:pt x="784" y="4074"/>
                  </a:cubicBezTo>
                  <a:cubicBezTo>
                    <a:pt x="784" y="4076"/>
                    <a:pt x="784" y="4076"/>
                    <a:pt x="784" y="4076"/>
                  </a:cubicBezTo>
                  <a:cubicBezTo>
                    <a:pt x="784" y="4074"/>
                    <a:pt x="784" y="4074"/>
                    <a:pt x="784" y="4074"/>
                  </a:cubicBezTo>
                  <a:cubicBezTo>
                    <a:pt x="784" y="4074"/>
                    <a:pt x="784" y="4074"/>
                    <a:pt x="784" y="4074"/>
                  </a:cubicBezTo>
                  <a:cubicBezTo>
                    <a:pt x="784" y="4076"/>
                    <a:pt x="784" y="4076"/>
                    <a:pt x="784" y="4076"/>
                  </a:cubicBezTo>
                  <a:cubicBezTo>
                    <a:pt x="784" y="4074"/>
                    <a:pt x="784" y="4074"/>
                    <a:pt x="784" y="4074"/>
                  </a:cubicBezTo>
                  <a:cubicBezTo>
                    <a:pt x="780" y="4073"/>
                    <a:pt x="777" y="4072"/>
                    <a:pt x="775" y="4071"/>
                  </a:cubicBezTo>
                  <a:cubicBezTo>
                    <a:pt x="774" y="4071"/>
                    <a:pt x="774" y="4071"/>
                    <a:pt x="774" y="4070"/>
                  </a:cubicBezTo>
                  <a:cubicBezTo>
                    <a:pt x="773" y="4070"/>
                    <a:pt x="773" y="4070"/>
                    <a:pt x="773" y="4069"/>
                  </a:cubicBezTo>
                  <a:cubicBezTo>
                    <a:pt x="773" y="4069"/>
                    <a:pt x="773" y="4069"/>
                    <a:pt x="773" y="4069"/>
                  </a:cubicBezTo>
                  <a:cubicBezTo>
                    <a:pt x="771" y="4067"/>
                    <a:pt x="770" y="4065"/>
                    <a:pt x="767" y="4064"/>
                  </a:cubicBezTo>
                  <a:cubicBezTo>
                    <a:pt x="765" y="4062"/>
                    <a:pt x="762" y="4061"/>
                    <a:pt x="759" y="4061"/>
                  </a:cubicBezTo>
                  <a:cubicBezTo>
                    <a:pt x="755" y="4061"/>
                    <a:pt x="753" y="4062"/>
                    <a:pt x="750" y="4063"/>
                  </a:cubicBezTo>
                  <a:cubicBezTo>
                    <a:pt x="748" y="4064"/>
                    <a:pt x="747" y="4066"/>
                    <a:pt x="745" y="4068"/>
                  </a:cubicBezTo>
                  <a:cubicBezTo>
                    <a:pt x="745" y="4067"/>
                    <a:pt x="745" y="4067"/>
                    <a:pt x="745" y="4067"/>
                  </a:cubicBezTo>
                  <a:cubicBezTo>
                    <a:pt x="745" y="4068"/>
                    <a:pt x="744" y="4069"/>
                    <a:pt x="744" y="4069"/>
                  </a:cubicBezTo>
                  <a:cubicBezTo>
                    <a:pt x="743" y="4069"/>
                    <a:pt x="743" y="4069"/>
                    <a:pt x="743" y="4069"/>
                  </a:cubicBezTo>
                  <a:cubicBezTo>
                    <a:pt x="743" y="4069"/>
                    <a:pt x="743" y="4069"/>
                    <a:pt x="743" y="4069"/>
                  </a:cubicBezTo>
                  <a:cubicBezTo>
                    <a:pt x="745" y="4072"/>
                    <a:pt x="745" y="4072"/>
                    <a:pt x="745" y="4072"/>
                  </a:cubicBezTo>
                  <a:cubicBezTo>
                    <a:pt x="744" y="4069"/>
                    <a:pt x="744" y="4069"/>
                    <a:pt x="744" y="4069"/>
                  </a:cubicBezTo>
                  <a:cubicBezTo>
                    <a:pt x="744" y="4069"/>
                    <a:pt x="743" y="4069"/>
                    <a:pt x="743" y="4069"/>
                  </a:cubicBezTo>
                  <a:cubicBezTo>
                    <a:pt x="745" y="4072"/>
                    <a:pt x="745" y="4072"/>
                    <a:pt x="745" y="4072"/>
                  </a:cubicBezTo>
                  <a:cubicBezTo>
                    <a:pt x="744" y="4069"/>
                    <a:pt x="744" y="4069"/>
                    <a:pt x="744" y="4069"/>
                  </a:cubicBezTo>
                  <a:cubicBezTo>
                    <a:pt x="744" y="4069"/>
                    <a:pt x="744" y="4069"/>
                    <a:pt x="744" y="4069"/>
                  </a:cubicBezTo>
                  <a:cubicBezTo>
                    <a:pt x="743" y="4070"/>
                    <a:pt x="742" y="4070"/>
                    <a:pt x="741" y="4070"/>
                  </a:cubicBezTo>
                  <a:cubicBezTo>
                    <a:pt x="741" y="4070"/>
                    <a:pt x="741" y="4070"/>
                    <a:pt x="741" y="4070"/>
                  </a:cubicBezTo>
                  <a:cubicBezTo>
                    <a:pt x="741" y="4071"/>
                    <a:pt x="741" y="4071"/>
                    <a:pt x="741" y="4071"/>
                  </a:cubicBezTo>
                  <a:cubicBezTo>
                    <a:pt x="742" y="4070"/>
                    <a:pt x="742" y="4070"/>
                    <a:pt x="742" y="4070"/>
                  </a:cubicBezTo>
                  <a:cubicBezTo>
                    <a:pt x="741" y="4070"/>
                    <a:pt x="741" y="4070"/>
                    <a:pt x="741" y="4070"/>
                  </a:cubicBezTo>
                  <a:cubicBezTo>
                    <a:pt x="741" y="4071"/>
                    <a:pt x="741" y="4071"/>
                    <a:pt x="741" y="4071"/>
                  </a:cubicBezTo>
                  <a:cubicBezTo>
                    <a:pt x="742" y="4070"/>
                    <a:pt x="742" y="4070"/>
                    <a:pt x="742" y="4070"/>
                  </a:cubicBezTo>
                  <a:cubicBezTo>
                    <a:pt x="740" y="4072"/>
                    <a:pt x="740" y="4072"/>
                    <a:pt x="740" y="4072"/>
                  </a:cubicBezTo>
                  <a:cubicBezTo>
                    <a:pt x="743" y="4071"/>
                    <a:pt x="743" y="4071"/>
                    <a:pt x="743" y="4071"/>
                  </a:cubicBezTo>
                  <a:cubicBezTo>
                    <a:pt x="742" y="4071"/>
                    <a:pt x="742" y="4070"/>
                    <a:pt x="742" y="4070"/>
                  </a:cubicBezTo>
                  <a:cubicBezTo>
                    <a:pt x="740" y="4072"/>
                    <a:pt x="740" y="4072"/>
                    <a:pt x="740" y="4072"/>
                  </a:cubicBezTo>
                  <a:cubicBezTo>
                    <a:pt x="743" y="4071"/>
                    <a:pt x="743" y="4071"/>
                    <a:pt x="743" y="4071"/>
                  </a:cubicBezTo>
                  <a:cubicBezTo>
                    <a:pt x="742" y="4071"/>
                    <a:pt x="742" y="4071"/>
                    <a:pt x="742" y="4071"/>
                  </a:cubicBezTo>
                  <a:cubicBezTo>
                    <a:pt x="743" y="4071"/>
                    <a:pt x="743" y="4071"/>
                    <a:pt x="743" y="4071"/>
                  </a:cubicBezTo>
                  <a:cubicBezTo>
                    <a:pt x="743" y="4071"/>
                    <a:pt x="743" y="4071"/>
                    <a:pt x="743" y="4071"/>
                  </a:cubicBezTo>
                  <a:cubicBezTo>
                    <a:pt x="742" y="4071"/>
                    <a:pt x="742" y="4071"/>
                    <a:pt x="742" y="4071"/>
                  </a:cubicBezTo>
                  <a:cubicBezTo>
                    <a:pt x="743" y="4071"/>
                    <a:pt x="743" y="4071"/>
                    <a:pt x="743" y="4071"/>
                  </a:cubicBezTo>
                  <a:cubicBezTo>
                    <a:pt x="743" y="4071"/>
                    <a:pt x="742" y="4071"/>
                    <a:pt x="742" y="4070"/>
                  </a:cubicBezTo>
                  <a:cubicBezTo>
                    <a:pt x="742" y="4069"/>
                    <a:pt x="742" y="4069"/>
                    <a:pt x="743" y="4068"/>
                  </a:cubicBezTo>
                  <a:cubicBezTo>
                    <a:pt x="745" y="4054"/>
                    <a:pt x="747" y="4039"/>
                    <a:pt x="750" y="4025"/>
                  </a:cubicBezTo>
                  <a:cubicBezTo>
                    <a:pt x="750" y="4025"/>
                    <a:pt x="750" y="4025"/>
                    <a:pt x="750" y="4025"/>
                  </a:cubicBezTo>
                  <a:cubicBezTo>
                    <a:pt x="750" y="4021"/>
                    <a:pt x="751" y="4019"/>
                    <a:pt x="751" y="4018"/>
                  </a:cubicBezTo>
                  <a:cubicBezTo>
                    <a:pt x="751" y="4016"/>
                    <a:pt x="751" y="4015"/>
                    <a:pt x="751" y="4014"/>
                  </a:cubicBezTo>
                  <a:cubicBezTo>
                    <a:pt x="751" y="4011"/>
                    <a:pt x="751" y="4009"/>
                    <a:pt x="750" y="4007"/>
                  </a:cubicBezTo>
                  <a:cubicBezTo>
                    <a:pt x="749" y="4004"/>
                    <a:pt x="747" y="4001"/>
                    <a:pt x="744" y="3999"/>
                  </a:cubicBezTo>
                  <a:cubicBezTo>
                    <a:pt x="741" y="3997"/>
                    <a:pt x="738" y="3996"/>
                    <a:pt x="735" y="3996"/>
                  </a:cubicBezTo>
                  <a:cubicBezTo>
                    <a:pt x="735" y="3996"/>
                    <a:pt x="735" y="3996"/>
                    <a:pt x="735" y="3996"/>
                  </a:cubicBezTo>
                  <a:cubicBezTo>
                    <a:pt x="732" y="3996"/>
                    <a:pt x="728" y="3995"/>
                    <a:pt x="724" y="3994"/>
                  </a:cubicBezTo>
                  <a:cubicBezTo>
                    <a:pt x="720" y="3994"/>
                    <a:pt x="715" y="3992"/>
                    <a:pt x="709" y="3992"/>
                  </a:cubicBezTo>
                  <a:cubicBezTo>
                    <a:pt x="706" y="3992"/>
                    <a:pt x="703" y="3993"/>
                    <a:pt x="700" y="3993"/>
                  </a:cubicBezTo>
                  <a:cubicBezTo>
                    <a:pt x="700" y="3993"/>
                    <a:pt x="700" y="3993"/>
                    <a:pt x="700" y="3993"/>
                  </a:cubicBezTo>
                  <a:cubicBezTo>
                    <a:pt x="700" y="3993"/>
                    <a:pt x="700" y="3993"/>
                    <a:pt x="700" y="3993"/>
                  </a:cubicBezTo>
                  <a:cubicBezTo>
                    <a:pt x="699" y="3993"/>
                    <a:pt x="699" y="3993"/>
                    <a:pt x="699" y="3993"/>
                  </a:cubicBezTo>
                  <a:cubicBezTo>
                    <a:pt x="699" y="3993"/>
                    <a:pt x="699" y="3993"/>
                    <a:pt x="699" y="3993"/>
                  </a:cubicBezTo>
                  <a:cubicBezTo>
                    <a:pt x="699" y="3997"/>
                    <a:pt x="699" y="3997"/>
                    <a:pt x="699" y="3997"/>
                  </a:cubicBezTo>
                  <a:cubicBezTo>
                    <a:pt x="701" y="3994"/>
                    <a:pt x="701" y="3994"/>
                    <a:pt x="701" y="3994"/>
                  </a:cubicBezTo>
                  <a:cubicBezTo>
                    <a:pt x="700" y="3993"/>
                    <a:pt x="699" y="3993"/>
                    <a:pt x="699" y="3993"/>
                  </a:cubicBezTo>
                  <a:cubicBezTo>
                    <a:pt x="699" y="3997"/>
                    <a:pt x="699" y="3997"/>
                    <a:pt x="699" y="3997"/>
                  </a:cubicBezTo>
                  <a:cubicBezTo>
                    <a:pt x="701" y="3994"/>
                    <a:pt x="701" y="3994"/>
                    <a:pt x="701" y="3994"/>
                  </a:cubicBezTo>
                  <a:cubicBezTo>
                    <a:pt x="701" y="3994"/>
                    <a:pt x="701" y="3994"/>
                    <a:pt x="701" y="3994"/>
                  </a:cubicBezTo>
                  <a:cubicBezTo>
                    <a:pt x="697" y="3992"/>
                    <a:pt x="693" y="3990"/>
                    <a:pt x="689" y="3989"/>
                  </a:cubicBezTo>
                  <a:cubicBezTo>
                    <a:pt x="683" y="3987"/>
                    <a:pt x="678" y="3987"/>
                    <a:pt x="673" y="3987"/>
                  </a:cubicBezTo>
                  <a:cubicBezTo>
                    <a:pt x="668" y="3986"/>
                    <a:pt x="664" y="3986"/>
                    <a:pt x="660" y="3985"/>
                  </a:cubicBezTo>
                  <a:cubicBezTo>
                    <a:pt x="660" y="3985"/>
                    <a:pt x="660" y="3985"/>
                    <a:pt x="660" y="3985"/>
                  </a:cubicBezTo>
                  <a:cubicBezTo>
                    <a:pt x="652" y="3983"/>
                    <a:pt x="644" y="3982"/>
                    <a:pt x="635" y="3981"/>
                  </a:cubicBezTo>
                  <a:cubicBezTo>
                    <a:pt x="635" y="3981"/>
                    <a:pt x="635" y="3981"/>
                    <a:pt x="635" y="3981"/>
                  </a:cubicBezTo>
                  <a:cubicBezTo>
                    <a:pt x="635" y="3981"/>
                    <a:pt x="635" y="3981"/>
                    <a:pt x="635" y="3981"/>
                  </a:cubicBezTo>
                  <a:cubicBezTo>
                    <a:pt x="635" y="3981"/>
                    <a:pt x="635" y="3981"/>
                    <a:pt x="635" y="3981"/>
                  </a:cubicBezTo>
                  <a:cubicBezTo>
                    <a:pt x="634" y="3984"/>
                    <a:pt x="634" y="3984"/>
                    <a:pt x="634" y="3984"/>
                  </a:cubicBezTo>
                  <a:cubicBezTo>
                    <a:pt x="636" y="3981"/>
                    <a:pt x="636" y="3981"/>
                    <a:pt x="636" y="3981"/>
                  </a:cubicBezTo>
                  <a:cubicBezTo>
                    <a:pt x="636" y="3981"/>
                    <a:pt x="635" y="3981"/>
                    <a:pt x="635" y="3981"/>
                  </a:cubicBezTo>
                  <a:cubicBezTo>
                    <a:pt x="634" y="3984"/>
                    <a:pt x="634" y="3984"/>
                    <a:pt x="634" y="3984"/>
                  </a:cubicBezTo>
                  <a:cubicBezTo>
                    <a:pt x="636" y="3981"/>
                    <a:pt x="636" y="3981"/>
                    <a:pt x="636" y="3981"/>
                  </a:cubicBezTo>
                  <a:cubicBezTo>
                    <a:pt x="633" y="3986"/>
                    <a:pt x="633" y="3986"/>
                    <a:pt x="633" y="3986"/>
                  </a:cubicBezTo>
                  <a:cubicBezTo>
                    <a:pt x="638" y="3983"/>
                    <a:pt x="638" y="3983"/>
                    <a:pt x="638" y="3983"/>
                  </a:cubicBezTo>
                  <a:cubicBezTo>
                    <a:pt x="637" y="3982"/>
                    <a:pt x="637" y="3982"/>
                    <a:pt x="636" y="3981"/>
                  </a:cubicBezTo>
                  <a:cubicBezTo>
                    <a:pt x="633" y="3986"/>
                    <a:pt x="633" y="3986"/>
                    <a:pt x="633" y="3986"/>
                  </a:cubicBezTo>
                  <a:cubicBezTo>
                    <a:pt x="638" y="3983"/>
                    <a:pt x="638" y="3983"/>
                    <a:pt x="638" y="3983"/>
                  </a:cubicBezTo>
                  <a:cubicBezTo>
                    <a:pt x="634" y="3985"/>
                    <a:pt x="634" y="3985"/>
                    <a:pt x="634" y="3985"/>
                  </a:cubicBezTo>
                  <a:cubicBezTo>
                    <a:pt x="639" y="3984"/>
                    <a:pt x="639" y="3984"/>
                    <a:pt x="639" y="3984"/>
                  </a:cubicBezTo>
                  <a:cubicBezTo>
                    <a:pt x="638" y="3984"/>
                    <a:pt x="638" y="3983"/>
                    <a:pt x="638" y="3983"/>
                  </a:cubicBezTo>
                  <a:cubicBezTo>
                    <a:pt x="634" y="3985"/>
                    <a:pt x="634" y="3985"/>
                    <a:pt x="634" y="3985"/>
                  </a:cubicBezTo>
                  <a:cubicBezTo>
                    <a:pt x="639" y="3984"/>
                    <a:pt x="639" y="3984"/>
                    <a:pt x="639" y="3984"/>
                  </a:cubicBezTo>
                  <a:cubicBezTo>
                    <a:pt x="638" y="3984"/>
                    <a:pt x="638" y="3984"/>
                    <a:pt x="638" y="3984"/>
                  </a:cubicBezTo>
                  <a:cubicBezTo>
                    <a:pt x="639" y="3984"/>
                    <a:pt x="639" y="3984"/>
                    <a:pt x="639" y="3984"/>
                  </a:cubicBezTo>
                  <a:cubicBezTo>
                    <a:pt x="639" y="3984"/>
                    <a:pt x="639" y="3984"/>
                    <a:pt x="639" y="3984"/>
                  </a:cubicBezTo>
                  <a:cubicBezTo>
                    <a:pt x="638" y="3984"/>
                    <a:pt x="638" y="3984"/>
                    <a:pt x="638" y="3984"/>
                  </a:cubicBezTo>
                  <a:cubicBezTo>
                    <a:pt x="639" y="3984"/>
                    <a:pt x="639" y="3984"/>
                    <a:pt x="639" y="3984"/>
                  </a:cubicBezTo>
                  <a:cubicBezTo>
                    <a:pt x="638" y="3984"/>
                    <a:pt x="638" y="3984"/>
                    <a:pt x="638" y="3984"/>
                  </a:cubicBezTo>
                  <a:cubicBezTo>
                    <a:pt x="638" y="3983"/>
                    <a:pt x="638" y="3983"/>
                    <a:pt x="638" y="3983"/>
                  </a:cubicBezTo>
                  <a:cubicBezTo>
                    <a:pt x="638" y="3983"/>
                    <a:pt x="638" y="3983"/>
                    <a:pt x="638" y="3983"/>
                  </a:cubicBezTo>
                  <a:cubicBezTo>
                    <a:pt x="638" y="3970"/>
                    <a:pt x="637" y="3958"/>
                    <a:pt x="636" y="3945"/>
                  </a:cubicBezTo>
                  <a:cubicBezTo>
                    <a:pt x="636" y="3945"/>
                    <a:pt x="636" y="3945"/>
                    <a:pt x="636" y="3945"/>
                  </a:cubicBezTo>
                  <a:cubicBezTo>
                    <a:pt x="636" y="3943"/>
                    <a:pt x="636" y="3941"/>
                    <a:pt x="636" y="3939"/>
                  </a:cubicBezTo>
                  <a:cubicBezTo>
                    <a:pt x="636" y="3935"/>
                    <a:pt x="636" y="3931"/>
                    <a:pt x="636" y="3928"/>
                  </a:cubicBezTo>
                  <a:cubicBezTo>
                    <a:pt x="636" y="3916"/>
                    <a:pt x="636" y="3916"/>
                    <a:pt x="636" y="3916"/>
                  </a:cubicBezTo>
                  <a:cubicBezTo>
                    <a:pt x="624" y="3916"/>
                    <a:pt x="624" y="3916"/>
                    <a:pt x="624" y="3916"/>
                  </a:cubicBezTo>
                  <a:cubicBezTo>
                    <a:pt x="624" y="3928"/>
                    <a:pt x="624" y="3928"/>
                    <a:pt x="624" y="3928"/>
                  </a:cubicBezTo>
                  <a:cubicBezTo>
                    <a:pt x="636" y="3928"/>
                    <a:pt x="636" y="3928"/>
                    <a:pt x="636" y="3928"/>
                  </a:cubicBezTo>
                  <a:cubicBezTo>
                    <a:pt x="624" y="3928"/>
                    <a:pt x="624" y="3928"/>
                    <a:pt x="624" y="3928"/>
                  </a:cubicBezTo>
                  <a:cubicBezTo>
                    <a:pt x="624" y="3940"/>
                    <a:pt x="624" y="3940"/>
                    <a:pt x="624" y="3940"/>
                  </a:cubicBezTo>
                  <a:cubicBezTo>
                    <a:pt x="624" y="3940"/>
                    <a:pt x="624" y="3940"/>
                    <a:pt x="624" y="3940"/>
                  </a:cubicBezTo>
                  <a:cubicBezTo>
                    <a:pt x="624" y="3928"/>
                    <a:pt x="624" y="3928"/>
                    <a:pt x="624" y="3928"/>
                  </a:cubicBezTo>
                  <a:cubicBezTo>
                    <a:pt x="612" y="3928"/>
                    <a:pt x="612" y="3928"/>
                    <a:pt x="612" y="3928"/>
                  </a:cubicBezTo>
                  <a:cubicBezTo>
                    <a:pt x="612" y="3931"/>
                    <a:pt x="612" y="3935"/>
                    <a:pt x="612" y="3939"/>
                  </a:cubicBezTo>
                  <a:cubicBezTo>
                    <a:pt x="612" y="3941"/>
                    <a:pt x="612" y="3944"/>
                    <a:pt x="613" y="3946"/>
                  </a:cubicBezTo>
                  <a:cubicBezTo>
                    <a:pt x="613" y="3946"/>
                    <a:pt x="613" y="3946"/>
                    <a:pt x="613" y="3946"/>
                  </a:cubicBezTo>
                  <a:cubicBezTo>
                    <a:pt x="613" y="3959"/>
                    <a:pt x="614" y="3972"/>
                    <a:pt x="614" y="3984"/>
                  </a:cubicBezTo>
                  <a:cubicBezTo>
                    <a:pt x="614" y="3984"/>
                    <a:pt x="614" y="3984"/>
                    <a:pt x="614" y="3984"/>
                  </a:cubicBezTo>
                  <a:cubicBezTo>
                    <a:pt x="614" y="3984"/>
                    <a:pt x="614" y="3984"/>
                    <a:pt x="614" y="3984"/>
                  </a:cubicBezTo>
                  <a:cubicBezTo>
                    <a:pt x="615" y="3986"/>
                    <a:pt x="615" y="3988"/>
                    <a:pt x="615" y="3990"/>
                  </a:cubicBezTo>
                  <a:cubicBezTo>
                    <a:pt x="616" y="3992"/>
                    <a:pt x="616" y="3993"/>
                    <a:pt x="617" y="3995"/>
                  </a:cubicBezTo>
                  <a:cubicBezTo>
                    <a:pt x="619" y="3998"/>
                    <a:pt x="621" y="4000"/>
                    <a:pt x="624" y="4002"/>
                  </a:cubicBezTo>
                  <a:cubicBezTo>
                    <a:pt x="627" y="4003"/>
                    <a:pt x="629" y="4004"/>
                    <a:pt x="632" y="4004"/>
                  </a:cubicBezTo>
                  <a:cubicBezTo>
                    <a:pt x="632" y="4004"/>
                    <a:pt x="632" y="4004"/>
                    <a:pt x="632" y="4004"/>
                  </a:cubicBezTo>
                  <a:cubicBezTo>
                    <a:pt x="632" y="4004"/>
                    <a:pt x="632" y="4004"/>
                    <a:pt x="632" y="4004"/>
                  </a:cubicBezTo>
                  <a:cubicBezTo>
                    <a:pt x="640" y="4006"/>
                    <a:pt x="648" y="4007"/>
                    <a:pt x="656" y="4009"/>
                  </a:cubicBezTo>
                  <a:cubicBezTo>
                    <a:pt x="656" y="4009"/>
                    <a:pt x="656" y="4009"/>
                    <a:pt x="656" y="4009"/>
                  </a:cubicBezTo>
                  <a:cubicBezTo>
                    <a:pt x="663" y="4010"/>
                    <a:pt x="670" y="4010"/>
                    <a:pt x="675" y="4011"/>
                  </a:cubicBezTo>
                  <a:cubicBezTo>
                    <a:pt x="678" y="4011"/>
                    <a:pt x="680" y="4012"/>
                    <a:pt x="682" y="4012"/>
                  </a:cubicBezTo>
                  <a:cubicBezTo>
                    <a:pt x="685" y="4013"/>
                    <a:pt x="687" y="4014"/>
                    <a:pt x="688" y="4015"/>
                  </a:cubicBezTo>
                  <a:cubicBezTo>
                    <a:pt x="688" y="4015"/>
                    <a:pt x="688" y="4015"/>
                    <a:pt x="688" y="4015"/>
                  </a:cubicBezTo>
                  <a:cubicBezTo>
                    <a:pt x="690" y="4016"/>
                    <a:pt x="692" y="4016"/>
                    <a:pt x="694" y="4017"/>
                  </a:cubicBezTo>
                  <a:cubicBezTo>
                    <a:pt x="696" y="4017"/>
                    <a:pt x="698" y="4017"/>
                    <a:pt x="700" y="4017"/>
                  </a:cubicBezTo>
                  <a:cubicBezTo>
                    <a:pt x="702" y="4017"/>
                    <a:pt x="703" y="4017"/>
                    <a:pt x="705" y="4017"/>
                  </a:cubicBezTo>
                  <a:cubicBezTo>
                    <a:pt x="705" y="4017"/>
                    <a:pt x="705" y="4017"/>
                    <a:pt x="705" y="4017"/>
                  </a:cubicBezTo>
                  <a:cubicBezTo>
                    <a:pt x="706" y="4017"/>
                    <a:pt x="708" y="4016"/>
                    <a:pt x="709" y="4016"/>
                  </a:cubicBezTo>
                  <a:cubicBezTo>
                    <a:pt x="712" y="4016"/>
                    <a:pt x="715" y="4017"/>
                    <a:pt x="719" y="4018"/>
                  </a:cubicBezTo>
                  <a:cubicBezTo>
                    <a:pt x="723" y="4019"/>
                    <a:pt x="728" y="4020"/>
                    <a:pt x="734" y="4020"/>
                  </a:cubicBezTo>
                  <a:cubicBezTo>
                    <a:pt x="734" y="4020"/>
                    <a:pt x="734" y="4020"/>
                    <a:pt x="734" y="4020"/>
                  </a:cubicBezTo>
                  <a:cubicBezTo>
                    <a:pt x="734" y="4020"/>
                    <a:pt x="734" y="4020"/>
                    <a:pt x="734" y="4020"/>
                  </a:cubicBezTo>
                  <a:cubicBezTo>
                    <a:pt x="734" y="4014"/>
                    <a:pt x="734" y="4014"/>
                    <a:pt x="734" y="4014"/>
                  </a:cubicBezTo>
                  <a:cubicBezTo>
                    <a:pt x="732" y="4020"/>
                    <a:pt x="732" y="4020"/>
                    <a:pt x="732" y="4020"/>
                  </a:cubicBezTo>
                  <a:cubicBezTo>
                    <a:pt x="733" y="4020"/>
                    <a:pt x="733" y="4020"/>
                    <a:pt x="734" y="4020"/>
                  </a:cubicBezTo>
                  <a:cubicBezTo>
                    <a:pt x="734" y="4014"/>
                    <a:pt x="734" y="4014"/>
                    <a:pt x="734" y="4014"/>
                  </a:cubicBezTo>
                  <a:cubicBezTo>
                    <a:pt x="732" y="4020"/>
                    <a:pt x="732" y="4020"/>
                    <a:pt x="732" y="4020"/>
                  </a:cubicBezTo>
                  <a:cubicBezTo>
                    <a:pt x="735" y="4013"/>
                    <a:pt x="735" y="4013"/>
                    <a:pt x="735" y="4013"/>
                  </a:cubicBezTo>
                  <a:cubicBezTo>
                    <a:pt x="728" y="4017"/>
                    <a:pt x="728" y="4017"/>
                    <a:pt x="728" y="4017"/>
                  </a:cubicBezTo>
                  <a:cubicBezTo>
                    <a:pt x="729" y="4018"/>
                    <a:pt x="730" y="4019"/>
                    <a:pt x="732" y="4020"/>
                  </a:cubicBezTo>
                  <a:cubicBezTo>
                    <a:pt x="735" y="4013"/>
                    <a:pt x="735" y="4013"/>
                    <a:pt x="735" y="4013"/>
                  </a:cubicBezTo>
                  <a:cubicBezTo>
                    <a:pt x="728" y="4017"/>
                    <a:pt x="728" y="4017"/>
                    <a:pt x="728" y="4017"/>
                  </a:cubicBezTo>
                  <a:cubicBezTo>
                    <a:pt x="734" y="4014"/>
                    <a:pt x="734" y="4014"/>
                    <a:pt x="734" y="4014"/>
                  </a:cubicBezTo>
                  <a:cubicBezTo>
                    <a:pt x="727" y="4014"/>
                    <a:pt x="727" y="4014"/>
                    <a:pt x="727" y="4014"/>
                  </a:cubicBezTo>
                  <a:cubicBezTo>
                    <a:pt x="727" y="4014"/>
                    <a:pt x="728" y="4016"/>
                    <a:pt x="728" y="4017"/>
                  </a:cubicBezTo>
                  <a:cubicBezTo>
                    <a:pt x="734" y="4014"/>
                    <a:pt x="734" y="4014"/>
                    <a:pt x="734" y="4014"/>
                  </a:cubicBezTo>
                  <a:cubicBezTo>
                    <a:pt x="727" y="4014"/>
                    <a:pt x="727" y="4014"/>
                    <a:pt x="727" y="4014"/>
                  </a:cubicBezTo>
                  <a:cubicBezTo>
                    <a:pt x="731" y="4014"/>
                    <a:pt x="731" y="4014"/>
                    <a:pt x="731" y="4014"/>
                  </a:cubicBezTo>
                  <a:cubicBezTo>
                    <a:pt x="727" y="4013"/>
                    <a:pt x="727" y="4013"/>
                    <a:pt x="727" y="4013"/>
                  </a:cubicBezTo>
                  <a:cubicBezTo>
                    <a:pt x="727" y="4014"/>
                    <a:pt x="727" y="4014"/>
                    <a:pt x="727" y="4014"/>
                  </a:cubicBezTo>
                  <a:cubicBezTo>
                    <a:pt x="731" y="4014"/>
                    <a:pt x="731" y="4014"/>
                    <a:pt x="731" y="4014"/>
                  </a:cubicBezTo>
                  <a:cubicBezTo>
                    <a:pt x="727" y="4013"/>
                    <a:pt x="727" y="4013"/>
                    <a:pt x="727" y="4013"/>
                  </a:cubicBezTo>
                  <a:cubicBezTo>
                    <a:pt x="727" y="4016"/>
                    <a:pt x="727" y="4019"/>
                    <a:pt x="726" y="4021"/>
                  </a:cubicBezTo>
                  <a:cubicBezTo>
                    <a:pt x="726" y="4021"/>
                    <a:pt x="726" y="4021"/>
                    <a:pt x="726" y="4021"/>
                  </a:cubicBezTo>
                  <a:cubicBezTo>
                    <a:pt x="726" y="4021"/>
                    <a:pt x="726" y="4021"/>
                    <a:pt x="726" y="4021"/>
                  </a:cubicBezTo>
                  <a:cubicBezTo>
                    <a:pt x="724" y="4035"/>
                    <a:pt x="721" y="4050"/>
                    <a:pt x="719" y="4064"/>
                  </a:cubicBezTo>
                  <a:cubicBezTo>
                    <a:pt x="719" y="4066"/>
                    <a:pt x="718" y="4068"/>
                    <a:pt x="718" y="4070"/>
                  </a:cubicBezTo>
                  <a:cubicBezTo>
                    <a:pt x="718" y="4073"/>
                    <a:pt x="719" y="4076"/>
                    <a:pt x="720" y="4079"/>
                  </a:cubicBezTo>
                  <a:cubicBezTo>
                    <a:pt x="721" y="4083"/>
                    <a:pt x="724" y="4087"/>
                    <a:pt x="728" y="4090"/>
                  </a:cubicBezTo>
                  <a:cubicBezTo>
                    <a:pt x="732" y="4093"/>
                    <a:pt x="737" y="4094"/>
                    <a:pt x="741" y="4094"/>
                  </a:cubicBezTo>
                  <a:cubicBezTo>
                    <a:pt x="745" y="4094"/>
                    <a:pt x="748" y="4093"/>
                    <a:pt x="752" y="4092"/>
                  </a:cubicBezTo>
                  <a:cubicBezTo>
                    <a:pt x="752" y="4092"/>
                    <a:pt x="752" y="4092"/>
                    <a:pt x="752" y="4092"/>
                  </a:cubicBezTo>
                  <a:cubicBezTo>
                    <a:pt x="755" y="4091"/>
                    <a:pt x="757" y="4089"/>
                    <a:pt x="759" y="4087"/>
                  </a:cubicBezTo>
                  <a:cubicBezTo>
                    <a:pt x="761" y="4086"/>
                    <a:pt x="762" y="4084"/>
                    <a:pt x="763" y="4083"/>
                  </a:cubicBezTo>
                  <a:cubicBezTo>
                    <a:pt x="763" y="4083"/>
                    <a:pt x="763" y="4083"/>
                    <a:pt x="763" y="4083"/>
                  </a:cubicBezTo>
                  <a:cubicBezTo>
                    <a:pt x="764" y="4083"/>
                    <a:pt x="764" y="4083"/>
                    <a:pt x="764" y="4083"/>
                  </a:cubicBezTo>
                  <a:cubicBezTo>
                    <a:pt x="763" y="4083"/>
                    <a:pt x="763" y="4083"/>
                    <a:pt x="763" y="4083"/>
                  </a:cubicBezTo>
                  <a:cubicBezTo>
                    <a:pt x="764" y="4083"/>
                    <a:pt x="764" y="4083"/>
                    <a:pt x="764" y="4083"/>
                  </a:cubicBezTo>
                  <a:cubicBezTo>
                    <a:pt x="764" y="4083"/>
                    <a:pt x="764" y="4083"/>
                    <a:pt x="764" y="4083"/>
                  </a:cubicBezTo>
                  <a:cubicBezTo>
                    <a:pt x="763" y="4083"/>
                    <a:pt x="763" y="4083"/>
                    <a:pt x="763" y="4083"/>
                  </a:cubicBezTo>
                  <a:cubicBezTo>
                    <a:pt x="764" y="4083"/>
                    <a:pt x="764" y="4083"/>
                    <a:pt x="764" y="4083"/>
                  </a:cubicBezTo>
                  <a:cubicBezTo>
                    <a:pt x="760" y="4080"/>
                    <a:pt x="760" y="4080"/>
                    <a:pt x="760" y="4080"/>
                  </a:cubicBezTo>
                  <a:cubicBezTo>
                    <a:pt x="762" y="4084"/>
                    <a:pt x="762" y="4084"/>
                    <a:pt x="762" y="4084"/>
                  </a:cubicBezTo>
                  <a:cubicBezTo>
                    <a:pt x="763" y="4084"/>
                    <a:pt x="763" y="4083"/>
                    <a:pt x="764" y="4083"/>
                  </a:cubicBezTo>
                  <a:cubicBezTo>
                    <a:pt x="760" y="4080"/>
                    <a:pt x="760" y="4080"/>
                    <a:pt x="760" y="4080"/>
                  </a:cubicBezTo>
                  <a:cubicBezTo>
                    <a:pt x="762" y="4084"/>
                    <a:pt x="762" y="4084"/>
                    <a:pt x="762" y="4084"/>
                  </a:cubicBezTo>
                  <a:cubicBezTo>
                    <a:pt x="759" y="4077"/>
                    <a:pt x="759" y="4077"/>
                    <a:pt x="759" y="4077"/>
                  </a:cubicBezTo>
                  <a:cubicBezTo>
                    <a:pt x="759" y="4085"/>
                    <a:pt x="759" y="4085"/>
                    <a:pt x="759" y="4085"/>
                  </a:cubicBezTo>
                  <a:cubicBezTo>
                    <a:pt x="760" y="4085"/>
                    <a:pt x="762" y="4084"/>
                    <a:pt x="762" y="4084"/>
                  </a:cubicBezTo>
                  <a:cubicBezTo>
                    <a:pt x="759" y="4077"/>
                    <a:pt x="759" y="4077"/>
                    <a:pt x="759" y="4077"/>
                  </a:cubicBezTo>
                  <a:cubicBezTo>
                    <a:pt x="759" y="4085"/>
                    <a:pt x="759" y="4085"/>
                    <a:pt x="759" y="4085"/>
                  </a:cubicBezTo>
                  <a:cubicBezTo>
                    <a:pt x="759" y="4076"/>
                    <a:pt x="759" y="4076"/>
                    <a:pt x="759" y="4076"/>
                  </a:cubicBezTo>
                  <a:cubicBezTo>
                    <a:pt x="754" y="4083"/>
                    <a:pt x="754" y="4083"/>
                    <a:pt x="754" y="4083"/>
                  </a:cubicBezTo>
                  <a:cubicBezTo>
                    <a:pt x="755" y="4084"/>
                    <a:pt x="757" y="4085"/>
                    <a:pt x="759" y="4085"/>
                  </a:cubicBezTo>
                  <a:cubicBezTo>
                    <a:pt x="759" y="4076"/>
                    <a:pt x="759" y="4076"/>
                    <a:pt x="759" y="4076"/>
                  </a:cubicBezTo>
                  <a:cubicBezTo>
                    <a:pt x="754" y="4083"/>
                    <a:pt x="754" y="4083"/>
                    <a:pt x="754" y="4083"/>
                  </a:cubicBezTo>
                  <a:cubicBezTo>
                    <a:pt x="757" y="4078"/>
                    <a:pt x="757" y="4078"/>
                    <a:pt x="757" y="4078"/>
                  </a:cubicBezTo>
                  <a:cubicBezTo>
                    <a:pt x="752" y="4081"/>
                    <a:pt x="752" y="4081"/>
                    <a:pt x="752" y="4081"/>
                  </a:cubicBezTo>
                  <a:cubicBezTo>
                    <a:pt x="752" y="4082"/>
                    <a:pt x="753" y="4082"/>
                    <a:pt x="754" y="4083"/>
                  </a:cubicBezTo>
                  <a:cubicBezTo>
                    <a:pt x="757" y="4078"/>
                    <a:pt x="757" y="4078"/>
                    <a:pt x="757" y="4078"/>
                  </a:cubicBezTo>
                  <a:cubicBezTo>
                    <a:pt x="752" y="4081"/>
                    <a:pt x="752" y="4081"/>
                    <a:pt x="752" y="4081"/>
                  </a:cubicBezTo>
                  <a:cubicBezTo>
                    <a:pt x="752" y="4081"/>
                    <a:pt x="752" y="4081"/>
                    <a:pt x="752" y="4081"/>
                  </a:cubicBezTo>
                  <a:cubicBezTo>
                    <a:pt x="754" y="4084"/>
                    <a:pt x="756" y="4087"/>
                    <a:pt x="759" y="4089"/>
                  </a:cubicBezTo>
                  <a:cubicBezTo>
                    <a:pt x="762" y="4092"/>
                    <a:pt x="767" y="4094"/>
                    <a:pt x="770" y="4095"/>
                  </a:cubicBezTo>
                  <a:cubicBezTo>
                    <a:pt x="773" y="4096"/>
                    <a:pt x="776" y="4096"/>
                    <a:pt x="779" y="4097"/>
                  </a:cubicBezTo>
                  <a:cubicBezTo>
                    <a:pt x="781" y="4097"/>
                    <a:pt x="783" y="4098"/>
                    <a:pt x="784" y="4098"/>
                  </a:cubicBezTo>
                  <a:cubicBezTo>
                    <a:pt x="786" y="4098"/>
                    <a:pt x="787" y="4098"/>
                    <a:pt x="787" y="4098"/>
                  </a:cubicBezTo>
                  <a:cubicBezTo>
                    <a:pt x="787" y="4098"/>
                    <a:pt x="787" y="4098"/>
                    <a:pt x="787" y="4098"/>
                  </a:cubicBezTo>
                  <a:cubicBezTo>
                    <a:pt x="788" y="4092"/>
                    <a:pt x="788" y="4092"/>
                    <a:pt x="788" y="4092"/>
                  </a:cubicBezTo>
                  <a:cubicBezTo>
                    <a:pt x="786" y="4097"/>
                    <a:pt x="786" y="4097"/>
                    <a:pt x="786" y="4097"/>
                  </a:cubicBezTo>
                  <a:cubicBezTo>
                    <a:pt x="787" y="4098"/>
                    <a:pt x="787" y="4098"/>
                    <a:pt x="787" y="4098"/>
                  </a:cubicBezTo>
                  <a:cubicBezTo>
                    <a:pt x="788" y="4092"/>
                    <a:pt x="788" y="4092"/>
                    <a:pt x="788" y="4092"/>
                  </a:cubicBezTo>
                  <a:cubicBezTo>
                    <a:pt x="786" y="4097"/>
                    <a:pt x="786" y="4097"/>
                    <a:pt x="786" y="4097"/>
                  </a:cubicBezTo>
                  <a:cubicBezTo>
                    <a:pt x="789" y="4089"/>
                    <a:pt x="789" y="4089"/>
                    <a:pt x="789" y="4089"/>
                  </a:cubicBezTo>
                  <a:cubicBezTo>
                    <a:pt x="783" y="4095"/>
                    <a:pt x="783" y="4095"/>
                    <a:pt x="783" y="4095"/>
                  </a:cubicBezTo>
                  <a:cubicBezTo>
                    <a:pt x="784" y="4096"/>
                    <a:pt x="785" y="4097"/>
                    <a:pt x="786" y="4097"/>
                  </a:cubicBezTo>
                  <a:cubicBezTo>
                    <a:pt x="789" y="4089"/>
                    <a:pt x="789" y="4089"/>
                    <a:pt x="789" y="4089"/>
                  </a:cubicBezTo>
                  <a:cubicBezTo>
                    <a:pt x="783" y="4095"/>
                    <a:pt x="783" y="4095"/>
                    <a:pt x="783" y="4095"/>
                  </a:cubicBezTo>
                  <a:cubicBezTo>
                    <a:pt x="783" y="4095"/>
                    <a:pt x="783" y="4095"/>
                    <a:pt x="783" y="4095"/>
                  </a:cubicBezTo>
                  <a:cubicBezTo>
                    <a:pt x="783" y="4095"/>
                    <a:pt x="783" y="4095"/>
                    <a:pt x="783" y="4095"/>
                  </a:cubicBezTo>
                  <a:cubicBezTo>
                    <a:pt x="790" y="4088"/>
                    <a:pt x="790" y="4088"/>
                    <a:pt x="790" y="4088"/>
                  </a:cubicBezTo>
                  <a:cubicBezTo>
                    <a:pt x="781" y="4091"/>
                    <a:pt x="781" y="4091"/>
                    <a:pt x="781" y="4091"/>
                  </a:cubicBezTo>
                  <a:cubicBezTo>
                    <a:pt x="781" y="4092"/>
                    <a:pt x="782" y="4094"/>
                    <a:pt x="783" y="4095"/>
                  </a:cubicBezTo>
                  <a:cubicBezTo>
                    <a:pt x="790" y="4088"/>
                    <a:pt x="790" y="4088"/>
                    <a:pt x="790" y="4088"/>
                  </a:cubicBezTo>
                  <a:cubicBezTo>
                    <a:pt x="781" y="4091"/>
                    <a:pt x="781" y="4091"/>
                    <a:pt x="781" y="4091"/>
                  </a:cubicBezTo>
                  <a:cubicBezTo>
                    <a:pt x="788" y="4089"/>
                    <a:pt x="788" y="4089"/>
                    <a:pt x="788" y="4089"/>
                  </a:cubicBezTo>
                  <a:cubicBezTo>
                    <a:pt x="780" y="4089"/>
                    <a:pt x="780" y="4089"/>
                    <a:pt x="780" y="4089"/>
                  </a:cubicBezTo>
                  <a:cubicBezTo>
                    <a:pt x="780" y="4089"/>
                    <a:pt x="780" y="4090"/>
                    <a:pt x="781" y="4091"/>
                  </a:cubicBezTo>
                  <a:cubicBezTo>
                    <a:pt x="788" y="4089"/>
                    <a:pt x="788" y="4089"/>
                    <a:pt x="788" y="4089"/>
                  </a:cubicBezTo>
                  <a:cubicBezTo>
                    <a:pt x="780" y="4089"/>
                    <a:pt x="780" y="4089"/>
                    <a:pt x="780" y="4089"/>
                  </a:cubicBezTo>
                  <a:cubicBezTo>
                    <a:pt x="783" y="4089"/>
                    <a:pt x="783" y="4089"/>
                    <a:pt x="783" y="4089"/>
                  </a:cubicBezTo>
                  <a:cubicBezTo>
                    <a:pt x="780" y="4089"/>
                    <a:pt x="780" y="4089"/>
                    <a:pt x="780" y="4089"/>
                  </a:cubicBezTo>
                  <a:cubicBezTo>
                    <a:pt x="780" y="4089"/>
                    <a:pt x="780" y="4089"/>
                    <a:pt x="780" y="4089"/>
                  </a:cubicBezTo>
                  <a:cubicBezTo>
                    <a:pt x="783" y="4089"/>
                    <a:pt x="783" y="4089"/>
                    <a:pt x="783" y="4089"/>
                  </a:cubicBezTo>
                  <a:cubicBezTo>
                    <a:pt x="780" y="4089"/>
                    <a:pt x="780" y="4089"/>
                    <a:pt x="780" y="4089"/>
                  </a:cubicBezTo>
                  <a:cubicBezTo>
                    <a:pt x="780" y="4089"/>
                    <a:pt x="780" y="4090"/>
                    <a:pt x="780" y="4091"/>
                  </a:cubicBezTo>
                  <a:cubicBezTo>
                    <a:pt x="780" y="4092"/>
                    <a:pt x="779" y="4094"/>
                    <a:pt x="779" y="4096"/>
                  </a:cubicBezTo>
                  <a:cubicBezTo>
                    <a:pt x="779" y="4096"/>
                    <a:pt x="779" y="4096"/>
                    <a:pt x="779" y="4096"/>
                  </a:cubicBezTo>
                  <a:cubicBezTo>
                    <a:pt x="779" y="4097"/>
                    <a:pt x="779" y="4097"/>
                    <a:pt x="779" y="4097"/>
                  </a:cubicBezTo>
                  <a:cubicBezTo>
                    <a:pt x="779" y="4097"/>
                    <a:pt x="779" y="4098"/>
                    <a:pt x="779" y="4099"/>
                  </a:cubicBezTo>
                  <a:cubicBezTo>
                    <a:pt x="779" y="4101"/>
                    <a:pt x="779" y="4103"/>
                    <a:pt x="780" y="4106"/>
                  </a:cubicBezTo>
                  <a:cubicBezTo>
                    <a:pt x="780" y="4108"/>
                    <a:pt x="781" y="4110"/>
                    <a:pt x="783" y="4112"/>
                  </a:cubicBezTo>
                  <a:cubicBezTo>
                    <a:pt x="784" y="4114"/>
                    <a:pt x="785" y="4115"/>
                    <a:pt x="787" y="4116"/>
                  </a:cubicBezTo>
                  <a:cubicBezTo>
                    <a:pt x="789" y="4118"/>
                    <a:pt x="791" y="4119"/>
                    <a:pt x="793" y="4120"/>
                  </a:cubicBezTo>
                  <a:cubicBezTo>
                    <a:pt x="795" y="4120"/>
                    <a:pt x="797" y="4121"/>
                    <a:pt x="799" y="4121"/>
                  </a:cubicBezTo>
                  <a:cubicBezTo>
                    <a:pt x="807" y="4123"/>
                    <a:pt x="816" y="4124"/>
                    <a:pt x="825" y="4125"/>
                  </a:cubicBezTo>
                  <a:cubicBezTo>
                    <a:pt x="825" y="4125"/>
                    <a:pt x="825" y="4125"/>
                    <a:pt x="825" y="4125"/>
                  </a:cubicBezTo>
                  <a:cubicBezTo>
                    <a:pt x="825" y="4125"/>
                    <a:pt x="825" y="4125"/>
                    <a:pt x="825" y="4125"/>
                  </a:cubicBezTo>
                  <a:cubicBezTo>
                    <a:pt x="825" y="4126"/>
                    <a:pt x="825" y="4126"/>
                    <a:pt x="825" y="4126"/>
                  </a:cubicBezTo>
                  <a:cubicBezTo>
                    <a:pt x="826" y="4122"/>
                    <a:pt x="826" y="4122"/>
                    <a:pt x="826" y="4122"/>
                  </a:cubicBezTo>
                  <a:cubicBezTo>
                    <a:pt x="824" y="4125"/>
                    <a:pt x="824" y="4125"/>
                    <a:pt x="824" y="4125"/>
                  </a:cubicBezTo>
                  <a:cubicBezTo>
                    <a:pt x="825" y="4125"/>
                    <a:pt x="825" y="4125"/>
                    <a:pt x="825" y="4126"/>
                  </a:cubicBezTo>
                  <a:cubicBezTo>
                    <a:pt x="826" y="4122"/>
                    <a:pt x="826" y="4122"/>
                    <a:pt x="826" y="4122"/>
                  </a:cubicBezTo>
                  <a:cubicBezTo>
                    <a:pt x="824" y="4125"/>
                    <a:pt x="824" y="4125"/>
                    <a:pt x="824" y="4125"/>
                  </a:cubicBezTo>
                  <a:cubicBezTo>
                    <a:pt x="827" y="4119"/>
                    <a:pt x="827" y="4119"/>
                    <a:pt x="827" y="4119"/>
                  </a:cubicBezTo>
                  <a:cubicBezTo>
                    <a:pt x="822" y="4124"/>
                    <a:pt x="822" y="4124"/>
                    <a:pt x="822" y="4124"/>
                  </a:cubicBezTo>
                  <a:cubicBezTo>
                    <a:pt x="823" y="4124"/>
                    <a:pt x="824" y="4125"/>
                    <a:pt x="824" y="4125"/>
                  </a:cubicBezTo>
                  <a:cubicBezTo>
                    <a:pt x="827" y="4119"/>
                    <a:pt x="827" y="4119"/>
                    <a:pt x="827" y="4119"/>
                  </a:cubicBezTo>
                  <a:cubicBezTo>
                    <a:pt x="822" y="4124"/>
                    <a:pt x="822" y="4124"/>
                    <a:pt x="822" y="4124"/>
                  </a:cubicBezTo>
                  <a:cubicBezTo>
                    <a:pt x="828" y="4119"/>
                    <a:pt x="828" y="4119"/>
                    <a:pt x="828" y="4119"/>
                  </a:cubicBezTo>
                  <a:cubicBezTo>
                    <a:pt x="821" y="4121"/>
                    <a:pt x="821" y="4121"/>
                    <a:pt x="821" y="4121"/>
                  </a:cubicBezTo>
                  <a:cubicBezTo>
                    <a:pt x="821" y="4122"/>
                    <a:pt x="822" y="4123"/>
                    <a:pt x="822" y="4124"/>
                  </a:cubicBezTo>
                  <a:cubicBezTo>
                    <a:pt x="828" y="4119"/>
                    <a:pt x="828" y="4119"/>
                    <a:pt x="828" y="4119"/>
                  </a:cubicBezTo>
                  <a:cubicBezTo>
                    <a:pt x="821" y="4121"/>
                    <a:pt x="821" y="4121"/>
                    <a:pt x="821" y="4121"/>
                  </a:cubicBezTo>
                  <a:cubicBezTo>
                    <a:pt x="825" y="4119"/>
                    <a:pt x="825" y="4119"/>
                    <a:pt x="825" y="4119"/>
                  </a:cubicBezTo>
                  <a:cubicBezTo>
                    <a:pt x="820" y="4119"/>
                    <a:pt x="820" y="4119"/>
                    <a:pt x="820" y="4119"/>
                  </a:cubicBezTo>
                  <a:cubicBezTo>
                    <a:pt x="820" y="4120"/>
                    <a:pt x="820" y="4120"/>
                    <a:pt x="821" y="4121"/>
                  </a:cubicBezTo>
                  <a:cubicBezTo>
                    <a:pt x="825" y="4119"/>
                    <a:pt x="825" y="4119"/>
                    <a:pt x="825" y="4119"/>
                  </a:cubicBezTo>
                  <a:cubicBezTo>
                    <a:pt x="820" y="4119"/>
                    <a:pt x="820" y="4119"/>
                    <a:pt x="820" y="4119"/>
                  </a:cubicBezTo>
                  <a:cubicBezTo>
                    <a:pt x="821" y="4119"/>
                    <a:pt x="821" y="4119"/>
                    <a:pt x="821" y="4119"/>
                  </a:cubicBezTo>
                  <a:cubicBezTo>
                    <a:pt x="820" y="4119"/>
                    <a:pt x="820" y="4119"/>
                    <a:pt x="820" y="4119"/>
                  </a:cubicBezTo>
                  <a:cubicBezTo>
                    <a:pt x="820" y="4119"/>
                    <a:pt x="820" y="4119"/>
                    <a:pt x="820" y="4119"/>
                  </a:cubicBezTo>
                  <a:cubicBezTo>
                    <a:pt x="821" y="4119"/>
                    <a:pt x="821" y="4119"/>
                    <a:pt x="821" y="4119"/>
                  </a:cubicBezTo>
                  <a:cubicBezTo>
                    <a:pt x="820" y="4119"/>
                    <a:pt x="820" y="4119"/>
                    <a:pt x="820" y="4119"/>
                  </a:cubicBezTo>
                  <a:cubicBezTo>
                    <a:pt x="820" y="4120"/>
                    <a:pt x="820" y="4120"/>
                    <a:pt x="820" y="4120"/>
                  </a:cubicBezTo>
                  <a:cubicBezTo>
                    <a:pt x="820" y="4120"/>
                    <a:pt x="820" y="4120"/>
                    <a:pt x="820" y="4120"/>
                  </a:cubicBezTo>
                  <a:cubicBezTo>
                    <a:pt x="819" y="4126"/>
                    <a:pt x="818" y="4133"/>
                    <a:pt x="817" y="4139"/>
                  </a:cubicBezTo>
                  <a:cubicBezTo>
                    <a:pt x="817" y="4139"/>
                    <a:pt x="817" y="4139"/>
                    <a:pt x="817" y="4139"/>
                  </a:cubicBezTo>
                  <a:cubicBezTo>
                    <a:pt x="816" y="4144"/>
                    <a:pt x="815" y="4149"/>
                    <a:pt x="813" y="4154"/>
                  </a:cubicBezTo>
                  <a:cubicBezTo>
                    <a:pt x="813" y="4154"/>
                    <a:pt x="813" y="4154"/>
                    <a:pt x="813" y="4154"/>
                  </a:cubicBezTo>
                  <a:cubicBezTo>
                    <a:pt x="813" y="4155"/>
                    <a:pt x="813" y="4156"/>
                    <a:pt x="812" y="4157"/>
                  </a:cubicBezTo>
                  <a:cubicBezTo>
                    <a:pt x="812" y="4159"/>
                    <a:pt x="812" y="4161"/>
                    <a:pt x="812" y="4162"/>
                  </a:cubicBezTo>
                  <a:cubicBezTo>
                    <a:pt x="812" y="4164"/>
                    <a:pt x="812" y="4166"/>
                    <a:pt x="812" y="4168"/>
                  </a:cubicBezTo>
                  <a:cubicBezTo>
                    <a:pt x="813" y="4171"/>
                    <a:pt x="813" y="4173"/>
                    <a:pt x="814" y="4177"/>
                  </a:cubicBezTo>
                  <a:cubicBezTo>
                    <a:pt x="825" y="4175"/>
                    <a:pt x="825" y="4175"/>
                    <a:pt x="825" y="4175"/>
                  </a:cubicBezTo>
                  <a:cubicBezTo>
                    <a:pt x="813" y="4174"/>
                    <a:pt x="813" y="4174"/>
                    <a:pt x="813" y="4174"/>
                  </a:cubicBezTo>
                  <a:cubicBezTo>
                    <a:pt x="813" y="4175"/>
                    <a:pt x="813" y="4175"/>
                    <a:pt x="813" y="4175"/>
                  </a:cubicBezTo>
                  <a:cubicBezTo>
                    <a:pt x="813" y="4176"/>
                    <a:pt x="813" y="4176"/>
                    <a:pt x="813" y="4176"/>
                  </a:cubicBezTo>
                  <a:cubicBezTo>
                    <a:pt x="813" y="4177"/>
                    <a:pt x="813" y="4177"/>
                    <a:pt x="813" y="4177"/>
                  </a:cubicBezTo>
                  <a:cubicBezTo>
                    <a:pt x="814" y="4179"/>
                    <a:pt x="814" y="4181"/>
                    <a:pt x="815" y="4183"/>
                  </a:cubicBezTo>
                  <a:cubicBezTo>
                    <a:pt x="816" y="4186"/>
                    <a:pt x="818" y="4189"/>
                    <a:pt x="821" y="4191"/>
                  </a:cubicBezTo>
                  <a:cubicBezTo>
                    <a:pt x="824" y="4193"/>
                    <a:pt x="827" y="4194"/>
                    <a:pt x="830" y="4195"/>
                  </a:cubicBezTo>
                  <a:cubicBezTo>
                    <a:pt x="830" y="4195"/>
                    <a:pt x="830" y="4195"/>
                    <a:pt x="830" y="4195"/>
                  </a:cubicBezTo>
                  <a:cubicBezTo>
                    <a:pt x="842" y="4197"/>
                    <a:pt x="855" y="4199"/>
                    <a:pt x="868" y="4201"/>
                  </a:cubicBezTo>
                  <a:cubicBezTo>
                    <a:pt x="868" y="4201"/>
                    <a:pt x="868" y="4201"/>
                    <a:pt x="868" y="4201"/>
                  </a:cubicBezTo>
                  <a:cubicBezTo>
                    <a:pt x="868" y="4201"/>
                    <a:pt x="869" y="4201"/>
                    <a:pt x="870" y="4201"/>
                  </a:cubicBezTo>
                  <a:cubicBezTo>
                    <a:pt x="874" y="4201"/>
                    <a:pt x="876" y="4201"/>
                    <a:pt x="879" y="4200"/>
                  </a:cubicBezTo>
                  <a:cubicBezTo>
                    <a:pt x="881" y="4199"/>
                    <a:pt x="883" y="4198"/>
                    <a:pt x="885" y="4197"/>
                  </a:cubicBezTo>
                  <a:cubicBezTo>
                    <a:pt x="885" y="4197"/>
                    <a:pt x="885" y="4197"/>
                    <a:pt x="885" y="4197"/>
                  </a:cubicBezTo>
                  <a:cubicBezTo>
                    <a:pt x="886" y="4196"/>
                    <a:pt x="886" y="4196"/>
                    <a:pt x="886" y="4196"/>
                  </a:cubicBezTo>
                  <a:cubicBezTo>
                    <a:pt x="886" y="4196"/>
                    <a:pt x="886" y="4196"/>
                    <a:pt x="886" y="4196"/>
                  </a:cubicBezTo>
                  <a:cubicBezTo>
                    <a:pt x="886" y="4196"/>
                    <a:pt x="886" y="4196"/>
                    <a:pt x="886" y="4196"/>
                  </a:cubicBezTo>
                  <a:cubicBezTo>
                    <a:pt x="885" y="4194"/>
                    <a:pt x="885" y="4194"/>
                    <a:pt x="885" y="4194"/>
                  </a:cubicBezTo>
                  <a:cubicBezTo>
                    <a:pt x="886" y="4196"/>
                    <a:pt x="886" y="4196"/>
                    <a:pt x="886" y="4196"/>
                  </a:cubicBezTo>
                  <a:cubicBezTo>
                    <a:pt x="886" y="4196"/>
                    <a:pt x="886" y="4196"/>
                    <a:pt x="886" y="4196"/>
                  </a:cubicBezTo>
                  <a:cubicBezTo>
                    <a:pt x="885" y="4194"/>
                    <a:pt x="885" y="4194"/>
                    <a:pt x="885" y="4194"/>
                  </a:cubicBezTo>
                  <a:cubicBezTo>
                    <a:pt x="886" y="4196"/>
                    <a:pt x="886" y="4196"/>
                    <a:pt x="886" y="4196"/>
                  </a:cubicBezTo>
                  <a:cubicBezTo>
                    <a:pt x="884" y="4191"/>
                    <a:pt x="884" y="4191"/>
                    <a:pt x="884" y="4191"/>
                  </a:cubicBezTo>
                  <a:cubicBezTo>
                    <a:pt x="884" y="4196"/>
                    <a:pt x="884" y="4196"/>
                    <a:pt x="884" y="4196"/>
                  </a:cubicBezTo>
                  <a:cubicBezTo>
                    <a:pt x="885" y="4196"/>
                    <a:pt x="886" y="4196"/>
                    <a:pt x="886" y="4196"/>
                  </a:cubicBezTo>
                  <a:cubicBezTo>
                    <a:pt x="884" y="4191"/>
                    <a:pt x="884" y="4191"/>
                    <a:pt x="884" y="4191"/>
                  </a:cubicBezTo>
                  <a:cubicBezTo>
                    <a:pt x="884" y="4196"/>
                    <a:pt x="884" y="4196"/>
                    <a:pt x="884" y="4196"/>
                  </a:cubicBezTo>
                  <a:cubicBezTo>
                    <a:pt x="884" y="4192"/>
                    <a:pt x="884" y="4192"/>
                    <a:pt x="884" y="4192"/>
                  </a:cubicBezTo>
                  <a:cubicBezTo>
                    <a:pt x="884" y="4196"/>
                    <a:pt x="884" y="4196"/>
                    <a:pt x="884" y="4196"/>
                  </a:cubicBezTo>
                  <a:cubicBezTo>
                    <a:pt x="884" y="4196"/>
                    <a:pt x="884" y="4196"/>
                    <a:pt x="884" y="4196"/>
                  </a:cubicBezTo>
                  <a:cubicBezTo>
                    <a:pt x="884" y="4192"/>
                    <a:pt x="884" y="4192"/>
                    <a:pt x="884" y="4192"/>
                  </a:cubicBezTo>
                  <a:cubicBezTo>
                    <a:pt x="884" y="4196"/>
                    <a:pt x="884" y="4196"/>
                    <a:pt x="884" y="4196"/>
                  </a:cubicBezTo>
                  <a:cubicBezTo>
                    <a:pt x="884" y="4194"/>
                    <a:pt x="884" y="4194"/>
                    <a:pt x="884" y="4194"/>
                  </a:cubicBezTo>
                  <a:cubicBezTo>
                    <a:pt x="883" y="4196"/>
                    <a:pt x="883" y="4196"/>
                    <a:pt x="883" y="4196"/>
                  </a:cubicBezTo>
                  <a:cubicBezTo>
                    <a:pt x="884" y="4196"/>
                    <a:pt x="884" y="4196"/>
                    <a:pt x="884" y="4196"/>
                  </a:cubicBezTo>
                  <a:cubicBezTo>
                    <a:pt x="884" y="4194"/>
                    <a:pt x="884" y="4194"/>
                    <a:pt x="884" y="4194"/>
                  </a:cubicBezTo>
                  <a:cubicBezTo>
                    <a:pt x="883" y="4196"/>
                    <a:pt x="883" y="4196"/>
                    <a:pt x="883" y="4196"/>
                  </a:cubicBezTo>
                  <a:cubicBezTo>
                    <a:pt x="883" y="4196"/>
                    <a:pt x="883" y="4196"/>
                    <a:pt x="883" y="4196"/>
                  </a:cubicBezTo>
                  <a:cubicBezTo>
                    <a:pt x="883" y="4196"/>
                    <a:pt x="883" y="4196"/>
                    <a:pt x="883" y="4196"/>
                  </a:cubicBezTo>
                  <a:cubicBezTo>
                    <a:pt x="883" y="4196"/>
                    <a:pt x="883" y="4196"/>
                    <a:pt x="883" y="4196"/>
                  </a:cubicBezTo>
                  <a:cubicBezTo>
                    <a:pt x="883" y="4196"/>
                    <a:pt x="883" y="4196"/>
                    <a:pt x="883" y="4196"/>
                  </a:cubicBezTo>
                  <a:cubicBezTo>
                    <a:pt x="883" y="4196"/>
                    <a:pt x="883" y="4196"/>
                    <a:pt x="883" y="4196"/>
                  </a:cubicBezTo>
                  <a:cubicBezTo>
                    <a:pt x="883" y="4196"/>
                    <a:pt x="883" y="4196"/>
                    <a:pt x="883" y="4196"/>
                  </a:cubicBezTo>
                  <a:cubicBezTo>
                    <a:pt x="883" y="4196"/>
                    <a:pt x="883" y="4196"/>
                    <a:pt x="883" y="4196"/>
                  </a:cubicBezTo>
                  <a:cubicBezTo>
                    <a:pt x="884" y="4196"/>
                    <a:pt x="884" y="4196"/>
                    <a:pt x="884" y="4196"/>
                  </a:cubicBezTo>
                  <a:cubicBezTo>
                    <a:pt x="885" y="4197"/>
                    <a:pt x="887" y="4197"/>
                    <a:pt x="889" y="4197"/>
                  </a:cubicBezTo>
                  <a:cubicBezTo>
                    <a:pt x="891" y="4197"/>
                    <a:pt x="894" y="4197"/>
                    <a:pt x="896" y="4196"/>
                  </a:cubicBezTo>
                  <a:cubicBezTo>
                    <a:pt x="900" y="4194"/>
                    <a:pt x="903" y="4192"/>
                    <a:pt x="905" y="4189"/>
                  </a:cubicBezTo>
                  <a:cubicBezTo>
                    <a:pt x="907" y="4186"/>
                    <a:pt x="908" y="4183"/>
                    <a:pt x="908" y="4180"/>
                  </a:cubicBezTo>
                  <a:cubicBezTo>
                    <a:pt x="908" y="4180"/>
                    <a:pt x="908" y="4180"/>
                    <a:pt x="908" y="4180"/>
                  </a:cubicBezTo>
                  <a:cubicBezTo>
                    <a:pt x="911" y="4163"/>
                    <a:pt x="914" y="4147"/>
                    <a:pt x="917" y="4130"/>
                  </a:cubicBezTo>
                  <a:cubicBezTo>
                    <a:pt x="917" y="4130"/>
                    <a:pt x="917" y="4130"/>
                    <a:pt x="917" y="4130"/>
                  </a:cubicBezTo>
                  <a:cubicBezTo>
                    <a:pt x="917" y="4130"/>
                    <a:pt x="917" y="4130"/>
                    <a:pt x="917" y="4130"/>
                  </a:cubicBezTo>
                  <a:cubicBezTo>
                    <a:pt x="917" y="4128"/>
                    <a:pt x="918" y="4126"/>
                    <a:pt x="918" y="4123"/>
                  </a:cubicBezTo>
                  <a:cubicBezTo>
                    <a:pt x="918" y="4121"/>
                    <a:pt x="918" y="4119"/>
                    <a:pt x="917" y="4117"/>
                  </a:cubicBezTo>
                  <a:cubicBezTo>
                    <a:pt x="917" y="4115"/>
                    <a:pt x="916" y="4113"/>
                    <a:pt x="914" y="4110"/>
                  </a:cubicBezTo>
                  <a:cubicBezTo>
                    <a:pt x="914" y="4110"/>
                    <a:pt x="914" y="4110"/>
                    <a:pt x="914" y="4110"/>
                  </a:cubicBezTo>
                  <a:cubicBezTo>
                    <a:pt x="913" y="4109"/>
                    <a:pt x="913" y="4109"/>
                    <a:pt x="913" y="4109"/>
                  </a:cubicBezTo>
                  <a:cubicBezTo>
                    <a:pt x="913" y="4109"/>
                    <a:pt x="913" y="4109"/>
                    <a:pt x="913" y="4109"/>
                  </a:cubicBezTo>
                  <a:cubicBezTo>
                    <a:pt x="913" y="4109"/>
                    <a:pt x="913" y="4108"/>
                    <a:pt x="913" y="4107"/>
                  </a:cubicBezTo>
                  <a:cubicBezTo>
                    <a:pt x="914" y="4106"/>
                    <a:pt x="914" y="4104"/>
                    <a:pt x="914" y="4102"/>
                  </a:cubicBezTo>
                  <a:cubicBezTo>
                    <a:pt x="914" y="4102"/>
                    <a:pt x="914" y="4102"/>
                    <a:pt x="914" y="4102"/>
                  </a:cubicBezTo>
                  <a:cubicBezTo>
                    <a:pt x="914" y="4102"/>
                    <a:pt x="914" y="4102"/>
                    <a:pt x="914" y="4102"/>
                  </a:cubicBezTo>
                  <a:cubicBezTo>
                    <a:pt x="915" y="4098"/>
                    <a:pt x="916" y="4094"/>
                    <a:pt x="916" y="4091"/>
                  </a:cubicBezTo>
                  <a:cubicBezTo>
                    <a:pt x="917" y="4087"/>
                    <a:pt x="917" y="4084"/>
                    <a:pt x="918" y="4081"/>
                  </a:cubicBezTo>
                  <a:cubicBezTo>
                    <a:pt x="918" y="4081"/>
                    <a:pt x="918" y="4081"/>
                    <a:pt x="918" y="4081"/>
                  </a:cubicBezTo>
                  <a:cubicBezTo>
                    <a:pt x="918" y="4079"/>
                    <a:pt x="919" y="4078"/>
                    <a:pt x="919" y="4076"/>
                  </a:cubicBezTo>
                  <a:cubicBezTo>
                    <a:pt x="919" y="4072"/>
                    <a:pt x="917" y="4067"/>
                    <a:pt x="914" y="4063"/>
                  </a:cubicBezTo>
                  <a:cubicBezTo>
                    <a:pt x="911" y="4060"/>
                    <a:pt x="907" y="4058"/>
                    <a:pt x="902" y="4057"/>
                  </a:cubicBezTo>
                  <a:cubicBezTo>
                    <a:pt x="901" y="4057"/>
                    <a:pt x="901" y="4057"/>
                    <a:pt x="901" y="4057"/>
                  </a:cubicBezTo>
                  <a:cubicBezTo>
                    <a:pt x="902" y="4057"/>
                    <a:pt x="902" y="4057"/>
                    <a:pt x="902" y="4057"/>
                  </a:cubicBezTo>
                  <a:cubicBezTo>
                    <a:pt x="902" y="4057"/>
                    <a:pt x="902" y="4057"/>
                    <a:pt x="902" y="4057"/>
                  </a:cubicBezTo>
                  <a:cubicBezTo>
                    <a:pt x="901" y="4059"/>
                    <a:pt x="901" y="4059"/>
                    <a:pt x="901" y="4059"/>
                  </a:cubicBezTo>
                  <a:cubicBezTo>
                    <a:pt x="902" y="4057"/>
                    <a:pt x="902" y="4057"/>
                    <a:pt x="902" y="4057"/>
                  </a:cubicBezTo>
                  <a:cubicBezTo>
                    <a:pt x="902" y="4057"/>
                    <a:pt x="902" y="4057"/>
                    <a:pt x="902" y="4057"/>
                  </a:cubicBezTo>
                  <a:cubicBezTo>
                    <a:pt x="901" y="4059"/>
                    <a:pt x="901" y="4059"/>
                    <a:pt x="901" y="4059"/>
                  </a:cubicBezTo>
                  <a:cubicBezTo>
                    <a:pt x="902" y="4057"/>
                    <a:pt x="902" y="4057"/>
                    <a:pt x="902" y="4057"/>
                  </a:cubicBezTo>
                  <a:cubicBezTo>
                    <a:pt x="900" y="4063"/>
                    <a:pt x="900" y="4063"/>
                    <a:pt x="900" y="4063"/>
                  </a:cubicBezTo>
                  <a:cubicBezTo>
                    <a:pt x="903" y="4058"/>
                    <a:pt x="903" y="4058"/>
                    <a:pt x="903" y="4058"/>
                  </a:cubicBezTo>
                  <a:cubicBezTo>
                    <a:pt x="903" y="4058"/>
                    <a:pt x="902" y="4057"/>
                    <a:pt x="902" y="4057"/>
                  </a:cubicBezTo>
                  <a:cubicBezTo>
                    <a:pt x="900" y="4063"/>
                    <a:pt x="900" y="4063"/>
                    <a:pt x="900" y="4063"/>
                  </a:cubicBezTo>
                  <a:cubicBezTo>
                    <a:pt x="903" y="4058"/>
                    <a:pt x="903" y="4058"/>
                    <a:pt x="903" y="4058"/>
                  </a:cubicBezTo>
                  <a:cubicBezTo>
                    <a:pt x="899" y="4064"/>
                    <a:pt x="899" y="4064"/>
                    <a:pt x="899" y="4064"/>
                  </a:cubicBezTo>
                  <a:cubicBezTo>
                    <a:pt x="906" y="4062"/>
                    <a:pt x="906" y="4062"/>
                    <a:pt x="906" y="4062"/>
                  </a:cubicBezTo>
                  <a:cubicBezTo>
                    <a:pt x="905" y="4060"/>
                    <a:pt x="904" y="4059"/>
                    <a:pt x="903" y="4058"/>
                  </a:cubicBezTo>
                  <a:cubicBezTo>
                    <a:pt x="899" y="4064"/>
                    <a:pt x="899" y="4064"/>
                    <a:pt x="899" y="4064"/>
                  </a:cubicBezTo>
                  <a:cubicBezTo>
                    <a:pt x="906" y="4062"/>
                    <a:pt x="906" y="4062"/>
                    <a:pt x="906" y="4062"/>
                  </a:cubicBezTo>
                  <a:cubicBezTo>
                    <a:pt x="901" y="4063"/>
                    <a:pt x="901" y="4063"/>
                    <a:pt x="901" y="4063"/>
                  </a:cubicBezTo>
                  <a:cubicBezTo>
                    <a:pt x="906" y="4063"/>
                    <a:pt x="906" y="4063"/>
                    <a:pt x="906" y="4063"/>
                  </a:cubicBezTo>
                  <a:cubicBezTo>
                    <a:pt x="906" y="4063"/>
                    <a:pt x="906" y="4063"/>
                    <a:pt x="906" y="4062"/>
                  </a:cubicBezTo>
                  <a:cubicBezTo>
                    <a:pt x="901" y="4063"/>
                    <a:pt x="901" y="4063"/>
                    <a:pt x="901" y="4063"/>
                  </a:cubicBezTo>
                  <a:cubicBezTo>
                    <a:pt x="906" y="4063"/>
                    <a:pt x="906" y="4063"/>
                    <a:pt x="906" y="4063"/>
                  </a:cubicBezTo>
                  <a:cubicBezTo>
                    <a:pt x="906" y="4063"/>
                    <a:pt x="906" y="4063"/>
                    <a:pt x="906" y="4063"/>
                  </a:cubicBezTo>
                  <a:cubicBezTo>
                    <a:pt x="906" y="4063"/>
                    <a:pt x="906" y="4063"/>
                    <a:pt x="906" y="4063"/>
                  </a:cubicBezTo>
                  <a:cubicBezTo>
                    <a:pt x="906" y="4063"/>
                    <a:pt x="906" y="4063"/>
                    <a:pt x="906" y="4063"/>
                  </a:cubicBezTo>
                  <a:cubicBezTo>
                    <a:pt x="906" y="4063"/>
                    <a:pt x="906" y="4063"/>
                    <a:pt x="906" y="4063"/>
                  </a:cubicBezTo>
                  <a:cubicBezTo>
                    <a:pt x="906" y="4063"/>
                    <a:pt x="906" y="4063"/>
                    <a:pt x="906" y="4063"/>
                  </a:cubicBezTo>
                  <a:cubicBezTo>
                    <a:pt x="906" y="4063"/>
                    <a:pt x="906" y="4062"/>
                    <a:pt x="907" y="4061"/>
                  </a:cubicBezTo>
                  <a:cubicBezTo>
                    <a:pt x="907" y="4061"/>
                    <a:pt x="907" y="4061"/>
                    <a:pt x="907" y="4061"/>
                  </a:cubicBezTo>
                  <a:cubicBezTo>
                    <a:pt x="909" y="4048"/>
                    <a:pt x="912" y="4034"/>
                    <a:pt x="915" y="4020"/>
                  </a:cubicBezTo>
                  <a:cubicBezTo>
                    <a:pt x="915" y="4020"/>
                    <a:pt x="915" y="4020"/>
                    <a:pt x="915" y="4020"/>
                  </a:cubicBezTo>
                  <a:cubicBezTo>
                    <a:pt x="915" y="4019"/>
                    <a:pt x="915" y="4019"/>
                    <a:pt x="915" y="4019"/>
                  </a:cubicBezTo>
                  <a:cubicBezTo>
                    <a:pt x="915" y="4019"/>
                    <a:pt x="915" y="4019"/>
                    <a:pt x="915" y="4019"/>
                  </a:cubicBezTo>
                  <a:cubicBezTo>
                    <a:pt x="910" y="4018"/>
                    <a:pt x="910" y="4018"/>
                    <a:pt x="910" y="4018"/>
                  </a:cubicBezTo>
                  <a:cubicBezTo>
                    <a:pt x="914" y="4020"/>
                    <a:pt x="914" y="4020"/>
                    <a:pt x="914" y="4020"/>
                  </a:cubicBezTo>
                  <a:cubicBezTo>
                    <a:pt x="915" y="4020"/>
                    <a:pt x="915" y="4019"/>
                    <a:pt x="915" y="4019"/>
                  </a:cubicBezTo>
                  <a:cubicBezTo>
                    <a:pt x="910" y="4018"/>
                    <a:pt x="910" y="4018"/>
                    <a:pt x="910" y="4018"/>
                  </a:cubicBezTo>
                  <a:cubicBezTo>
                    <a:pt x="914" y="4020"/>
                    <a:pt x="914" y="4020"/>
                    <a:pt x="914" y="4020"/>
                  </a:cubicBezTo>
                  <a:cubicBezTo>
                    <a:pt x="908" y="4016"/>
                    <a:pt x="908" y="4016"/>
                    <a:pt x="908" y="4016"/>
                  </a:cubicBezTo>
                  <a:cubicBezTo>
                    <a:pt x="913" y="4022"/>
                    <a:pt x="913" y="4022"/>
                    <a:pt x="913" y="4022"/>
                  </a:cubicBezTo>
                  <a:cubicBezTo>
                    <a:pt x="913" y="4022"/>
                    <a:pt x="914" y="4021"/>
                    <a:pt x="914" y="4020"/>
                  </a:cubicBezTo>
                  <a:cubicBezTo>
                    <a:pt x="908" y="4016"/>
                    <a:pt x="908" y="4016"/>
                    <a:pt x="908" y="4016"/>
                  </a:cubicBezTo>
                  <a:cubicBezTo>
                    <a:pt x="913" y="4022"/>
                    <a:pt x="913" y="4022"/>
                    <a:pt x="913" y="4022"/>
                  </a:cubicBezTo>
                  <a:cubicBezTo>
                    <a:pt x="908" y="4017"/>
                    <a:pt x="908" y="4017"/>
                    <a:pt x="908" y="4017"/>
                  </a:cubicBezTo>
                  <a:cubicBezTo>
                    <a:pt x="910" y="4024"/>
                    <a:pt x="910" y="4024"/>
                    <a:pt x="910" y="4024"/>
                  </a:cubicBezTo>
                  <a:cubicBezTo>
                    <a:pt x="910" y="4024"/>
                    <a:pt x="912" y="4023"/>
                    <a:pt x="913" y="4022"/>
                  </a:cubicBezTo>
                  <a:cubicBezTo>
                    <a:pt x="908" y="4017"/>
                    <a:pt x="908" y="4017"/>
                    <a:pt x="908" y="4017"/>
                  </a:cubicBezTo>
                  <a:cubicBezTo>
                    <a:pt x="910" y="4024"/>
                    <a:pt x="910" y="4024"/>
                    <a:pt x="910" y="4024"/>
                  </a:cubicBezTo>
                  <a:cubicBezTo>
                    <a:pt x="909" y="4020"/>
                    <a:pt x="909" y="4020"/>
                    <a:pt x="909" y="4020"/>
                  </a:cubicBezTo>
                  <a:cubicBezTo>
                    <a:pt x="909" y="4024"/>
                    <a:pt x="909" y="4024"/>
                    <a:pt x="909" y="4024"/>
                  </a:cubicBezTo>
                  <a:cubicBezTo>
                    <a:pt x="910" y="4024"/>
                    <a:pt x="910" y="4024"/>
                    <a:pt x="910" y="4024"/>
                  </a:cubicBezTo>
                  <a:cubicBezTo>
                    <a:pt x="909" y="4020"/>
                    <a:pt x="909" y="4020"/>
                    <a:pt x="909" y="4020"/>
                  </a:cubicBezTo>
                  <a:cubicBezTo>
                    <a:pt x="909" y="4024"/>
                    <a:pt x="909" y="4024"/>
                    <a:pt x="909" y="4024"/>
                  </a:cubicBezTo>
                  <a:cubicBezTo>
                    <a:pt x="909" y="4024"/>
                    <a:pt x="909" y="4024"/>
                    <a:pt x="909" y="4024"/>
                  </a:cubicBezTo>
                  <a:cubicBezTo>
                    <a:pt x="909" y="4024"/>
                    <a:pt x="909" y="4024"/>
                    <a:pt x="909" y="4024"/>
                  </a:cubicBezTo>
                  <a:cubicBezTo>
                    <a:pt x="909" y="4024"/>
                    <a:pt x="909" y="4024"/>
                    <a:pt x="909" y="4024"/>
                  </a:cubicBezTo>
                  <a:cubicBezTo>
                    <a:pt x="909" y="4024"/>
                    <a:pt x="909" y="4024"/>
                    <a:pt x="909" y="4024"/>
                  </a:cubicBezTo>
                  <a:cubicBezTo>
                    <a:pt x="909" y="4024"/>
                    <a:pt x="909" y="4024"/>
                    <a:pt x="909" y="4024"/>
                  </a:cubicBezTo>
                  <a:cubicBezTo>
                    <a:pt x="909" y="4024"/>
                    <a:pt x="909" y="4024"/>
                    <a:pt x="909" y="4024"/>
                  </a:cubicBezTo>
                  <a:cubicBezTo>
                    <a:pt x="909" y="4024"/>
                    <a:pt x="909" y="4024"/>
                    <a:pt x="909" y="4024"/>
                  </a:cubicBezTo>
                  <a:cubicBezTo>
                    <a:pt x="909" y="4024"/>
                    <a:pt x="909" y="4024"/>
                    <a:pt x="909" y="4024"/>
                  </a:cubicBezTo>
                  <a:cubicBezTo>
                    <a:pt x="911" y="4024"/>
                    <a:pt x="913" y="4024"/>
                    <a:pt x="916" y="4024"/>
                  </a:cubicBezTo>
                  <a:cubicBezTo>
                    <a:pt x="918" y="4024"/>
                    <a:pt x="920" y="4024"/>
                    <a:pt x="922" y="4024"/>
                  </a:cubicBezTo>
                  <a:cubicBezTo>
                    <a:pt x="924" y="4023"/>
                    <a:pt x="927" y="4023"/>
                    <a:pt x="929" y="4021"/>
                  </a:cubicBezTo>
                  <a:cubicBezTo>
                    <a:pt x="929" y="4021"/>
                    <a:pt x="929" y="4021"/>
                    <a:pt x="929" y="4021"/>
                  </a:cubicBezTo>
                  <a:cubicBezTo>
                    <a:pt x="931" y="4020"/>
                    <a:pt x="933" y="4019"/>
                    <a:pt x="933" y="4019"/>
                  </a:cubicBezTo>
                  <a:cubicBezTo>
                    <a:pt x="934" y="4019"/>
                    <a:pt x="935" y="4019"/>
                    <a:pt x="935" y="4019"/>
                  </a:cubicBezTo>
                  <a:cubicBezTo>
                    <a:pt x="936" y="4019"/>
                    <a:pt x="936" y="4019"/>
                    <a:pt x="936" y="4019"/>
                  </a:cubicBezTo>
                  <a:cubicBezTo>
                    <a:pt x="936" y="4019"/>
                    <a:pt x="936" y="4019"/>
                    <a:pt x="936" y="4019"/>
                  </a:cubicBezTo>
                  <a:cubicBezTo>
                    <a:pt x="937" y="4019"/>
                    <a:pt x="938" y="4019"/>
                    <a:pt x="938" y="4019"/>
                  </a:cubicBezTo>
                  <a:cubicBezTo>
                    <a:pt x="942" y="4019"/>
                    <a:pt x="944" y="4018"/>
                    <a:pt x="946" y="4017"/>
                  </a:cubicBezTo>
                  <a:cubicBezTo>
                    <a:pt x="949" y="4015"/>
                    <a:pt x="951" y="4014"/>
                    <a:pt x="953" y="4012"/>
                  </a:cubicBezTo>
                  <a:cubicBezTo>
                    <a:pt x="954" y="4011"/>
                    <a:pt x="956" y="4009"/>
                    <a:pt x="957" y="4007"/>
                  </a:cubicBezTo>
                  <a:cubicBezTo>
                    <a:pt x="957" y="4007"/>
                    <a:pt x="957" y="4007"/>
                    <a:pt x="957" y="4007"/>
                  </a:cubicBezTo>
                  <a:cubicBezTo>
                    <a:pt x="958" y="4006"/>
                    <a:pt x="959" y="4004"/>
                    <a:pt x="960" y="4002"/>
                  </a:cubicBezTo>
                  <a:cubicBezTo>
                    <a:pt x="961" y="4001"/>
                    <a:pt x="961" y="3999"/>
                    <a:pt x="961" y="3997"/>
                  </a:cubicBezTo>
                  <a:cubicBezTo>
                    <a:pt x="961" y="3995"/>
                    <a:pt x="960" y="3993"/>
                    <a:pt x="960" y="3991"/>
                  </a:cubicBezTo>
                  <a:cubicBezTo>
                    <a:pt x="959" y="3989"/>
                    <a:pt x="958" y="3987"/>
                    <a:pt x="957" y="3985"/>
                  </a:cubicBezTo>
                  <a:cubicBezTo>
                    <a:pt x="956" y="3984"/>
                    <a:pt x="954" y="3983"/>
                    <a:pt x="953" y="3982"/>
                  </a:cubicBezTo>
                  <a:cubicBezTo>
                    <a:pt x="953" y="3982"/>
                    <a:pt x="953" y="3982"/>
                    <a:pt x="953" y="3982"/>
                  </a:cubicBezTo>
                  <a:cubicBezTo>
                    <a:pt x="950" y="3978"/>
                    <a:pt x="946" y="3975"/>
                    <a:pt x="943" y="3972"/>
                  </a:cubicBezTo>
                  <a:cubicBezTo>
                    <a:pt x="935" y="3981"/>
                    <a:pt x="935" y="3981"/>
                    <a:pt x="935" y="3981"/>
                  </a:cubicBezTo>
                  <a:cubicBezTo>
                    <a:pt x="943" y="3972"/>
                    <a:pt x="943" y="3972"/>
                    <a:pt x="943" y="3972"/>
                  </a:cubicBezTo>
                  <a:cubicBezTo>
                    <a:pt x="941" y="3970"/>
                    <a:pt x="940" y="3970"/>
                    <a:pt x="939" y="3969"/>
                  </a:cubicBezTo>
                  <a:cubicBezTo>
                    <a:pt x="938" y="3969"/>
                    <a:pt x="938" y="3969"/>
                    <a:pt x="938" y="3969"/>
                  </a:cubicBezTo>
                  <a:cubicBezTo>
                    <a:pt x="936" y="3973"/>
                    <a:pt x="936" y="3973"/>
                    <a:pt x="936" y="3973"/>
                  </a:cubicBezTo>
                  <a:cubicBezTo>
                    <a:pt x="939" y="3969"/>
                    <a:pt x="939" y="3969"/>
                    <a:pt x="939" y="3969"/>
                  </a:cubicBezTo>
                  <a:cubicBezTo>
                    <a:pt x="938" y="3969"/>
                    <a:pt x="938" y="3969"/>
                    <a:pt x="938" y="3969"/>
                  </a:cubicBezTo>
                  <a:cubicBezTo>
                    <a:pt x="936" y="3973"/>
                    <a:pt x="936" y="3973"/>
                    <a:pt x="936" y="3973"/>
                  </a:cubicBezTo>
                  <a:cubicBezTo>
                    <a:pt x="939" y="3969"/>
                    <a:pt x="939" y="3969"/>
                    <a:pt x="939" y="3969"/>
                  </a:cubicBezTo>
                  <a:cubicBezTo>
                    <a:pt x="932" y="3979"/>
                    <a:pt x="932" y="3979"/>
                    <a:pt x="932" y="3979"/>
                  </a:cubicBezTo>
                  <a:cubicBezTo>
                    <a:pt x="939" y="3969"/>
                    <a:pt x="939" y="3969"/>
                    <a:pt x="939" y="3969"/>
                  </a:cubicBezTo>
                  <a:cubicBezTo>
                    <a:pt x="937" y="3973"/>
                    <a:pt x="937" y="3973"/>
                    <a:pt x="937" y="3973"/>
                  </a:cubicBezTo>
                  <a:cubicBezTo>
                    <a:pt x="940" y="3971"/>
                    <a:pt x="940" y="3971"/>
                    <a:pt x="940" y="3971"/>
                  </a:cubicBezTo>
                  <a:cubicBezTo>
                    <a:pt x="940" y="3970"/>
                    <a:pt x="939" y="3969"/>
                    <a:pt x="939" y="3969"/>
                  </a:cubicBezTo>
                  <a:cubicBezTo>
                    <a:pt x="937" y="3973"/>
                    <a:pt x="937" y="3973"/>
                    <a:pt x="937" y="3973"/>
                  </a:cubicBezTo>
                  <a:cubicBezTo>
                    <a:pt x="940" y="3971"/>
                    <a:pt x="940" y="3971"/>
                    <a:pt x="940" y="3971"/>
                  </a:cubicBezTo>
                  <a:cubicBezTo>
                    <a:pt x="936" y="3973"/>
                    <a:pt x="936" y="3973"/>
                    <a:pt x="936" y="3973"/>
                  </a:cubicBezTo>
                  <a:cubicBezTo>
                    <a:pt x="941" y="3973"/>
                    <a:pt x="941" y="3973"/>
                    <a:pt x="941" y="3973"/>
                  </a:cubicBezTo>
                  <a:cubicBezTo>
                    <a:pt x="941" y="3972"/>
                    <a:pt x="940" y="3972"/>
                    <a:pt x="940" y="3971"/>
                  </a:cubicBezTo>
                  <a:cubicBezTo>
                    <a:pt x="936" y="3973"/>
                    <a:pt x="936" y="3973"/>
                    <a:pt x="936" y="3973"/>
                  </a:cubicBezTo>
                  <a:cubicBezTo>
                    <a:pt x="941" y="3973"/>
                    <a:pt x="941" y="3973"/>
                    <a:pt x="941" y="3973"/>
                  </a:cubicBezTo>
                  <a:cubicBezTo>
                    <a:pt x="939" y="3973"/>
                    <a:pt x="939" y="3973"/>
                    <a:pt x="939" y="3973"/>
                  </a:cubicBezTo>
                  <a:cubicBezTo>
                    <a:pt x="941" y="3973"/>
                    <a:pt x="941" y="3973"/>
                    <a:pt x="941" y="3973"/>
                  </a:cubicBezTo>
                  <a:cubicBezTo>
                    <a:pt x="941" y="3973"/>
                    <a:pt x="941" y="3973"/>
                    <a:pt x="941" y="3973"/>
                  </a:cubicBezTo>
                  <a:cubicBezTo>
                    <a:pt x="939" y="3973"/>
                    <a:pt x="939" y="3973"/>
                    <a:pt x="939" y="3973"/>
                  </a:cubicBezTo>
                  <a:cubicBezTo>
                    <a:pt x="941" y="3973"/>
                    <a:pt x="941" y="3973"/>
                    <a:pt x="941" y="3973"/>
                  </a:cubicBezTo>
                  <a:cubicBezTo>
                    <a:pt x="941" y="3973"/>
                    <a:pt x="941" y="3973"/>
                    <a:pt x="941" y="3973"/>
                  </a:cubicBezTo>
                  <a:cubicBezTo>
                    <a:pt x="941" y="3973"/>
                    <a:pt x="941" y="3973"/>
                    <a:pt x="941" y="3973"/>
                  </a:cubicBezTo>
                  <a:cubicBezTo>
                    <a:pt x="941" y="3973"/>
                    <a:pt x="941" y="3973"/>
                    <a:pt x="941" y="3973"/>
                  </a:cubicBezTo>
                  <a:cubicBezTo>
                    <a:pt x="934" y="3970"/>
                    <a:pt x="934" y="3970"/>
                    <a:pt x="934" y="3970"/>
                  </a:cubicBezTo>
                  <a:cubicBezTo>
                    <a:pt x="940" y="3974"/>
                    <a:pt x="940" y="3974"/>
                    <a:pt x="940" y="3974"/>
                  </a:cubicBezTo>
                  <a:cubicBezTo>
                    <a:pt x="940" y="3974"/>
                    <a:pt x="941" y="3973"/>
                    <a:pt x="941" y="3973"/>
                  </a:cubicBezTo>
                  <a:cubicBezTo>
                    <a:pt x="934" y="3970"/>
                    <a:pt x="934" y="3970"/>
                    <a:pt x="934" y="3970"/>
                  </a:cubicBezTo>
                  <a:cubicBezTo>
                    <a:pt x="940" y="3974"/>
                    <a:pt x="940" y="3974"/>
                    <a:pt x="940" y="3974"/>
                  </a:cubicBezTo>
                  <a:cubicBezTo>
                    <a:pt x="932" y="3969"/>
                    <a:pt x="932" y="3969"/>
                    <a:pt x="932" y="3969"/>
                  </a:cubicBezTo>
                  <a:cubicBezTo>
                    <a:pt x="936" y="3977"/>
                    <a:pt x="936" y="3977"/>
                    <a:pt x="936" y="3977"/>
                  </a:cubicBezTo>
                  <a:cubicBezTo>
                    <a:pt x="938" y="3977"/>
                    <a:pt x="939" y="3975"/>
                    <a:pt x="940" y="3974"/>
                  </a:cubicBezTo>
                  <a:cubicBezTo>
                    <a:pt x="932" y="3969"/>
                    <a:pt x="932" y="3969"/>
                    <a:pt x="932" y="3969"/>
                  </a:cubicBezTo>
                  <a:cubicBezTo>
                    <a:pt x="936" y="3977"/>
                    <a:pt x="936" y="3977"/>
                    <a:pt x="936" y="3977"/>
                  </a:cubicBezTo>
                  <a:cubicBezTo>
                    <a:pt x="932" y="3969"/>
                    <a:pt x="932" y="3969"/>
                    <a:pt x="932" y="3969"/>
                  </a:cubicBezTo>
                  <a:cubicBezTo>
                    <a:pt x="932" y="3978"/>
                    <a:pt x="932" y="3978"/>
                    <a:pt x="932" y="3978"/>
                  </a:cubicBezTo>
                  <a:cubicBezTo>
                    <a:pt x="933" y="3978"/>
                    <a:pt x="935" y="3978"/>
                    <a:pt x="936" y="3977"/>
                  </a:cubicBezTo>
                  <a:cubicBezTo>
                    <a:pt x="932" y="3969"/>
                    <a:pt x="932" y="3969"/>
                    <a:pt x="932" y="3969"/>
                  </a:cubicBezTo>
                  <a:cubicBezTo>
                    <a:pt x="932" y="3978"/>
                    <a:pt x="932" y="3978"/>
                    <a:pt x="932" y="3978"/>
                  </a:cubicBezTo>
                  <a:cubicBezTo>
                    <a:pt x="932" y="3971"/>
                    <a:pt x="932" y="3971"/>
                    <a:pt x="932" y="3971"/>
                  </a:cubicBezTo>
                  <a:cubicBezTo>
                    <a:pt x="930" y="3978"/>
                    <a:pt x="930" y="3978"/>
                    <a:pt x="930" y="3978"/>
                  </a:cubicBezTo>
                  <a:cubicBezTo>
                    <a:pt x="930" y="3978"/>
                    <a:pt x="931" y="3978"/>
                    <a:pt x="932" y="3978"/>
                  </a:cubicBezTo>
                  <a:cubicBezTo>
                    <a:pt x="932" y="3971"/>
                    <a:pt x="932" y="3971"/>
                    <a:pt x="932" y="3971"/>
                  </a:cubicBezTo>
                  <a:cubicBezTo>
                    <a:pt x="930" y="3978"/>
                    <a:pt x="930" y="3978"/>
                    <a:pt x="930" y="3978"/>
                  </a:cubicBezTo>
                  <a:cubicBezTo>
                    <a:pt x="931" y="3975"/>
                    <a:pt x="931" y="3975"/>
                    <a:pt x="931" y="3975"/>
                  </a:cubicBezTo>
                  <a:cubicBezTo>
                    <a:pt x="930" y="3978"/>
                    <a:pt x="930" y="3978"/>
                    <a:pt x="930" y="3978"/>
                  </a:cubicBezTo>
                  <a:cubicBezTo>
                    <a:pt x="930" y="3978"/>
                    <a:pt x="930" y="3978"/>
                    <a:pt x="930" y="3978"/>
                  </a:cubicBezTo>
                  <a:cubicBezTo>
                    <a:pt x="931" y="3975"/>
                    <a:pt x="931" y="3975"/>
                    <a:pt x="931" y="3975"/>
                  </a:cubicBezTo>
                  <a:cubicBezTo>
                    <a:pt x="930" y="3978"/>
                    <a:pt x="930" y="3978"/>
                    <a:pt x="930" y="3978"/>
                  </a:cubicBezTo>
                  <a:cubicBezTo>
                    <a:pt x="930" y="3978"/>
                    <a:pt x="930" y="3978"/>
                    <a:pt x="930" y="3978"/>
                  </a:cubicBezTo>
                  <a:cubicBezTo>
                    <a:pt x="930" y="3978"/>
                    <a:pt x="930" y="3978"/>
                    <a:pt x="931" y="3979"/>
                  </a:cubicBezTo>
                  <a:cubicBezTo>
                    <a:pt x="932" y="3979"/>
                    <a:pt x="933" y="3979"/>
                    <a:pt x="934" y="3980"/>
                  </a:cubicBezTo>
                  <a:cubicBezTo>
                    <a:pt x="935" y="3980"/>
                    <a:pt x="935" y="3980"/>
                    <a:pt x="935" y="3980"/>
                  </a:cubicBezTo>
                  <a:cubicBezTo>
                    <a:pt x="944" y="3982"/>
                    <a:pt x="954" y="3983"/>
                    <a:pt x="964" y="3985"/>
                  </a:cubicBezTo>
                  <a:cubicBezTo>
                    <a:pt x="964" y="3985"/>
                    <a:pt x="964" y="3985"/>
                    <a:pt x="964" y="3985"/>
                  </a:cubicBezTo>
                  <a:cubicBezTo>
                    <a:pt x="967" y="3986"/>
                    <a:pt x="969" y="3986"/>
                    <a:pt x="971" y="3987"/>
                  </a:cubicBezTo>
                  <a:cubicBezTo>
                    <a:pt x="974" y="3987"/>
                    <a:pt x="976" y="3988"/>
                    <a:pt x="978" y="3988"/>
                  </a:cubicBezTo>
                  <a:cubicBezTo>
                    <a:pt x="980" y="3988"/>
                    <a:pt x="981" y="3987"/>
                    <a:pt x="983" y="3987"/>
                  </a:cubicBezTo>
                  <a:cubicBezTo>
                    <a:pt x="984" y="3987"/>
                    <a:pt x="985" y="3986"/>
                    <a:pt x="987" y="3986"/>
                  </a:cubicBezTo>
                  <a:cubicBezTo>
                    <a:pt x="989" y="3984"/>
                    <a:pt x="992" y="3982"/>
                    <a:pt x="993" y="3980"/>
                  </a:cubicBezTo>
                  <a:cubicBezTo>
                    <a:pt x="995" y="3977"/>
                    <a:pt x="996" y="3974"/>
                    <a:pt x="997" y="3972"/>
                  </a:cubicBezTo>
                  <a:cubicBezTo>
                    <a:pt x="998" y="3969"/>
                    <a:pt x="998" y="3966"/>
                    <a:pt x="999" y="3963"/>
                  </a:cubicBezTo>
                  <a:cubicBezTo>
                    <a:pt x="999" y="3963"/>
                    <a:pt x="999" y="3963"/>
                    <a:pt x="999" y="3963"/>
                  </a:cubicBezTo>
                  <a:cubicBezTo>
                    <a:pt x="999" y="3962"/>
                    <a:pt x="999" y="3961"/>
                    <a:pt x="1000" y="3960"/>
                  </a:cubicBezTo>
                  <a:cubicBezTo>
                    <a:pt x="1000" y="3959"/>
                    <a:pt x="1000" y="3959"/>
                    <a:pt x="1000" y="3959"/>
                  </a:cubicBezTo>
                  <a:cubicBezTo>
                    <a:pt x="1000" y="3959"/>
                    <a:pt x="1000" y="3959"/>
                    <a:pt x="1000" y="3959"/>
                  </a:cubicBezTo>
                  <a:cubicBezTo>
                    <a:pt x="998" y="3958"/>
                    <a:pt x="998" y="3958"/>
                    <a:pt x="998" y="3958"/>
                  </a:cubicBezTo>
                  <a:cubicBezTo>
                    <a:pt x="999" y="3959"/>
                    <a:pt x="999" y="3959"/>
                    <a:pt x="999" y="3959"/>
                  </a:cubicBezTo>
                  <a:cubicBezTo>
                    <a:pt x="1000" y="3959"/>
                    <a:pt x="1000" y="3959"/>
                    <a:pt x="1000" y="3959"/>
                  </a:cubicBezTo>
                  <a:cubicBezTo>
                    <a:pt x="998" y="3958"/>
                    <a:pt x="998" y="3958"/>
                    <a:pt x="998" y="3958"/>
                  </a:cubicBezTo>
                  <a:cubicBezTo>
                    <a:pt x="999" y="3959"/>
                    <a:pt x="999" y="3959"/>
                    <a:pt x="999" y="3959"/>
                  </a:cubicBezTo>
                  <a:cubicBezTo>
                    <a:pt x="998" y="3958"/>
                    <a:pt x="998" y="3958"/>
                    <a:pt x="998" y="3958"/>
                  </a:cubicBezTo>
                  <a:cubicBezTo>
                    <a:pt x="999" y="3960"/>
                    <a:pt x="999" y="3960"/>
                    <a:pt x="999" y="3960"/>
                  </a:cubicBezTo>
                  <a:cubicBezTo>
                    <a:pt x="999" y="3959"/>
                    <a:pt x="999" y="3959"/>
                    <a:pt x="999" y="3959"/>
                  </a:cubicBezTo>
                  <a:cubicBezTo>
                    <a:pt x="998" y="3958"/>
                    <a:pt x="998" y="3958"/>
                    <a:pt x="998" y="3958"/>
                  </a:cubicBezTo>
                  <a:cubicBezTo>
                    <a:pt x="999" y="3960"/>
                    <a:pt x="999" y="3960"/>
                    <a:pt x="999" y="3960"/>
                  </a:cubicBezTo>
                  <a:cubicBezTo>
                    <a:pt x="998" y="3959"/>
                    <a:pt x="998" y="3959"/>
                    <a:pt x="998" y="3959"/>
                  </a:cubicBezTo>
                  <a:cubicBezTo>
                    <a:pt x="999" y="3960"/>
                    <a:pt x="999" y="3960"/>
                    <a:pt x="999" y="3960"/>
                  </a:cubicBezTo>
                  <a:cubicBezTo>
                    <a:pt x="999" y="3960"/>
                    <a:pt x="999" y="3960"/>
                    <a:pt x="999" y="3960"/>
                  </a:cubicBezTo>
                  <a:cubicBezTo>
                    <a:pt x="998" y="3959"/>
                    <a:pt x="998" y="3959"/>
                    <a:pt x="998" y="3959"/>
                  </a:cubicBezTo>
                  <a:cubicBezTo>
                    <a:pt x="999" y="3960"/>
                    <a:pt x="999" y="3960"/>
                    <a:pt x="999" y="3960"/>
                  </a:cubicBezTo>
                  <a:cubicBezTo>
                    <a:pt x="999" y="3960"/>
                    <a:pt x="999" y="3960"/>
                    <a:pt x="999" y="3960"/>
                  </a:cubicBezTo>
                  <a:cubicBezTo>
                    <a:pt x="999" y="3960"/>
                    <a:pt x="999" y="3960"/>
                    <a:pt x="999" y="3960"/>
                  </a:cubicBezTo>
                  <a:cubicBezTo>
                    <a:pt x="1003" y="3958"/>
                    <a:pt x="1005" y="3956"/>
                    <a:pt x="1007" y="3955"/>
                  </a:cubicBezTo>
                  <a:cubicBezTo>
                    <a:pt x="1008" y="3955"/>
                    <a:pt x="1008" y="3954"/>
                    <a:pt x="1009" y="3954"/>
                  </a:cubicBezTo>
                  <a:cubicBezTo>
                    <a:pt x="1009" y="3954"/>
                    <a:pt x="1009" y="3954"/>
                    <a:pt x="1009" y="3954"/>
                  </a:cubicBezTo>
                  <a:cubicBezTo>
                    <a:pt x="1007" y="3951"/>
                    <a:pt x="1007" y="3951"/>
                    <a:pt x="1007" y="3951"/>
                  </a:cubicBezTo>
                  <a:cubicBezTo>
                    <a:pt x="1007" y="3955"/>
                    <a:pt x="1007" y="3955"/>
                    <a:pt x="1007" y="3955"/>
                  </a:cubicBezTo>
                  <a:cubicBezTo>
                    <a:pt x="1008" y="3955"/>
                    <a:pt x="1009" y="3954"/>
                    <a:pt x="1009" y="3954"/>
                  </a:cubicBezTo>
                  <a:cubicBezTo>
                    <a:pt x="1007" y="3951"/>
                    <a:pt x="1007" y="3951"/>
                    <a:pt x="1007" y="3951"/>
                  </a:cubicBezTo>
                  <a:cubicBezTo>
                    <a:pt x="1007" y="3955"/>
                    <a:pt x="1007" y="3955"/>
                    <a:pt x="1007" y="3955"/>
                  </a:cubicBezTo>
                  <a:cubicBezTo>
                    <a:pt x="1007" y="3949"/>
                    <a:pt x="1007" y="3949"/>
                    <a:pt x="1007" y="3949"/>
                  </a:cubicBezTo>
                  <a:cubicBezTo>
                    <a:pt x="1007" y="3955"/>
                    <a:pt x="1007" y="3955"/>
                    <a:pt x="1007" y="3955"/>
                  </a:cubicBezTo>
                  <a:cubicBezTo>
                    <a:pt x="1007" y="3955"/>
                    <a:pt x="1007" y="3955"/>
                    <a:pt x="1007" y="3955"/>
                  </a:cubicBezTo>
                  <a:cubicBezTo>
                    <a:pt x="1007" y="3949"/>
                    <a:pt x="1007" y="3949"/>
                    <a:pt x="1007" y="3949"/>
                  </a:cubicBezTo>
                  <a:cubicBezTo>
                    <a:pt x="1007" y="3955"/>
                    <a:pt x="1007" y="3955"/>
                    <a:pt x="1007" y="3955"/>
                  </a:cubicBezTo>
                  <a:cubicBezTo>
                    <a:pt x="1007" y="3955"/>
                    <a:pt x="1007" y="3955"/>
                    <a:pt x="1007" y="3955"/>
                  </a:cubicBezTo>
                  <a:cubicBezTo>
                    <a:pt x="1008" y="3955"/>
                    <a:pt x="1009" y="3955"/>
                    <a:pt x="1010" y="3955"/>
                  </a:cubicBezTo>
                  <a:cubicBezTo>
                    <a:pt x="1018" y="3955"/>
                    <a:pt x="1026" y="3953"/>
                    <a:pt x="1032" y="3952"/>
                  </a:cubicBezTo>
                  <a:cubicBezTo>
                    <a:pt x="1039" y="3950"/>
                    <a:pt x="1046" y="3948"/>
                    <a:pt x="1051" y="3946"/>
                  </a:cubicBezTo>
                  <a:cubicBezTo>
                    <a:pt x="1051" y="3946"/>
                    <a:pt x="1051" y="3946"/>
                    <a:pt x="1051" y="3946"/>
                  </a:cubicBezTo>
                  <a:cubicBezTo>
                    <a:pt x="1055" y="3945"/>
                    <a:pt x="1059" y="3944"/>
                    <a:pt x="1062" y="3944"/>
                  </a:cubicBezTo>
                  <a:cubicBezTo>
                    <a:pt x="1065" y="3943"/>
                    <a:pt x="1068" y="3943"/>
                    <a:pt x="1071" y="3943"/>
                  </a:cubicBezTo>
                  <a:cubicBezTo>
                    <a:pt x="1072" y="3943"/>
                    <a:pt x="1074" y="3943"/>
                    <a:pt x="1076" y="3943"/>
                  </a:cubicBezTo>
                  <a:cubicBezTo>
                    <a:pt x="1076" y="3943"/>
                    <a:pt x="1076" y="3943"/>
                    <a:pt x="1076" y="3943"/>
                  </a:cubicBezTo>
                  <a:cubicBezTo>
                    <a:pt x="1079" y="3944"/>
                    <a:pt x="1082" y="3944"/>
                    <a:pt x="1085" y="3944"/>
                  </a:cubicBezTo>
                  <a:cubicBezTo>
                    <a:pt x="1089" y="3944"/>
                    <a:pt x="1093" y="3944"/>
                    <a:pt x="1096" y="3942"/>
                  </a:cubicBezTo>
                  <a:cubicBezTo>
                    <a:pt x="1102" y="3940"/>
                    <a:pt x="1106" y="3936"/>
                    <a:pt x="1109" y="3931"/>
                  </a:cubicBezTo>
                  <a:cubicBezTo>
                    <a:pt x="1113" y="3927"/>
                    <a:pt x="1115" y="3922"/>
                    <a:pt x="1116" y="3916"/>
                  </a:cubicBezTo>
                  <a:cubicBezTo>
                    <a:pt x="1116" y="3916"/>
                    <a:pt x="1116" y="3916"/>
                    <a:pt x="1116" y="3916"/>
                  </a:cubicBezTo>
                  <a:cubicBezTo>
                    <a:pt x="1112" y="3915"/>
                    <a:pt x="1112" y="3915"/>
                    <a:pt x="1112" y="3915"/>
                  </a:cubicBezTo>
                  <a:cubicBezTo>
                    <a:pt x="1116" y="3917"/>
                    <a:pt x="1116" y="3917"/>
                    <a:pt x="1116" y="3917"/>
                  </a:cubicBezTo>
                  <a:cubicBezTo>
                    <a:pt x="1116" y="3917"/>
                    <a:pt x="1116" y="3917"/>
                    <a:pt x="1116" y="3916"/>
                  </a:cubicBezTo>
                  <a:cubicBezTo>
                    <a:pt x="1112" y="3915"/>
                    <a:pt x="1112" y="3915"/>
                    <a:pt x="1112" y="3915"/>
                  </a:cubicBezTo>
                  <a:cubicBezTo>
                    <a:pt x="1116" y="3917"/>
                    <a:pt x="1116" y="3917"/>
                    <a:pt x="1116" y="3917"/>
                  </a:cubicBezTo>
                  <a:cubicBezTo>
                    <a:pt x="1115" y="3917"/>
                    <a:pt x="1115" y="3917"/>
                    <a:pt x="1115" y="3917"/>
                  </a:cubicBezTo>
                  <a:cubicBezTo>
                    <a:pt x="1116" y="3917"/>
                    <a:pt x="1116" y="3917"/>
                    <a:pt x="1116" y="3917"/>
                  </a:cubicBezTo>
                  <a:cubicBezTo>
                    <a:pt x="1116" y="3917"/>
                    <a:pt x="1116" y="3917"/>
                    <a:pt x="1116" y="3917"/>
                  </a:cubicBezTo>
                  <a:cubicBezTo>
                    <a:pt x="1115" y="3917"/>
                    <a:pt x="1115" y="3917"/>
                    <a:pt x="1115" y="3917"/>
                  </a:cubicBezTo>
                  <a:cubicBezTo>
                    <a:pt x="1116" y="3917"/>
                    <a:pt x="1116" y="3917"/>
                    <a:pt x="1116" y="3917"/>
                  </a:cubicBezTo>
                  <a:cubicBezTo>
                    <a:pt x="1116" y="3917"/>
                    <a:pt x="1116" y="3916"/>
                    <a:pt x="1117" y="3915"/>
                  </a:cubicBezTo>
                  <a:cubicBezTo>
                    <a:pt x="1117" y="3915"/>
                    <a:pt x="1117" y="3915"/>
                    <a:pt x="1117" y="3915"/>
                  </a:cubicBezTo>
                  <a:cubicBezTo>
                    <a:pt x="1117" y="3915"/>
                    <a:pt x="1117" y="3915"/>
                    <a:pt x="1117" y="3915"/>
                  </a:cubicBezTo>
                  <a:cubicBezTo>
                    <a:pt x="1118" y="3914"/>
                    <a:pt x="1118" y="3913"/>
                    <a:pt x="1119" y="3912"/>
                  </a:cubicBezTo>
                  <a:cubicBezTo>
                    <a:pt x="1120" y="3911"/>
                    <a:pt x="1122" y="3910"/>
                    <a:pt x="1123" y="3908"/>
                  </a:cubicBezTo>
                  <a:cubicBezTo>
                    <a:pt x="1123" y="3908"/>
                    <a:pt x="1123" y="3908"/>
                    <a:pt x="1123" y="3908"/>
                  </a:cubicBezTo>
                  <a:cubicBezTo>
                    <a:pt x="1130" y="3898"/>
                    <a:pt x="1136" y="3888"/>
                    <a:pt x="1142" y="3879"/>
                  </a:cubicBezTo>
                  <a:cubicBezTo>
                    <a:pt x="1142" y="3879"/>
                    <a:pt x="1142" y="3879"/>
                    <a:pt x="1142" y="3879"/>
                  </a:cubicBezTo>
                  <a:cubicBezTo>
                    <a:pt x="1143" y="3877"/>
                    <a:pt x="1144" y="3877"/>
                    <a:pt x="1144" y="3876"/>
                  </a:cubicBezTo>
                  <a:cubicBezTo>
                    <a:pt x="1145" y="3876"/>
                    <a:pt x="1146" y="3875"/>
                    <a:pt x="1148" y="3875"/>
                  </a:cubicBezTo>
                  <a:cubicBezTo>
                    <a:pt x="1148" y="3875"/>
                    <a:pt x="1148" y="3875"/>
                    <a:pt x="1148" y="3875"/>
                  </a:cubicBezTo>
                  <a:cubicBezTo>
                    <a:pt x="1149" y="3875"/>
                    <a:pt x="1150" y="3875"/>
                    <a:pt x="1152" y="3875"/>
                  </a:cubicBezTo>
                  <a:cubicBezTo>
                    <a:pt x="1154" y="3874"/>
                    <a:pt x="1157" y="3874"/>
                    <a:pt x="1160" y="3872"/>
                  </a:cubicBezTo>
                  <a:cubicBezTo>
                    <a:pt x="1160" y="3872"/>
                    <a:pt x="1160" y="3872"/>
                    <a:pt x="1160" y="3872"/>
                  </a:cubicBezTo>
                  <a:cubicBezTo>
                    <a:pt x="1158" y="3870"/>
                    <a:pt x="1158" y="3870"/>
                    <a:pt x="1158" y="3870"/>
                  </a:cubicBezTo>
                  <a:cubicBezTo>
                    <a:pt x="1159" y="3872"/>
                    <a:pt x="1159" y="3872"/>
                    <a:pt x="1159" y="3872"/>
                  </a:cubicBezTo>
                  <a:cubicBezTo>
                    <a:pt x="1159" y="3872"/>
                    <a:pt x="1160" y="3872"/>
                    <a:pt x="1160" y="3872"/>
                  </a:cubicBezTo>
                  <a:cubicBezTo>
                    <a:pt x="1158" y="3870"/>
                    <a:pt x="1158" y="3870"/>
                    <a:pt x="1158" y="3870"/>
                  </a:cubicBezTo>
                  <a:cubicBezTo>
                    <a:pt x="1159" y="3872"/>
                    <a:pt x="1159" y="3872"/>
                    <a:pt x="1159" y="3872"/>
                  </a:cubicBezTo>
                  <a:cubicBezTo>
                    <a:pt x="1158" y="3868"/>
                    <a:pt x="1158" y="3868"/>
                    <a:pt x="1158" y="3868"/>
                  </a:cubicBezTo>
                  <a:cubicBezTo>
                    <a:pt x="1158" y="3872"/>
                    <a:pt x="1158" y="3872"/>
                    <a:pt x="1158" y="3872"/>
                  </a:cubicBezTo>
                  <a:cubicBezTo>
                    <a:pt x="1158" y="3872"/>
                    <a:pt x="1159" y="3872"/>
                    <a:pt x="1159" y="3872"/>
                  </a:cubicBezTo>
                  <a:cubicBezTo>
                    <a:pt x="1158" y="3868"/>
                    <a:pt x="1158" y="3868"/>
                    <a:pt x="1158" y="3868"/>
                  </a:cubicBezTo>
                  <a:cubicBezTo>
                    <a:pt x="1158" y="3872"/>
                    <a:pt x="1158" y="3872"/>
                    <a:pt x="1158" y="3872"/>
                  </a:cubicBezTo>
                  <a:cubicBezTo>
                    <a:pt x="1158" y="3869"/>
                    <a:pt x="1158" y="3869"/>
                    <a:pt x="1158" y="3869"/>
                  </a:cubicBezTo>
                  <a:cubicBezTo>
                    <a:pt x="1157" y="3872"/>
                    <a:pt x="1157" y="3872"/>
                    <a:pt x="1157" y="3872"/>
                  </a:cubicBezTo>
                  <a:cubicBezTo>
                    <a:pt x="1157" y="3872"/>
                    <a:pt x="1157" y="3872"/>
                    <a:pt x="1158" y="3872"/>
                  </a:cubicBezTo>
                  <a:cubicBezTo>
                    <a:pt x="1158" y="3869"/>
                    <a:pt x="1158" y="3869"/>
                    <a:pt x="1158" y="3869"/>
                  </a:cubicBezTo>
                  <a:cubicBezTo>
                    <a:pt x="1157" y="3872"/>
                    <a:pt x="1157" y="3872"/>
                    <a:pt x="1157" y="3872"/>
                  </a:cubicBezTo>
                  <a:cubicBezTo>
                    <a:pt x="1157" y="3871"/>
                    <a:pt x="1157" y="3871"/>
                    <a:pt x="1157" y="3871"/>
                  </a:cubicBezTo>
                  <a:cubicBezTo>
                    <a:pt x="1157" y="3872"/>
                    <a:pt x="1157" y="3872"/>
                    <a:pt x="1157" y="3872"/>
                  </a:cubicBezTo>
                  <a:cubicBezTo>
                    <a:pt x="1157" y="3872"/>
                    <a:pt x="1157" y="3872"/>
                    <a:pt x="1157" y="3872"/>
                  </a:cubicBezTo>
                  <a:cubicBezTo>
                    <a:pt x="1157" y="3871"/>
                    <a:pt x="1157" y="3871"/>
                    <a:pt x="1157" y="3871"/>
                  </a:cubicBezTo>
                  <a:cubicBezTo>
                    <a:pt x="1157" y="3872"/>
                    <a:pt x="1157" y="3872"/>
                    <a:pt x="1157" y="3872"/>
                  </a:cubicBezTo>
                  <a:cubicBezTo>
                    <a:pt x="1157" y="3872"/>
                    <a:pt x="1157" y="3872"/>
                    <a:pt x="1157" y="3872"/>
                  </a:cubicBezTo>
                  <a:cubicBezTo>
                    <a:pt x="1157" y="3872"/>
                    <a:pt x="1158" y="3873"/>
                    <a:pt x="1159" y="3874"/>
                  </a:cubicBezTo>
                  <a:cubicBezTo>
                    <a:pt x="1159" y="3874"/>
                    <a:pt x="1159" y="3874"/>
                    <a:pt x="1159" y="3874"/>
                  </a:cubicBezTo>
                  <a:cubicBezTo>
                    <a:pt x="1166" y="3877"/>
                    <a:pt x="1173" y="3882"/>
                    <a:pt x="1181" y="3885"/>
                  </a:cubicBezTo>
                  <a:cubicBezTo>
                    <a:pt x="1181" y="3885"/>
                    <a:pt x="1181" y="3885"/>
                    <a:pt x="1181" y="3885"/>
                  </a:cubicBezTo>
                  <a:cubicBezTo>
                    <a:pt x="1183" y="3886"/>
                    <a:pt x="1183" y="3887"/>
                    <a:pt x="1183" y="3887"/>
                  </a:cubicBezTo>
                  <a:cubicBezTo>
                    <a:pt x="1184" y="3887"/>
                    <a:pt x="1184" y="3887"/>
                    <a:pt x="1184" y="3887"/>
                  </a:cubicBezTo>
                  <a:cubicBezTo>
                    <a:pt x="1184" y="3888"/>
                    <a:pt x="1184" y="3888"/>
                    <a:pt x="1184" y="3889"/>
                  </a:cubicBezTo>
                  <a:cubicBezTo>
                    <a:pt x="1184" y="3889"/>
                    <a:pt x="1184" y="3889"/>
                    <a:pt x="1184" y="3889"/>
                  </a:cubicBezTo>
                  <a:cubicBezTo>
                    <a:pt x="1185" y="3895"/>
                    <a:pt x="1187" y="3901"/>
                    <a:pt x="1190" y="3906"/>
                  </a:cubicBezTo>
                  <a:cubicBezTo>
                    <a:pt x="1194" y="3911"/>
                    <a:pt x="1198" y="3916"/>
                    <a:pt x="1204" y="3919"/>
                  </a:cubicBezTo>
                  <a:cubicBezTo>
                    <a:pt x="1204" y="3919"/>
                    <a:pt x="1204" y="3919"/>
                    <a:pt x="1204" y="3919"/>
                  </a:cubicBezTo>
                  <a:cubicBezTo>
                    <a:pt x="1206" y="3920"/>
                    <a:pt x="1208" y="3920"/>
                    <a:pt x="1209" y="3921"/>
                  </a:cubicBezTo>
                  <a:cubicBezTo>
                    <a:pt x="1211" y="3921"/>
                    <a:pt x="1213" y="3922"/>
                    <a:pt x="1216" y="3922"/>
                  </a:cubicBezTo>
                  <a:cubicBezTo>
                    <a:pt x="1217" y="3922"/>
                    <a:pt x="1218" y="3922"/>
                    <a:pt x="1220" y="3921"/>
                  </a:cubicBezTo>
                  <a:cubicBezTo>
                    <a:pt x="1221" y="3921"/>
                    <a:pt x="1223" y="3921"/>
                    <a:pt x="1225" y="3919"/>
                  </a:cubicBezTo>
                  <a:cubicBezTo>
                    <a:pt x="1225" y="3920"/>
                    <a:pt x="1225" y="3920"/>
                    <a:pt x="1225" y="3920"/>
                  </a:cubicBezTo>
                  <a:cubicBezTo>
                    <a:pt x="1230" y="3916"/>
                    <a:pt x="1236" y="3913"/>
                    <a:pt x="1241" y="3908"/>
                  </a:cubicBezTo>
                  <a:cubicBezTo>
                    <a:pt x="1247" y="3904"/>
                    <a:pt x="1252" y="3898"/>
                    <a:pt x="1256" y="3891"/>
                  </a:cubicBezTo>
                  <a:cubicBezTo>
                    <a:pt x="1256" y="3891"/>
                    <a:pt x="1256" y="3891"/>
                    <a:pt x="1256" y="3891"/>
                  </a:cubicBezTo>
                  <a:cubicBezTo>
                    <a:pt x="1260" y="3882"/>
                    <a:pt x="1267" y="3874"/>
                    <a:pt x="1274" y="3865"/>
                  </a:cubicBezTo>
                  <a:cubicBezTo>
                    <a:pt x="1274" y="3865"/>
                    <a:pt x="1274" y="3865"/>
                    <a:pt x="1274" y="3865"/>
                  </a:cubicBezTo>
                  <a:cubicBezTo>
                    <a:pt x="1278" y="3860"/>
                    <a:pt x="1282" y="3855"/>
                    <a:pt x="1286" y="3849"/>
                  </a:cubicBezTo>
                  <a:cubicBezTo>
                    <a:pt x="1291" y="3843"/>
                    <a:pt x="1295" y="3837"/>
                    <a:pt x="1298" y="3829"/>
                  </a:cubicBezTo>
                  <a:cubicBezTo>
                    <a:pt x="1298" y="3829"/>
                    <a:pt x="1298" y="3829"/>
                    <a:pt x="1298" y="3829"/>
                  </a:cubicBezTo>
                  <a:cubicBezTo>
                    <a:pt x="1304" y="3814"/>
                    <a:pt x="1310" y="3800"/>
                    <a:pt x="1319" y="3788"/>
                  </a:cubicBezTo>
                  <a:cubicBezTo>
                    <a:pt x="1323" y="3784"/>
                    <a:pt x="1325" y="3779"/>
                    <a:pt x="1327" y="3777"/>
                  </a:cubicBezTo>
                  <a:cubicBezTo>
                    <a:pt x="1328" y="3775"/>
                    <a:pt x="1329" y="3774"/>
                    <a:pt x="1330" y="3773"/>
                  </a:cubicBezTo>
                  <a:cubicBezTo>
                    <a:pt x="1331" y="3772"/>
                    <a:pt x="1332" y="3771"/>
                    <a:pt x="1333" y="3771"/>
                  </a:cubicBezTo>
                  <a:cubicBezTo>
                    <a:pt x="1333" y="3771"/>
                    <a:pt x="1333" y="3771"/>
                    <a:pt x="1333" y="3771"/>
                  </a:cubicBezTo>
                  <a:cubicBezTo>
                    <a:pt x="1334" y="3770"/>
                    <a:pt x="1334" y="3770"/>
                    <a:pt x="1334" y="3770"/>
                  </a:cubicBezTo>
                  <a:cubicBezTo>
                    <a:pt x="1334" y="3770"/>
                    <a:pt x="1334" y="3770"/>
                    <a:pt x="1334" y="3770"/>
                  </a:cubicBezTo>
                  <a:cubicBezTo>
                    <a:pt x="1334" y="3770"/>
                    <a:pt x="1334" y="3770"/>
                    <a:pt x="1334" y="3770"/>
                  </a:cubicBezTo>
                  <a:cubicBezTo>
                    <a:pt x="1333" y="3767"/>
                    <a:pt x="1333" y="3767"/>
                    <a:pt x="1333" y="3767"/>
                  </a:cubicBezTo>
                  <a:cubicBezTo>
                    <a:pt x="1333" y="3770"/>
                    <a:pt x="1333" y="3770"/>
                    <a:pt x="1333" y="3770"/>
                  </a:cubicBezTo>
                  <a:cubicBezTo>
                    <a:pt x="1333" y="3770"/>
                    <a:pt x="1334" y="3770"/>
                    <a:pt x="1334" y="3770"/>
                  </a:cubicBezTo>
                  <a:cubicBezTo>
                    <a:pt x="1333" y="3767"/>
                    <a:pt x="1333" y="3767"/>
                    <a:pt x="1333" y="3767"/>
                  </a:cubicBezTo>
                  <a:cubicBezTo>
                    <a:pt x="1333" y="3770"/>
                    <a:pt x="1333" y="3770"/>
                    <a:pt x="1333" y="3770"/>
                  </a:cubicBezTo>
                  <a:cubicBezTo>
                    <a:pt x="1333" y="3765"/>
                    <a:pt x="1333" y="3765"/>
                    <a:pt x="1333" y="3765"/>
                  </a:cubicBezTo>
                  <a:cubicBezTo>
                    <a:pt x="1331" y="3770"/>
                    <a:pt x="1331" y="3770"/>
                    <a:pt x="1331" y="3770"/>
                  </a:cubicBezTo>
                  <a:cubicBezTo>
                    <a:pt x="1331" y="3770"/>
                    <a:pt x="1332" y="3770"/>
                    <a:pt x="1333" y="3770"/>
                  </a:cubicBezTo>
                  <a:cubicBezTo>
                    <a:pt x="1333" y="3765"/>
                    <a:pt x="1333" y="3765"/>
                    <a:pt x="1333" y="3765"/>
                  </a:cubicBezTo>
                  <a:cubicBezTo>
                    <a:pt x="1331" y="3770"/>
                    <a:pt x="1331" y="3770"/>
                    <a:pt x="1331" y="3770"/>
                  </a:cubicBezTo>
                  <a:cubicBezTo>
                    <a:pt x="1332" y="3768"/>
                    <a:pt x="1332" y="3768"/>
                    <a:pt x="1332" y="3768"/>
                  </a:cubicBezTo>
                  <a:cubicBezTo>
                    <a:pt x="1330" y="3770"/>
                    <a:pt x="1330" y="3770"/>
                    <a:pt x="1330" y="3770"/>
                  </a:cubicBezTo>
                  <a:cubicBezTo>
                    <a:pt x="1331" y="3770"/>
                    <a:pt x="1331" y="3770"/>
                    <a:pt x="1331" y="3770"/>
                  </a:cubicBezTo>
                  <a:cubicBezTo>
                    <a:pt x="1332" y="3768"/>
                    <a:pt x="1332" y="3768"/>
                    <a:pt x="1332" y="3768"/>
                  </a:cubicBezTo>
                  <a:cubicBezTo>
                    <a:pt x="1330" y="3770"/>
                    <a:pt x="1330" y="3770"/>
                    <a:pt x="1330" y="3770"/>
                  </a:cubicBezTo>
                  <a:cubicBezTo>
                    <a:pt x="1330" y="3770"/>
                    <a:pt x="1330" y="3770"/>
                    <a:pt x="1330" y="3770"/>
                  </a:cubicBezTo>
                  <a:cubicBezTo>
                    <a:pt x="1330" y="3770"/>
                    <a:pt x="1330" y="3770"/>
                    <a:pt x="1330" y="3770"/>
                  </a:cubicBezTo>
                  <a:cubicBezTo>
                    <a:pt x="1330" y="3770"/>
                    <a:pt x="1330" y="3770"/>
                    <a:pt x="1330" y="3770"/>
                  </a:cubicBezTo>
                  <a:cubicBezTo>
                    <a:pt x="1330" y="3770"/>
                    <a:pt x="1330" y="3770"/>
                    <a:pt x="1330" y="3770"/>
                  </a:cubicBezTo>
                  <a:cubicBezTo>
                    <a:pt x="1330" y="3770"/>
                    <a:pt x="1330" y="3770"/>
                    <a:pt x="1330" y="3770"/>
                  </a:cubicBezTo>
                  <a:cubicBezTo>
                    <a:pt x="1331" y="3770"/>
                    <a:pt x="1331" y="3770"/>
                    <a:pt x="1331" y="3770"/>
                  </a:cubicBezTo>
                  <a:cubicBezTo>
                    <a:pt x="1331" y="3770"/>
                    <a:pt x="1331" y="3770"/>
                    <a:pt x="1331" y="3770"/>
                  </a:cubicBezTo>
                  <a:cubicBezTo>
                    <a:pt x="1331" y="3770"/>
                    <a:pt x="1331" y="3770"/>
                    <a:pt x="1331" y="3770"/>
                  </a:cubicBezTo>
                  <a:cubicBezTo>
                    <a:pt x="1337" y="3775"/>
                    <a:pt x="1343" y="3778"/>
                    <a:pt x="1349" y="3782"/>
                  </a:cubicBezTo>
                  <a:cubicBezTo>
                    <a:pt x="1349" y="3782"/>
                    <a:pt x="1349" y="3782"/>
                    <a:pt x="1349" y="3782"/>
                  </a:cubicBezTo>
                  <a:cubicBezTo>
                    <a:pt x="1356" y="3786"/>
                    <a:pt x="1363" y="3791"/>
                    <a:pt x="1371" y="3795"/>
                  </a:cubicBezTo>
                  <a:cubicBezTo>
                    <a:pt x="1373" y="3796"/>
                    <a:pt x="1374" y="3797"/>
                    <a:pt x="1376" y="3797"/>
                  </a:cubicBezTo>
                  <a:cubicBezTo>
                    <a:pt x="1378" y="3798"/>
                    <a:pt x="1380" y="3799"/>
                    <a:pt x="1383" y="3799"/>
                  </a:cubicBezTo>
                  <a:cubicBezTo>
                    <a:pt x="1385" y="3799"/>
                    <a:pt x="1387" y="3798"/>
                    <a:pt x="1389" y="3797"/>
                  </a:cubicBezTo>
                  <a:cubicBezTo>
                    <a:pt x="1391" y="3796"/>
                    <a:pt x="1392" y="3795"/>
                    <a:pt x="1393" y="3794"/>
                  </a:cubicBezTo>
                  <a:cubicBezTo>
                    <a:pt x="1395" y="3793"/>
                    <a:pt x="1396" y="3791"/>
                    <a:pt x="1397" y="3790"/>
                  </a:cubicBezTo>
                  <a:cubicBezTo>
                    <a:pt x="1398" y="3789"/>
                    <a:pt x="1399" y="3787"/>
                    <a:pt x="1399" y="3786"/>
                  </a:cubicBezTo>
                  <a:cubicBezTo>
                    <a:pt x="1399" y="3786"/>
                    <a:pt x="1399" y="3786"/>
                    <a:pt x="1399" y="3786"/>
                  </a:cubicBezTo>
                  <a:cubicBezTo>
                    <a:pt x="1401" y="3782"/>
                    <a:pt x="1402" y="3779"/>
                    <a:pt x="1402" y="3777"/>
                  </a:cubicBezTo>
                  <a:cubicBezTo>
                    <a:pt x="1402" y="3777"/>
                    <a:pt x="1402" y="3777"/>
                    <a:pt x="1402" y="3777"/>
                  </a:cubicBezTo>
                  <a:cubicBezTo>
                    <a:pt x="1405" y="3763"/>
                    <a:pt x="1407" y="3750"/>
                    <a:pt x="1410" y="3736"/>
                  </a:cubicBezTo>
                  <a:cubicBezTo>
                    <a:pt x="1410" y="3736"/>
                    <a:pt x="1410" y="3736"/>
                    <a:pt x="1410" y="3736"/>
                  </a:cubicBezTo>
                  <a:cubicBezTo>
                    <a:pt x="1411" y="3734"/>
                    <a:pt x="1411" y="3733"/>
                    <a:pt x="1411" y="3730"/>
                  </a:cubicBezTo>
                  <a:cubicBezTo>
                    <a:pt x="1411" y="3728"/>
                    <a:pt x="1411" y="3725"/>
                    <a:pt x="1409" y="3722"/>
                  </a:cubicBezTo>
                  <a:cubicBezTo>
                    <a:pt x="1408" y="3720"/>
                    <a:pt x="1406" y="3717"/>
                    <a:pt x="1404" y="3715"/>
                  </a:cubicBezTo>
                  <a:cubicBezTo>
                    <a:pt x="1404" y="3715"/>
                    <a:pt x="1404" y="3715"/>
                    <a:pt x="1404" y="3715"/>
                  </a:cubicBezTo>
                  <a:cubicBezTo>
                    <a:pt x="1403" y="3715"/>
                    <a:pt x="1403" y="3715"/>
                    <a:pt x="1403" y="3715"/>
                  </a:cubicBezTo>
                  <a:cubicBezTo>
                    <a:pt x="1404" y="3715"/>
                    <a:pt x="1404" y="3715"/>
                    <a:pt x="1404" y="3715"/>
                  </a:cubicBezTo>
                  <a:cubicBezTo>
                    <a:pt x="1404" y="3715"/>
                    <a:pt x="1404" y="3715"/>
                    <a:pt x="1404" y="3715"/>
                  </a:cubicBezTo>
                  <a:cubicBezTo>
                    <a:pt x="1403" y="3715"/>
                    <a:pt x="1403" y="3715"/>
                    <a:pt x="1403" y="3715"/>
                  </a:cubicBezTo>
                  <a:cubicBezTo>
                    <a:pt x="1404" y="3715"/>
                    <a:pt x="1404" y="3715"/>
                    <a:pt x="1404" y="3715"/>
                  </a:cubicBezTo>
                  <a:cubicBezTo>
                    <a:pt x="1402" y="3717"/>
                    <a:pt x="1402" y="3717"/>
                    <a:pt x="1402" y="3717"/>
                  </a:cubicBezTo>
                  <a:cubicBezTo>
                    <a:pt x="1404" y="3716"/>
                    <a:pt x="1404" y="3716"/>
                    <a:pt x="1404" y="3716"/>
                  </a:cubicBezTo>
                  <a:cubicBezTo>
                    <a:pt x="1404" y="3716"/>
                    <a:pt x="1404" y="3715"/>
                    <a:pt x="1404" y="3715"/>
                  </a:cubicBezTo>
                  <a:cubicBezTo>
                    <a:pt x="1402" y="3717"/>
                    <a:pt x="1402" y="3717"/>
                    <a:pt x="1402" y="3717"/>
                  </a:cubicBezTo>
                  <a:cubicBezTo>
                    <a:pt x="1404" y="3716"/>
                    <a:pt x="1404" y="3716"/>
                    <a:pt x="1404" y="3716"/>
                  </a:cubicBezTo>
                  <a:cubicBezTo>
                    <a:pt x="1402" y="3717"/>
                    <a:pt x="1402" y="3717"/>
                    <a:pt x="1402" y="3717"/>
                  </a:cubicBezTo>
                  <a:cubicBezTo>
                    <a:pt x="1404" y="3717"/>
                    <a:pt x="1404" y="3717"/>
                    <a:pt x="1404" y="3717"/>
                  </a:cubicBezTo>
                  <a:cubicBezTo>
                    <a:pt x="1404" y="3716"/>
                    <a:pt x="1404" y="3716"/>
                    <a:pt x="1404" y="3716"/>
                  </a:cubicBezTo>
                  <a:cubicBezTo>
                    <a:pt x="1402" y="3717"/>
                    <a:pt x="1402" y="3717"/>
                    <a:pt x="1402" y="3717"/>
                  </a:cubicBezTo>
                  <a:cubicBezTo>
                    <a:pt x="1404" y="3717"/>
                    <a:pt x="1404" y="3717"/>
                    <a:pt x="1404" y="3717"/>
                  </a:cubicBezTo>
                  <a:cubicBezTo>
                    <a:pt x="1404" y="3717"/>
                    <a:pt x="1404" y="3717"/>
                    <a:pt x="1404" y="3717"/>
                  </a:cubicBezTo>
                  <a:cubicBezTo>
                    <a:pt x="1404" y="3717"/>
                    <a:pt x="1404" y="3717"/>
                    <a:pt x="1404" y="3717"/>
                  </a:cubicBezTo>
                  <a:cubicBezTo>
                    <a:pt x="1404" y="3717"/>
                    <a:pt x="1404" y="3717"/>
                    <a:pt x="1404" y="3717"/>
                  </a:cubicBezTo>
                  <a:cubicBezTo>
                    <a:pt x="1404" y="3717"/>
                    <a:pt x="1404" y="3717"/>
                    <a:pt x="1404" y="3717"/>
                  </a:cubicBezTo>
                  <a:cubicBezTo>
                    <a:pt x="1404" y="3717"/>
                    <a:pt x="1404" y="3717"/>
                    <a:pt x="1404" y="3717"/>
                  </a:cubicBezTo>
                  <a:cubicBezTo>
                    <a:pt x="1404" y="3717"/>
                    <a:pt x="1404" y="3717"/>
                    <a:pt x="1404" y="3717"/>
                  </a:cubicBezTo>
                  <a:cubicBezTo>
                    <a:pt x="1404" y="3716"/>
                    <a:pt x="1405" y="3715"/>
                    <a:pt x="1405" y="3713"/>
                  </a:cubicBezTo>
                  <a:cubicBezTo>
                    <a:pt x="1405" y="3713"/>
                    <a:pt x="1405" y="3713"/>
                    <a:pt x="1405" y="3713"/>
                  </a:cubicBezTo>
                  <a:cubicBezTo>
                    <a:pt x="1405" y="3712"/>
                    <a:pt x="1405" y="3711"/>
                    <a:pt x="1406" y="3709"/>
                  </a:cubicBezTo>
                  <a:cubicBezTo>
                    <a:pt x="1406" y="3708"/>
                    <a:pt x="1407" y="3706"/>
                    <a:pt x="1407" y="3703"/>
                  </a:cubicBezTo>
                  <a:cubicBezTo>
                    <a:pt x="1407" y="3703"/>
                    <a:pt x="1407" y="3703"/>
                    <a:pt x="1407" y="3703"/>
                  </a:cubicBezTo>
                  <a:cubicBezTo>
                    <a:pt x="1407" y="3703"/>
                    <a:pt x="1407" y="3703"/>
                    <a:pt x="1407" y="3703"/>
                  </a:cubicBezTo>
                  <a:cubicBezTo>
                    <a:pt x="1407" y="3702"/>
                    <a:pt x="1407" y="3701"/>
                    <a:pt x="1407" y="3700"/>
                  </a:cubicBezTo>
                  <a:cubicBezTo>
                    <a:pt x="1407" y="3698"/>
                    <a:pt x="1407" y="3695"/>
                    <a:pt x="1406" y="3692"/>
                  </a:cubicBezTo>
                  <a:cubicBezTo>
                    <a:pt x="1405" y="3690"/>
                    <a:pt x="1404" y="3688"/>
                    <a:pt x="1403" y="3686"/>
                  </a:cubicBezTo>
                  <a:cubicBezTo>
                    <a:pt x="1402" y="3685"/>
                    <a:pt x="1401" y="3684"/>
                    <a:pt x="1399" y="3683"/>
                  </a:cubicBezTo>
                  <a:cubicBezTo>
                    <a:pt x="1397" y="3681"/>
                    <a:pt x="1395" y="3680"/>
                    <a:pt x="1393" y="3680"/>
                  </a:cubicBezTo>
                  <a:cubicBezTo>
                    <a:pt x="1392" y="3679"/>
                    <a:pt x="1390" y="3679"/>
                    <a:pt x="1388" y="3678"/>
                  </a:cubicBezTo>
                  <a:cubicBezTo>
                    <a:pt x="1388" y="3678"/>
                    <a:pt x="1388" y="3678"/>
                    <a:pt x="1388" y="3678"/>
                  </a:cubicBezTo>
                  <a:cubicBezTo>
                    <a:pt x="1388" y="3678"/>
                    <a:pt x="1388" y="3678"/>
                    <a:pt x="1388" y="3678"/>
                  </a:cubicBezTo>
                  <a:cubicBezTo>
                    <a:pt x="1380" y="3676"/>
                    <a:pt x="1370" y="3674"/>
                    <a:pt x="1361" y="3672"/>
                  </a:cubicBezTo>
                  <a:cubicBezTo>
                    <a:pt x="1361" y="3672"/>
                    <a:pt x="1361" y="3672"/>
                    <a:pt x="1361" y="3672"/>
                  </a:cubicBezTo>
                  <a:cubicBezTo>
                    <a:pt x="1360" y="3672"/>
                    <a:pt x="1360" y="3672"/>
                    <a:pt x="1360" y="3672"/>
                  </a:cubicBezTo>
                  <a:cubicBezTo>
                    <a:pt x="1360" y="3672"/>
                    <a:pt x="1360" y="3672"/>
                    <a:pt x="1360" y="3672"/>
                  </a:cubicBezTo>
                  <a:cubicBezTo>
                    <a:pt x="1360" y="3672"/>
                    <a:pt x="1360" y="3672"/>
                    <a:pt x="1360" y="3672"/>
                  </a:cubicBezTo>
                  <a:cubicBezTo>
                    <a:pt x="1360" y="3672"/>
                    <a:pt x="1360" y="3672"/>
                    <a:pt x="1360" y="3672"/>
                  </a:cubicBezTo>
                  <a:cubicBezTo>
                    <a:pt x="1360" y="3672"/>
                    <a:pt x="1360" y="3672"/>
                    <a:pt x="1360" y="3672"/>
                  </a:cubicBezTo>
                  <a:cubicBezTo>
                    <a:pt x="1360" y="3672"/>
                    <a:pt x="1360" y="3672"/>
                    <a:pt x="1360" y="3672"/>
                  </a:cubicBezTo>
                  <a:cubicBezTo>
                    <a:pt x="1360" y="3672"/>
                    <a:pt x="1360" y="3672"/>
                    <a:pt x="1360" y="3672"/>
                  </a:cubicBezTo>
                  <a:cubicBezTo>
                    <a:pt x="1358" y="3676"/>
                    <a:pt x="1358" y="3676"/>
                    <a:pt x="1358" y="3676"/>
                  </a:cubicBezTo>
                  <a:cubicBezTo>
                    <a:pt x="1361" y="3672"/>
                    <a:pt x="1361" y="3672"/>
                    <a:pt x="1361" y="3672"/>
                  </a:cubicBezTo>
                  <a:cubicBezTo>
                    <a:pt x="1360" y="3672"/>
                    <a:pt x="1360" y="3672"/>
                    <a:pt x="1360" y="3672"/>
                  </a:cubicBezTo>
                  <a:cubicBezTo>
                    <a:pt x="1358" y="3676"/>
                    <a:pt x="1358" y="3676"/>
                    <a:pt x="1358" y="3676"/>
                  </a:cubicBezTo>
                  <a:cubicBezTo>
                    <a:pt x="1361" y="3672"/>
                    <a:pt x="1361" y="3672"/>
                    <a:pt x="1361" y="3672"/>
                  </a:cubicBezTo>
                  <a:cubicBezTo>
                    <a:pt x="1357" y="3679"/>
                    <a:pt x="1357" y="3679"/>
                    <a:pt x="1357" y="3679"/>
                  </a:cubicBezTo>
                  <a:cubicBezTo>
                    <a:pt x="1364" y="3675"/>
                    <a:pt x="1364" y="3675"/>
                    <a:pt x="1364" y="3675"/>
                  </a:cubicBezTo>
                  <a:cubicBezTo>
                    <a:pt x="1363" y="3674"/>
                    <a:pt x="1362" y="3672"/>
                    <a:pt x="1361" y="3672"/>
                  </a:cubicBezTo>
                  <a:cubicBezTo>
                    <a:pt x="1357" y="3679"/>
                    <a:pt x="1357" y="3679"/>
                    <a:pt x="1357" y="3679"/>
                  </a:cubicBezTo>
                  <a:cubicBezTo>
                    <a:pt x="1364" y="3675"/>
                    <a:pt x="1364" y="3675"/>
                    <a:pt x="1364" y="3675"/>
                  </a:cubicBezTo>
                  <a:cubicBezTo>
                    <a:pt x="1357" y="3679"/>
                    <a:pt x="1357" y="3679"/>
                    <a:pt x="1357" y="3679"/>
                  </a:cubicBezTo>
                  <a:cubicBezTo>
                    <a:pt x="1365" y="3679"/>
                    <a:pt x="1365" y="3679"/>
                    <a:pt x="1365" y="3679"/>
                  </a:cubicBezTo>
                  <a:cubicBezTo>
                    <a:pt x="1365" y="3678"/>
                    <a:pt x="1365" y="3677"/>
                    <a:pt x="1364" y="3675"/>
                  </a:cubicBezTo>
                  <a:cubicBezTo>
                    <a:pt x="1357" y="3679"/>
                    <a:pt x="1357" y="3679"/>
                    <a:pt x="1357" y="3679"/>
                  </a:cubicBezTo>
                  <a:cubicBezTo>
                    <a:pt x="1365" y="3679"/>
                    <a:pt x="1365" y="3679"/>
                    <a:pt x="1365" y="3679"/>
                  </a:cubicBezTo>
                  <a:cubicBezTo>
                    <a:pt x="1362" y="3679"/>
                    <a:pt x="1362" y="3679"/>
                    <a:pt x="1362" y="3679"/>
                  </a:cubicBezTo>
                  <a:cubicBezTo>
                    <a:pt x="1365" y="3679"/>
                    <a:pt x="1365" y="3679"/>
                    <a:pt x="1365" y="3679"/>
                  </a:cubicBezTo>
                  <a:cubicBezTo>
                    <a:pt x="1365" y="3679"/>
                    <a:pt x="1365" y="3679"/>
                    <a:pt x="1365" y="3679"/>
                  </a:cubicBezTo>
                  <a:cubicBezTo>
                    <a:pt x="1362" y="3679"/>
                    <a:pt x="1362" y="3679"/>
                    <a:pt x="1362" y="3679"/>
                  </a:cubicBezTo>
                  <a:cubicBezTo>
                    <a:pt x="1365" y="3679"/>
                    <a:pt x="1365" y="3679"/>
                    <a:pt x="1365" y="3679"/>
                  </a:cubicBezTo>
                  <a:cubicBezTo>
                    <a:pt x="1365" y="3679"/>
                    <a:pt x="1365" y="3679"/>
                    <a:pt x="1365" y="3679"/>
                  </a:cubicBezTo>
                  <a:cubicBezTo>
                    <a:pt x="1365" y="3679"/>
                    <a:pt x="1365" y="3679"/>
                    <a:pt x="1365" y="3679"/>
                  </a:cubicBezTo>
                  <a:cubicBezTo>
                    <a:pt x="1366" y="3672"/>
                    <a:pt x="1367" y="3666"/>
                    <a:pt x="1368" y="3660"/>
                  </a:cubicBezTo>
                  <a:cubicBezTo>
                    <a:pt x="1368" y="3660"/>
                    <a:pt x="1368" y="3660"/>
                    <a:pt x="1368" y="3660"/>
                  </a:cubicBezTo>
                  <a:cubicBezTo>
                    <a:pt x="1368" y="3659"/>
                    <a:pt x="1368" y="3658"/>
                    <a:pt x="1368" y="3657"/>
                  </a:cubicBezTo>
                  <a:cubicBezTo>
                    <a:pt x="1368" y="3655"/>
                    <a:pt x="1367" y="3652"/>
                    <a:pt x="1367" y="3650"/>
                  </a:cubicBezTo>
                  <a:cubicBezTo>
                    <a:pt x="1365" y="3647"/>
                    <a:pt x="1363" y="3644"/>
                    <a:pt x="1360" y="3641"/>
                  </a:cubicBezTo>
                  <a:cubicBezTo>
                    <a:pt x="1358" y="3639"/>
                    <a:pt x="1355" y="3638"/>
                    <a:pt x="1352" y="3637"/>
                  </a:cubicBezTo>
                  <a:cubicBezTo>
                    <a:pt x="1344" y="3635"/>
                    <a:pt x="1336" y="3634"/>
                    <a:pt x="1328" y="3632"/>
                  </a:cubicBezTo>
                  <a:cubicBezTo>
                    <a:pt x="1328" y="3632"/>
                    <a:pt x="1328" y="3632"/>
                    <a:pt x="1328" y="3632"/>
                  </a:cubicBezTo>
                  <a:cubicBezTo>
                    <a:pt x="1316" y="3630"/>
                    <a:pt x="1304" y="3628"/>
                    <a:pt x="1293" y="3626"/>
                  </a:cubicBezTo>
                  <a:cubicBezTo>
                    <a:pt x="1292" y="3626"/>
                    <a:pt x="1292" y="3626"/>
                    <a:pt x="1292" y="3626"/>
                  </a:cubicBezTo>
                  <a:cubicBezTo>
                    <a:pt x="1293" y="3626"/>
                    <a:pt x="1293" y="3626"/>
                    <a:pt x="1293" y="3626"/>
                  </a:cubicBezTo>
                  <a:cubicBezTo>
                    <a:pt x="1292" y="3625"/>
                    <a:pt x="1291" y="3625"/>
                    <a:pt x="1291" y="3625"/>
                  </a:cubicBezTo>
                  <a:cubicBezTo>
                    <a:pt x="1291" y="3626"/>
                    <a:pt x="1291" y="3626"/>
                    <a:pt x="1291" y="3626"/>
                  </a:cubicBezTo>
                  <a:cubicBezTo>
                    <a:pt x="1291" y="3625"/>
                    <a:pt x="1291" y="3625"/>
                    <a:pt x="1291" y="3625"/>
                  </a:cubicBezTo>
                  <a:cubicBezTo>
                    <a:pt x="1291" y="3625"/>
                    <a:pt x="1291" y="3625"/>
                    <a:pt x="1291" y="3625"/>
                  </a:cubicBezTo>
                  <a:cubicBezTo>
                    <a:pt x="1291" y="3626"/>
                    <a:pt x="1291" y="3626"/>
                    <a:pt x="1291" y="3626"/>
                  </a:cubicBezTo>
                  <a:cubicBezTo>
                    <a:pt x="1291" y="3625"/>
                    <a:pt x="1291" y="3625"/>
                    <a:pt x="1291" y="3625"/>
                  </a:cubicBezTo>
                  <a:cubicBezTo>
                    <a:pt x="1289" y="3630"/>
                    <a:pt x="1289" y="3630"/>
                    <a:pt x="1289" y="3630"/>
                  </a:cubicBezTo>
                  <a:cubicBezTo>
                    <a:pt x="1292" y="3626"/>
                    <a:pt x="1292" y="3626"/>
                    <a:pt x="1292" y="3626"/>
                  </a:cubicBezTo>
                  <a:cubicBezTo>
                    <a:pt x="1292" y="3625"/>
                    <a:pt x="1291" y="3625"/>
                    <a:pt x="1291" y="3625"/>
                  </a:cubicBezTo>
                  <a:cubicBezTo>
                    <a:pt x="1289" y="3630"/>
                    <a:pt x="1289" y="3630"/>
                    <a:pt x="1289" y="3630"/>
                  </a:cubicBezTo>
                  <a:cubicBezTo>
                    <a:pt x="1292" y="3626"/>
                    <a:pt x="1292" y="3626"/>
                    <a:pt x="1292" y="3626"/>
                  </a:cubicBezTo>
                  <a:cubicBezTo>
                    <a:pt x="1288" y="3633"/>
                    <a:pt x="1288" y="3633"/>
                    <a:pt x="1288" y="3633"/>
                  </a:cubicBezTo>
                  <a:cubicBezTo>
                    <a:pt x="1294" y="3627"/>
                    <a:pt x="1294" y="3627"/>
                    <a:pt x="1294" y="3627"/>
                  </a:cubicBezTo>
                  <a:cubicBezTo>
                    <a:pt x="1293" y="3627"/>
                    <a:pt x="1293" y="3626"/>
                    <a:pt x="1292" y="3626"/>
                  </a:cubicBezTo>
                  <a:cubicBezTo>
                    <a:pt x="1288" y="3633"/>
                    <a:pt x="1288" y="3633"/>
                    <a:pt x="1288" y="3633"/>
                  </a:cubicBezTo>
                  <a:cubicBezTo>
                    <a:pt x="1294" y="3627"/>
                    <a:pt x="1294" y="3627"/>
                    <a:pt x="1294" y="3627"/>
                  </a:cubicBezTo>
                  <a:cubicBezTo>
                    <a:pt x="1287" y="3633"/>
                    <a:pt x="1287" y="3633"/>
                    <a:pt x="1287" y="3633"/>
                  </a:cubicBezTo>
                  <a:cubicBezTo>
                    <a:pt x="1295" y="3630"/>
                    <a:pt x="1295" y="3630"/>
                    <a:pt x="1295" y="3630"/>
                  </a:cubicBezTo>
                  <a:cubicBezTo>
                    <a:pt x="1295" y="3630"/>
                    <a:pt x="1295" y="3628"/>
                    <a:pt x="1294" y="3627"/>
                  </a:cubicBezTo>
                  <a:cubicBezTo>
                    <a:pt x="1287" y="3633"/>
                    <a:pt x="1287" y="3633"/>
                    <a:pt x="1287" y="3633"/>
                  </a:cubicBezTo>
                  <a:cubicBezTo>
                    <a:pt x="1295" y="3630"/>
                    <a:pt x="1295" y="3630"/>
                    <a:pt x="1295" y="3630"/>
                  </a:cubicBezTo>
                  <a:cubicBezTo>
                    <a:pt x="1290" y="3632"/>
                    <a:pt x="1290" y="3632"/>
                    <a:pt x="1290" y="3632"/>
                  </a:cubicBezTo>
                  <a:cubicBezTo>
                    <a:pt x="1296" y="3632"/>
                    <a:pt x="1296" y="3632"/>
                    <a:pt x="1296" y="3632"/>
                  </a:cubicBezTo>
                  <a:cubicBezTo>
                    <a:pt x="1296" y="3632"/>
                    <a:pt x="1296" y="3631"/>
                    <a:pt x="1295" y="3630"/>
                  </a:cubicBezTo>
                  <a:cubicBezTo>
                    <a:pt x="1290" y="3632"/>
                    <a:pt x="1290" y="3632"/>
                    <a:pt x="1290" y="3632"/>
                  </a:cubicBezTo>
                  <a:cubicBezTo>
                    <a:pt x="1296" y="3632"/>
                    <a:pt x="1296" y="3632"/>
                    <a:pt x="1296" y="3632"/>
                  </a:cubicBezTo>
                  <a:cubicBezTo>
                    <a:pt x="1295" y="3632"/>
                    <a:pt x="1295" y="3632"/>
                    <a:pt x="1295" y="3632"/>
                  </a:cubicBezTo>
                  <a:cubicBezTo>
                    <a:pt x="1296" y="3632"/>
                    <a:pt x="1296" y="3632"/>
                    <a:pt x="1296" y="3632"/>
                  </a:cubicBezTo>
                  <a:cubicBezTo>
                    <a:pt x="1296" y="3632"/>
                    <a:pt x="1296" y="3632"/>
                    <a:pt x="1296" y="3632"/>
                  </a:cubicBezTo>
                  <a:cubicBezTo>
                    <a:pt x="1295" y="3632"/>
                    <a:pt x="1295" y="3632"/>
                    <a:pt x="1295" y="3632"/>
                  </a:cubicBezTo>
                  <a:cubicBezTo>
                    <a:pt x="1296" y="3632"/>
                    <a:pt x="1296" y="3632"/>
                    <a:pt x="1296" y="3632"/>
                  </a:cubicBezTo>
                  <a:cubicBezTo>
                    <a:pt x="1296" y="3632"/>
                    <a:pt x="1296" y="3631"/>
                    <a:pt x="1296" y="3630"/>
                  </a:cubicBezTo>
                  <a:cubicBezTo>
                    <a:pt x="1302" y="3601"/>
                    <a:pt x="1307" y="3572"/>
                    <a:pt x="1313" y="3544"/>
                  </a:cubicBezTo>
                  <a:cubicBezTo>
                    <a:pt x="1314" y="3541"/>
                    <a:pt x="1314" y="3539"/>
                    <a:pt x="1314" y="3538"/>
                  </a:cubicBezTo>
                  <a:cubicBezTo>
                    <a:pt x="1314" y="3537"/>
                    <a:pt x="1315" y="3537"/>
                    <a:pt x="1315" y="3536"/>
                  </a:cubicBezTo>
                  <a:cubicBezTo>
                    <a:pt x="1315" y="3536"/>
                    <a:pt x="1315" y="3536"/>
                    <a:pt x="1315" y="3536"/>
                  </a:cubicBezTo>
                  <a:cubicBezTo>
                    <a:pt x="1315" y="3536"/>
                    <a:pt x="1315" y="3536"/>
                    <a:pt x="1315" y="3536"/>
                  </a:cubicBezTo>
                  <a:cubicBezTo>
                    <a:pt x="1315" y="3536"/>
                    <a:pt x="1315" y="3536"/>
                    <a:pt x="1315" y="3536"/>
                  </a:cubicBezTo>
                  <a:cubicBezTo>
                    <a:pt x="1315" y="3536"/>
                    <a:pt x="1315" y="3536"/>
                    <a:pt x="1315" y="3536"/>
                  </a:cubicBezTo>
                  <a:cubicBezTo>
                    <a:pt x="1315" y="3536"/>
                    <a:pt x="1315" y="3536"/>
                    <a:pt x="1315" y="3536"/>
                  </a:cubicBezTo>
                  <a:cubicBezTo>
                    <a:pt x="1310" y="3534"/>
                    <a:pt x="1310" y="3534"/>
                    <a:pt x="1310" y="3534"/>
                  </a:cubicBezTo>
                  <a:cubicBezTo>
                    <a:pt x="1314" y="3537"/>
                    <a:pt x="1314" y="3537"/>
                    <a:pt x="1314" y="3537"/>
                  </a:cubicBezTo>
                  <a:cubicBezTo>
                    <a:pt x="1315" y="3537"/>
                    <a:pt x="1315" y="3537"/>
                    <a:pt x="1315" y="3536"/>
                  </a:cubicBezTo>
                  <a:cubicBezTo>
                    <a:pt x="1310" y="3534"/>
                    <a:pt x="1310" y="3534"/>
                    <a:pt x="1310" y="3534"/>
                  </a:cubicBezTo>
                  <a:cubicBezTo>
                    <a:pt x="1314" y="3537"/>
                    <a:pt x="1314" y="3537"/>
                    <a:pt x="1314" y="3537"/>
                  </a:cubicBezTo>
                  <a:cubicBezTo>
                    <a:pt x="1308" y="3533"/>
                    <a:pt x="1308" y="3533"/>
                    <a:pt x="1308" y="3533"/>
                  </a:cubicBezTo>
                  <a:cubicBezTo>
                    <a:pt x="1311" y="3540"/>
                    <a:pt x="1311" y="3540"/>
                    <a:pt x="1311" y="3540"/>
                  </a:cubicBezTo>
                  <a:cubicBezTo>
                    <a:pt x="1312" y="3539"/>
                    <a:pt x="1314" y="3538"/>
                    <a:pt x="1314" y="3537"/>
                  </a:cubicBezTo>
                  <a:cubicBezTo>
                    <a:pt x="1308" y="3533"/>
                    <a:pt x="1308" y="3533"/>
                    <a:pt x="1308" y="3533"/>
                  </a:cubicBezTo>
                  <a:cubicBezTo>
                    <a:pt x="1311" y="3540"/>
                    <a:pt x="1311" y="3540"/>
                    <a:pt x="1311" y="3540"/>
                  </a:cubicBezTo>
                  <a:cubicBezTo>
                    <a:pt x="1308" y="3534"/>
                    <a:pt x="1308" y="3534"/>
                    <a:pt x="1308" y="3534"/>
                  </a:cubicBezTo>
                  <a:cubicBezTo>
                    <a:pt x="1308" y="3540"/>
                    <a:pt x="1308" y="3540"/>
                    <a:pt x="1308" y="3540"/>
                  </a:cubicBezTo>
                  <a:cubicBezTo>
                    <a:pt x="1309" y="3540"/>
                    <a:pt x="1310" y="3540"/>
                    <a:pt x="1311" y="3540"/>
                  </a:cubicBezTo>
                  <a:cubicBezTo>
                    <a:pt x="1308" y="3534"/>
                    <a:pt x="1308" y="3534"/>
                    <a:pt x="1308" y="3534"/>
                  </a:cubicBezTo>
                  <a:cubicBezTo>
                    <a:pt x="1308" y="3540"/>
                    <a:pt x="1308" y="3540"/>
                    <a:pt x="1308" y="3540"/>
                  </a:cubicBezTo>
                  <a:cubicBezTo>
                    <a:pt x="1308" y="3539"/>
                    <a:pt x="1308" y="3539"/>
                    <a:pt x="1308" y="3539"/>
                  </a:cubicBezTo>
                  <a:cubicBezTo>
                    <a:pt x="1308" y="3540"/>
                    <a:pt x="1308" y="3540"/>
                    <a:pt x="1308" y="3540"/>
                  </a:cubicBezTo>
                  <a:cubicBezTo>
                    <a:pt x="1308" y="3540"/>
                    <a:pt x="1308" y="3540"/>
                    <a:pt x="1308" y="3540"/>
                  </a:cubicBezTo>
                  <a:cubicBezTo>
                    <a:pt x="1308" y="3539"/>
                    <a:pt x="1308" y="3539"/>
                    <a:pt x="1308" y="3539"/>
                  </a:cubicBezTo>
                  <a:cubicBezTo>
                    <a:pt x="1308" y="3540"/>
                    <a:pt x="1308" y="3540"/>
                    <a:pt x="1308" y="3540"/>
                  </a:cubicBezTo>
                  <a:cubicBezTo>
                    <a:pt x="1308" y="3540"/>
                    <a:pt x="1309" y="3541"/>
                    <a:pt x="1310" y="3541"/>
                  </a:cubicBezTo>
                  <a:cubicBezTo>
                    <a:pt x="1312" y="3541"/>
                    <a:pt x="1313" y="3541"/>
                    <a:pt x="1316" y="3542"/>
                  </a:cubicBezTo>
                  <a:cubicBezTo>
                    <a:pt x="1316" y="3542"/>
                    <a:pt x="1316" y="3542"/>
                    <a:pt x="1316" y="3542"/>
                  </a:cubicBezTo>
                  <a:cubicBezTo>
                    <a:pt x="1338" y="3547"/>
                    <a:pt x="1361" y="3552"/>
                    <a:pt x="1384" y="3557"/>
                  </a:cubicBezTo>
                  <a:cubicBezTo>
                    <a:pt x="1384" y="3557"/>
                    <a:pt x="1384" y="3557"/>
                    <a:pt x="1384" y="3557"/>
                  </a:cubicBezTo>
                  <a:cubicBezTo>
                    <a:pt x="1386" y="3558"/>
                    <a:pt x="1388" y="3558"/>
                    <a:pt x="1390" y="3558"/>
                  </a:cubicBezTo>
                  <a:cubicBezTo>
                    <a:pt x="1392" y="3558"/>
                    <a:pt x="1395" y="3558"/>
                    <a:pt x="1397" y="3557"/>
                  </a:cubicBezTo>
                  <a:cubicBezTo>
                    <a:pt x="1399" y="3557"/>
                    <a:pt x="1400" y="3556"/>
                    <a:pt x="1402" y="3554"/>
                  </a:cubicBezTo>
                  <a:cubicBezTo>
                    <a:pt x="1404" y="3553"/>
                    <a:pt x="1405" y="3551"/>
                    <a:pt x="1406" y="3549"/>
                  </a:cubicBezTo>
                  <a:cubicBezTo>
                    <a:pt x="1408" y="3547"/>
                    <a:pt x="1408" y="3545"/>
                    <a:pt x="1409" y="3543"/>
                  </a:cubicBezTo>
                  <a:cubicBezTo>
                    <a:pt x="1409" y="3543"/>
                    <a:pt x="1409" y="3543"/>
                    <a:pt x="1409" y="3543"/>
                  </a:cubicBezTo>
                  <a:cubicBezTo>
                    <a:pt x="1410" y="3540"/>
                    <a:pt x="1411" y="3537"/>
                    <a:pt x="1411" y="3536"/>
                  </a:cubicBezTo>
                  <a:cubicBezTo>
                    <a:pt x="1411" y="3536"/>
                    <a:pt x="1411" y="3536"/>
                    <a:pt x="1411" y="3536"/>
                  </a:cubicBezTo>
                  <a:cubicBezTo>
                    <a:pt x="1411" y="3536"/>
                    <a:pt x="1411" y="3536"/>
                    <a:pt x="1411" y="3536"/>
                  </a:cubicBezTo>
                  <a:cubicBezTo>
                    <a:pt x="1414" y="3522"/>
                    <a:pt x="1417" y="3509"/>
                    <a:pt x="1420" y="3496"/>
                  </a:cubicBezTo>
                  <a:cubicBezTo>
                    <a:pt x="1420" y="3496"/>
                    <a:pt x="1420" y="3496"/>
                    <a:pt x="1420" y="3496"/>
                  </a:cubicBezTo>
                  <a:cubicBezTo>
                    <a:pt x="1420" y="3496"/>
                    <a:pt x="1420" y="3496"/>
                    <a:pt x="1420" y="3496"/>
                  </a:cubicBezTo>
                  <a:cubicBezTo>
                    <a:pt x="1416" y="3495"/>
                    <a:pt x="1416" y="3495"/>
                    <a:pt x="1416" y="3495"/>
                  </a:cubicBezTo>
                  <a:cubicBezTo>
                    <a:pt x="1419" y="3497"/>
                    <a:pt x="1419" y="3497"/>
                    <a:pt x="1419" y="3497"/>
                  </a:cubicBezTo>
                  <a:cubicBezTo>
                    <a:pt x="1420" y="3496"/>
                    <a:pt x="1420" y="3496"/>
                    <a:pt x="1420" y="3496"/>
                  </a:cubicBezTo>
                  <a:cubicBezTo>
                    <a:pt x="1416" y="3495"/>
                    <a:pt x="1416" y="3495"/>
                    <a:pt x="1416" y="3495"/>
                  </a:cubicBezTo>
                  <a:cubicBezTo>
                    <a:pt x="1419" y="3497"/>
                    <a:pt x="1419" y="3497"/>
                    <a:pt x="1419" y="3497"/>
                  </a:cubicBezTo>
                  <a:cubicBezTo>
                    <a:pt x="1412" y="3493"/>
                    <a:pt x="1412" y="3493"/>
                    <a:pt x="1412" y="3493"/>
                  </a:cubicBezTo>
                  <a:cubicBezTo>
                    <a:pt x="1416" y="3500"/>
                    <a:pt x="1416" y="3500"/>
                    <a:pt x="1416" y="3500"/>
                  </a:cubicBezTo>
                  <a:cubicBezTo>
                    <a:pt x="1418" y="3499"/>
                    <a:pt x="1419" y="3497"/>
                    <a:pt x="1419" y="3497"/>
                  </a:cubicBezTo>
                  <a:cubicBezTo>
                    <a:pt x="1412" y="3493"/>
                    <a:pt x="1412" y="3493"/>
                    <a:pt x="1412" y="3493"/>
                  </a:cubicBezTo>
                  <a:cubicBezTo>
                    <a:pt x="1416" y="3500"/>
                    <a:pt x="1416" y="3500"/>
                    <a:pt x="1416" y="3500"/>
                  </a:cubicBezTo>
                  <a:cubicBezTo>
                    <a:pt x="1413" y="3493"/>
                    <a:pt x="1413" y="3493"/>
                    <a:pt x="1413" y="3493"/>
                  </a:cubicBezTo>
                  <a:cubicBezTo>
                    <a:pt x="1413" y="3501"/>
                    <a:pt x="1413" y="3501"/>
                    <a:pt x="1413" y="3501"/>
                  </a:cubicBezTo>
                  <a:cubicBezTo>
                    <a:pt x="1413" y="3501"/>
                    <a:pt x="1415" y="3501"/>
                    <a:pt x="1416" y="3500"/>
                  </a:cubicBezTo>
                  <a:cubicBezTo>
                    <a:pt x="1413" y="3493"/>
                    <a:pt x="1413" y="3493"/>
                    <a:pt x="1413" y="3493"/>
                  </a:cubicBezTo>
                  <a:cubicBezTo>
                    <a:pt x="1413" y="3501"/>
                    <a:pt x="1413" y="3501"/>
                    <a:pt x="1413" y="3501"/>
                  </a:cubicBezTo>
                  <a:cubicBezTo>
                    <a:pt x="1413" y="3497"/>
                    <a:pt x="1413" y="3497"/>
                    <a:pt x="1413" y="3497"/>
                  </a:cubicBezTo>
                  <a:cubicBezTo>
                    <a:pt x="1413" y="3501"/>
                    <a:pt x="1413" y="3501"/>
                    <a:pt x="1413" y="3501"/>
                  </a:cubicBezTo>
                  <a:cubicBezTo>
                    <a:pt x="1413" y="3501"/>
                    <a:pt x="1413" y="3501"/>
                    <a:pt x="1413" y="3501"/>
                  </a:cubicBezTo>
                  <a:cubicBezTo>
                    <a:pt x="1413" y="3497"/>
                    <a:pt x="1413" y="3497"/>
                    <a:pt x="1413" y="3497"/>
                  </a:cubicBezTo>
                  <a:cubicBezTo>
                    <a:pt x="1413" y="3501"/>
                    <a:pt x="1413" y="3501"/>
                    <a:pt x="1413" y="3501"/>
                  </a:cubicBezTo>
                  <a:cubicBezTo>
                    <a:pt x="1413" y="3501"/>
                    <a:pt x="1413" y="3501"/>
                    <a:pt x="1413" y="3501"/>
                  </a:cubicBezTo>
                  <a:cubicBezTo>
                    <a:pt x="1413" y="3501"/>
                    <a:pt x="1413" y="3501"/>
                    <a:pt x="1413" y="3501"/>
                  </a:cubicBezTo>
                  <a:cubicBezTo>
                    <a:pt x="1413" y="3501"/>
                    <a:pt x="1413" y="3501"/>
                    <a:pt x="1413" y="3501"/>
                  </a:cubicBezTo>
                  <a:cubicBezTo>
                    <a:pt x="1413" y="3501"/>
                    <a:pt x="1413" y="3501"/>
                    <a:pt x="1413" y="3501"/>
                  </a:cubicBezTo>
                  <a:cubicBezTo>
                    <a:pt x="1413" y="3501"/>
                    <a:pt x="1413" y="3501"/>
                    <a:pt x="1413" y="3501"/>
                  </a:cubicBezTo>
                  <a:cubicBezTo>
                    <a:pt x="1413" y="3501"/>
                    <a:pt x="1413" y="3501"/>
                    <a:pt x="1413" y="3501"/>
                  </a:cubicBezTo>
                  <a:cubicBezTo>
                    <a:pt x="1433" y="3506"/>
                    <a:pt x="1453" y="3509"/>
                    <a:pt x="1472" y="3513"/>
                  </a:cubicBezTo>
                  <a:cubicBezTo>
                    <a:pt x="1472" y="3513"/>
                    <a:pt x="1472" y="3513"/>
                    <a:pt x="1472" y="3513"/>
                  </a:cubicBezTo>
                  <a:cubicBezTo>
                    <a:pt x="1474" y="3513"/>
                    <a:pt x="1476" y="3514"/>
                    <a:pt x="1479" y="3514"/>
                  </a:cubicBezTo>
                  <a:cubicBezTo>
                    <a:pt x="1481" y="3514"/>
                    <a:pt x="1483" y="3514"/>
                    <a:pt x="1485" y="3513"/>
                  </a:cubicBezTo>
                  <a:cubicBezTo>
                    <a:pt x="1487" y="3512"/>
                    <a:pt x="1489" y="3511"/>
                    <a:pt x="1490" y="3510"/>
                  </a:cubicBezTo>
                  <a:cubicBezTo>
                    <a:pt x="1492" y="3508"/>
                    <a:pt x="1494" y="3506"/>
                    <a:pt x="1495" y="3504"/>
                  </a:cubicBezTo>
                  <a:cubicBezTo>
                    <a:pt x="1496" y="3502"/>
                    <a:pt x="1497" y="3500"/>
                    <a:pt x="1497" y="3498"/>
                  </a:cubicBezTo>
                  <a:cubicBezTo>
                    <a:pt x="1497" y="3498"/>
                    <a:pt x="1497" y="3498"/>
                    <a:pt x="1497" y="3498"/>
                  </a:cubicBezTo>
                  <a:cubicBezTo>
                    <a:pt x="1499" y="3491"/>
                    <a:pt x="1500" y="3484"/>
                    <a:pt x="1502" y="3478"/>
                  </a:cubicBezTo>
                  <a:cubicBezTo>
                    <a:pt x="1502" y="3478"/>
                    <a:pt x="1502" y="3478"/>
                    <a:pt x="1502" y="3478"/>
                  </a:cubicBezTo>
                  <a:cubicBezTo>
                    <a:pt x="1504" y="3468"/>
                    <a:pt x="1505" y="3459"/>
                    <a:pt x="1507" y="3451"/>
                  </a:cubicBezTo>
                  <a:cubicBezTo>
                    <a:pt x="1507" y="3451"/>
                    <a:pt x="1507" y="3451"/>
                    <a:pt x="1507" y="3451"/>
                  </a:cubicBezTo>
                  <a:cubicBezTo>
                    <a:pt x="1507" y="3451"/>
                    <a:pt x="1507" y="3451"/>
                    <a:pt x="1507" y="3451"/>
                  </a:cubicBezTo>
                  <a:cubicBezTo>
                    <a:pt x="1507" y="3450"/>
                    <a:pt x="1507" y="3450"/>
                    <a:pt x="1507" y="3450"/>
                  </a:cubicBezTo>
                  <a:cubicBezTo>
                    <a:pt x="1507" y="3450"/>
                    <a:pt x="1507" y="3450"/>
                    <a:pt x="1507" y="3450"/>
                  </a:cubicBezTo>
                  <a:cubicBezTo>
                    <a:pt x="1507" y="3450"/>
                    <a:pt x="1507" y="3450"/>
                    <a:pt x="1507" y="3450"/>
                  </a:cubicBezTo>
                  <a:cubicBezTo>
                    <a:pt x="1503" y="3448"/>
                    <a:pt x="1503" y="3448"/>
                    <a:pt x="1503" y="3448"/>
                  </a:cubicBezTo>
                  <a:cubicBezTo>
                    <a:pt x="1507" y="3451"/>
                    <a:pt x="1507" y="3451"/>
                    <a:pt x="1507" y="3451"/>
                  </a:cubicBezTo>
                  <a:cubicBezTo>
                    <a:pt x="1507" y="3450"/>
                    <a:pt x="1507" y="3450"/>
                    <a:pt x="1507" y="3450"/>
                  </a:cubicBezTo>
                  <a:cubicBezTo>
                    <a:pt x="1503" y="3448"/>
                    <a:pt x="1503" y="3448"/>
                    <a:pt x="1503" y="3448"/>
                  </a:cubicBezTo>
                  <a:cubicBezTo>
                    <a:pt x="1507" y="3451"/>
                    <a:pt x="1507" y="3451"/>
                    <a:pt x="1507" y="3451"/>
                  </a:cubicBezTo>
                  <a:cubicBezTo>
                    <a:pt x="1500" y="3447"/>
                    <a:pt x="1500" y="3447"/>
                    <a:pt x="1500" y="3447"/>
                  </a:cubicBezTo>
                  <a:cubicBezTo>
                    <a:pt x="1504" y="3454"/>
                    <a:pt x="1504" y="3454"/>
                    <a:pt x="1504" y="3454"/>
                  </a:cubicBezTo>
                  <a:cubicBezTo>
                    <a:pt x="1506" y="3453"/>
                    <a:pt x="1507" y="3451"/>
                    <a:pt x="1507" y="3451"/>
                  </a:cubicBezTo>
                  <a:cubicBezTo>
                    <a:pt x="1500" y="3447"/>
                    <a:pt x="1500" y="3447"/>
                    <a:pt x="1500" y="3447"/>
                  </a:cubicBezTo>
                  <a:cubicBezTo>
                    <a:pt x="1504" y="3454"/>
                    <a:pt x="1504" y="3454"/>
                    <a:pt x="1504" y="3454"/>
                  </a:cubicBezTo>
                  <a:cubicBezTo>
                    <a:pt x="1500" y="3447"/>
                    <a:pt x="1500" y="3447"/>
                    <a:pt x="1500" y="3447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01" y="3455"/>
                    <a:pt x="1502" y="3455"/>
                    <a:pt x="1504" y="3454"/>
                  </a:cubicBezTo>
                  <a:cubicBezTo>
                    <a:pt x="1500" y="3447"/>
                    <a:pt x="1500" y="3447"/>
                    <a:pt x="1500" y="3447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00" y="3451"/>
                    <a:pt x="1500" y="3451"/>
                    <a:pt x="1500" y="3451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00" y="3451"/>
                    <a:pt x="1500" y="3451"/>
                    <a:pt x="1500" y="3451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00" y="3455"/>
                    <a:pt x="1500" y="3455"/>
                    <a:pt x="1500" y="3455"/>
                  </a:cubicBezTo>
                  <a:cubicBezTo>
                    <a:pt x="1517" y="3459"/>
                    <a:pt x="1533" y="3462"/>
                    <a:pt x="1549" y="3465"/>
                  </a:cubicBezTo>
                  <a:cubicBezTo>
                    <a:pt x="1549" y="3465"/>
                    <a:pt x="1549" y="3465"/>
                    <a:pt x="1549" y="3465"/>
                  </a:cubicBezTo>
                  <a:cubicBezTo>
                    <a:pt x="1560" y="3467"/>
                    <a:pt x="1571" y="3470"/>
                    <a:pt x="1583" y="3473"/>
                  </a:cubicBezTo>
                  <a:cubicBezTo>
                    <a:pt x="1583" y="3473"/>
                    <a:pt x="1583" y="3473"/>
                    <a:pt x="1583" y="3473"/>
                  </a:cubicBezTo>
                  <a:cubicBezTo>
                    <a:pt x="1583" y="3473"/>
                    <a:pt x="1583" y="3473"/>
                    <a:pt x="1583" y="3473"/>
                  </a:cubicBezTo>
                  <a:cubicBezTo>
                    <a:pt x="1583" y="3473"/>
                    <a:pt x="1583" y="3473"/>
                    <a:pt x="1583" y="3473"/>
                  </a:cubicBezTo>
                  <a:cubicBezTo>
                    <a:pt x="1584" y="3471"/>
                    <a:pt x="1584" y="3471"/>
                    <a:pt x="1584" y="3471"/>
                  </a:cubicBezTo>
                  <a:cubicBezTo>
                    <a:pt x="1583" y="3473"/>
                    <a:pt x="1583" y="3473"/>
                    <a:pt x="1583" y="3473"/>
                  </a:cubicBezTo>
                  <a:cubicBezTo>
                    <a:pt x="1583" y="3473"/>
                    <a:pt x="1583" y="3473"/>
                    <a:pt x="1583" y="3473"/>
                  </a:cubicBezTo>
                  <a:cubicBezTo>
                    <a:pt x="1584" y="3471"/>
                    <a:pt x="1584" y="3471"/>
                    <a:pt x="1584" y="3471"/>
                  </a:cubicBezTo>
                  <a:cubicBezTo>
                    <a:pt x="1583" y="3473"/>
                    <a:pt x="1583" y="3473"/>
                    <a:pt x="1583" y="3473"/>
                  </a:cubicBezTo>
                  <a:cubicBezTo>
                    <a:pt x="1585" y="3467"/>
                    <a:pt x="1585" y="3467"/>
                    <a:pt x="1585" y="3467"/>
                  </a:cubicBezTo>
                  <a:cubicBezTo>
                    <a:pt x="1581" y="3472"/>
                    <a:pt x="1581" y="3472"/>
                    <a:pt x="1581" y="3472"/>
                  </a:cubicBezTo>
                  <a:cubicBezTo>
                    <a:pt x="1582" y="3473"/>
                    <a:pt x="1583" y="3473"/>
                    <a:pt x="1583" y="3473"/>
                  </a:cubicBezTo>
                  <a:cubicBezTo>
                    <a:pt x="1585" y="3467"/>
                    <a:pt x="1585" y="3467"/>
                    <a:pt x="1585" y="3467"/>
                  </a:cubicBezTo>
                  <a:cubicBezTo>
                    <a:pt x="1581" y="3472"/>
                    <a:pt x="1581" y="3472"/>
                    <a:pt x="1581" y="3472"/>
                  </a:cubicBezTo>
                  <a:cubicBezTo>
                    <a:pt x="1587" y="3465"/>
                    <a:pt x="1587" y="3465"/>
                    <a:pt x="1587" y="3465"/>
                  </a:cubicBezTo>
                  <a:cubicBezTo>
                    <a:pt x="1578" y="3468"/>
                    <a:pt x="1578" y="3468"/>
                    <a:pt x="1578" y="3468"/>
                  </a:cubicBezTo>
                  <a:cubicBezTo>
                    <a:pt x="1579" y="3470"/>
                    <a:pt x="1580" y="3472"/>
                    <a:pt x="1581" y="3472"/>
                  </a:cubicBezTo>
                  <a:cubicBezTo>
                    <a:pt x="1587" y="3465"/>
                    <a:pt x="1587" y="3465"/>
                    <a:pt x="1587" y="3465"/>
                  </a:cubicBezTo>
                  <a:cubicBezTo>
                    <a:pt x="1578" y="3468"/>
                    <a:pt x="1578" y="3468"/>
                    <a:pt x="1578" y="3468"/>
                  </a:cubicBezTo>
                  <a:cubicBezTo>
                    <a:pt x="1586" y="3465"/>
                    <a:pt x="1586" y="3465"/>
                    <a:pt x="1586" y="3465"/>
                  </a:cubicBezTo>
                  <a:cubicBezTo>
                    <a:pt x="1578" y="3465"/>
                    <a:pt x="1578" y="3465"/>
                    <a:pt x="1578" y="3465"/>
                  </a:cubicBezTo>
                  <a:cubicBezTo>
                    <a:pt x="1578" y="3466"/>
                    <a:pt x="1578" y="3467"/>
                    <a:pt x="1578" y="3468"/>
                  </a:cubicBezTo>
                  <a:cubicBezTo>
                    <a:pt x="1586" y="3465"/>
                    <a:pt x="1586" y="3465"/>
                    <a:pt x="1586" y="3465"/>
                  </a:cubicBezTo>
                  <a:cubicBezTo>
                    <a:pt x="1578" y="3465"/>
                    <a:pt x="1578" y="3465"/>
                    <a:pt x="1578" y="3465"/>
                  </a:cubicBezTo>
                  <a:cubicBezTo>
                    <a:pt x="1581" y="3465"/>
                    <a:pt x="1581" y="3465"/>
                    <a:pt x="1581" y="3465"/>
                  </a:cubicBezTo>
                  <a:cubicBezTo>
                    <a:pt x="1578" y="3465"/>
                    <a:pt x="1578" y="3465"/>
                    <a:pt x="1578" y="3465"/>
                  </a:cubicBezTo>
                  <a:cubicBezTo>
                    <a:pt x="1578" y="3465"/>
                    <a:pt x="1578" y="3465"/>
                    <a:pt x="1578" y="3465"/>
                  </a:cubicBezTo>
                  <a:cubicBezTo>
                    <a:pt x="1581" y="3465"/>
                    <a:pt x="1581" y="3465"/>
                    <a:pt x="1581" y="3465"/>
                  </a:cubicBezTo>
                  <a:cubicBezTo>
                    <a:pt x="1578" y="3465"/>
                    <a:pt x="1578" y="3465"/>
                    <a:pt x="1578" y="3465"/>
                  </a:cubicBezTo>
                  <a:cubicBezTo>
                    <a:pt x="1578" y="3465"/>
                    <a:pt x="1578" y="3465"/>
                    <a:pt x="1578" y="3465"/>
                  </a:cubicBezTo>
                  <a:cubicBezTo>
                    <a:pt x="1578" y="3465"/>
                    <a:pt x="1578" y="3465"/>
                    <a:pt x="1578" y="3465"/>
                  </a:cubicBezTo>
                  <a:cubicBezTo>
                    <a:pt x="1578" y="3465"/>
                    <a:pt x="1578" y="3465"/>
                    <a:pt x="1578" y="3465"/>
                  </a:cubicBezTo>
                  <a:cubicBezTo>
                    <a:pt x="1578" y="3465"/>
                    <a:pt x="1578" y="3465"/>
                    <a:pt x="1578" y="3465"/>
                  </a:cubicBezTo>
                  <a:cubicBezTo>
                    <a:pt x="1578" y="3465"/>
                    <a:pt x="1578" y="3465"/>
                    <a:pt x="1578" y="3465"/>
                  </a:cubicBezTo>
                  <a:cubicBezTo>
                    <a:pt x="1578" y="3465"/>
                    <a:pt x="1577" y="3465"/>
                    <a:pt x="1577" y="3465"/>
                  </a:cubicBezTo>
                  <a:cubicBezTo>
                    <a:pt x="1577" y="3466"/>
                    <a:pt x="1577" y="3466"/>
                    <a:pt x="1577" y="3466"/>
                  </a:cubicBezTo>
                  <a:cubicBezTo>
                    <a:pt x="1577" y="3465"/>
                    <a:pt x="1577" y="3465"/>
                    <a:pt x="1577" y="3465"/>
                  </a:cubicBezTo>
                  <a:cubicBezTo>
                    <a:pt x="1574" y="3481"/>
                    <a:pt x="1572" y="3496"/>
                    <a:pt x="1570" y="3511"/>
                  </a:cubicBezTo>
                  <a:cubicBezTo>
                    <a:pt x="1570" y="3511"/>
                    <a:pt x="1570" y="3511"/>
                    <a:pt x="1570" y="3511"/>
                  </a:cubicBezTo>
                  <a:cubicBezTo>
                    <a:pt x="1569" y="3513"/>
                    <a:pt x="1569" y="3515"/>
                    <a:pt x="1569" y="3517"/>
                  </a:cubicBezTo>
                  <a:cubicBezTo>
                    <a:pt x="1569" y="3520"/>
                    <a:pt x="1569" y="3522"/>
                    <a:pt x="1570" y="3525"/>
                  </a:cubicBezTo>
                  <a:cubicBezTo>
                    <a:pt x="1571" y="3527"/>
                    <a:pt x="1572" y="3529"/>
                    <a:pt x="1574" y="3531"/>
                  </a:cubicBezTo>
                  <a:cubicBezTo>
                    <a:pt x="1576" y="3533"/>
                    <a:pt x="1579" y="3535"/>
                    <a:pt x="1581" y="3536"/>
                  </a:cubicBezTo>
                  <a:cubicBezTo>
                    <a:pt x="1584" y="3537"/>
                    <a:pt x="1586" y="3538"/>
                    <a:pt x="1588" y="3538"/>
                  </a:cubicBezTo>
                  <a:cubicBezTo>
                    <a:pt x="1588" y="3538"/>
                    <a:pt x="1588" y="3538"/>
                    <a:pt x="1588" y="3538"/>
                  </a:cubicBezTo>
                  <a:cubicBezTo>
                    <a:pt x="1615" y="3544"/>
                    <a:pt x="1641" y="3550"/>
                    <a:pt x="1668" y="3556"/>
                  </a:cubicBezTo>
                  <a:cubicBezTo>
                    <a:pt x="1671" y="3557"/>
                    <a:pt x="1674" y="3557"/>
                    <a:pt x="1677" y="3557"/>
                  </a:cubicBezTo>
                  <a:cubicBezTo>
                    <a:pt x="1680" y="3557"/>
                    <a:pt x="1683" y="3557"/>
                    <a:pt x="1685" y="3555"/>
                  </a:cubicBezTo>
                  <a:cubicBezTo>
                    <a:pt x="1688" y="3554"/>
                    <a:pt x="1690" y="3553"/>
                    <a:pt x="1691" y="3551"/>
                  </a:cubicBezTo>
                  <a:cubicBezTo>
                    <a:pt x="1693" y="3549"/>
                    <a:pt x="1694" y="3546"/>
                    <a:pt x="1695" y="3544"/>
                  </a:cubicBezTo>
                  <a:cubicBezTo>
                    <a:pt x="1696" y="3542"/>
                    <a:pt x="1696" y="3539"/>
                    <a:pt x="1697" y="3537"/>
                  </a:cubicBezTo>
                  <a:cubicBezTo>
                    <a:pt x="1697" y="3537"/>
                    <a:pt x="1697" y="3537"/>
                    <a:pt x="1697" y="3537"/>
                  </a:cubicBezTo>
                  <a:cubicBezTo>
                    <a:pt x="1697" y="3537"/>
                    <a:pt x="1697" y="3537"/>
                    <a:pt x="1697" y="3537"/>
                  </a:cubicBezTo>
                  <a:cubicBezTo>
                    <a:pt x="1699" y="3523"/>
                    <a:pt x="1703" y="3509"/>
                    <a:pt x="1705" y="3495"/>
                  </a:cubicBezTo>
                  <a:cubicBezTo>
                    <a:pt x="1705" y="3494"/>
                    <a:pt x="1705" y="3494"/>
                    <a:pt x="1705" y="3494"/>
                  </a:cubicBezTo>
                  <a:cubicBezTo>
                    <a:pt x="1705" y="3494"/>
                    <a:pt x="1705" y="3494"/>
                    <a:pt x="1705" y="3494"/>
                  </a:cubicBezTo>
                  <a:cubicBezTo>
                    <a:pt x="1701" y="3493"/>
                    <a:pt x="1701" y="3493"/>
                    <a:pt x="1701" y="3493"/>
                  </a:cubicBezTo>
                  <a:cubicBezTo>
                    <a:pt x="1705" y="3495"/>
                    <a:pt x="1705" y="3495"/>
                    <a:pt x="1705" y="3495"/>
                  </a:cubicBezTo>
                  <a:cubicBezTo>
                    <a:pt x="1705" y="3495"/>
                    <a:pt x="1705" y="3494"/>
                    <a:pt x="1705" y="3494"/>
                  </a:cubicBezTo>
                  <a:cubicBezTo>
                    <a:pt x="1701" y="3493"/>
                    <a:pt x="1701" y="3493"/>
                    <a:pt x="1701" y="3493"/>
                  </a:cubicBezTo>
                  <a:cubicBezTo>
                    <a:pt x="1705" y="3495"/>
                    <a:pt x="1705" y="3495"/>
                    <a:pt x="1705" y="3495"/>
                  </a:cubicBezTo>
                  <a:cubicBezTo>
                    <a:pt x="1698" y="3491"/>
                    <a:pt x="1698" y="3491"/>
                    <a:pt x="1698" y="3491"/>
                  </a:cubicBezTo>
                  <a:cubicBezTo>
                    <a:pt x="1703" y="3497"/>
                    <a:pt x="1703" y="3497"/>
                    <a:pt x="1703" y="3497"/>
                  </a:cubicBezTo>
                  <a:cubicBezTo>
                    <a:pt x="1704" y="3496"/>
                    <a:pt x="1704" y="3496"/>
                    <a:pt x="1705" y="3495"/>
                  </a:cubicBezTo>
                  <a:cubicBezTo>
                    <a:pt x="1698" y="3491"/>
                    <a:pt x="1698" y="3491"/>
                    <a:pt x="1698" y="3491"/>
                  </a:cubicBezTo>
                  <a:cubicBezTo>
                    <a:pt x="1703" y="3497"/>
                    <a:pt x="1703" y="3497"/>
                    <a:pt x="1703" y="3497"/>
                  </a:cubicBezTo>
                  <a:cubicBezTo>
                    <a:pt x="1697" y="3491"/>
                    <a:pt x="1697" y="3491"/>
                    <a:pt x="1697" y="3491"/>
                  </a:cubicBezTo>
                  <a:cubicBezTo>
                    <a:pt x="1700" y="3499"/>
                    <a:pt x="1700" y="3499"/>
                    <a:pt x="1700" y="3499"/>
                  </a:cubicBezTo>
                  <a:cubicBezTo>
                    <a:pt x="1701" y="3499"/>
                    <a:pt x="1702" y="3498"/>
                    <a:pt x="1703" y="3497"/>
                  </a:cubicBezTo>
                  <a:cubicBezTo>
                    <a:pt x="1697" y="3491"/>
                    <a:pt x="1697" y="3491"/>
                    <a:pt x="1697" y="3491"/>
                  </a:cubicBezTo>
                  <a:cubicBezTo>
                    <a:pt x="1700" y="3499"/>
                    <a:pt x="1700" y="3499"/>
                    <a:pt x="1700" y="3499"/>
                  </a:cubicBezTo>
                  <a:cubicBezTo>
                    <a:pt x="1698" y="3493"/>
                    <a:pt x="1698" y="3493"/>
                    <a:pt x="1698" y="3493"/>
                  </a:cubicBezTo>
                  <a:cubicBezTo>
                    <a:pt x="1698" y="3500"/>
                    <a:pt x="1698" y="3500"/>
                    <a:pt x="1698" y="3500"/>
                  </a:cubicBezTo>
                  <a:cubicBezTo>
                    <a:pt x="1698" y="3500"/>
                    <a:pt x="1699" y="3499"/>
                    <a:pt x="1700" y="3499"/>
                  </a:cubicBezTo>
                  <a:cubicBezTo>
                    <a:pt x="1698" y="3493"/>
                    <a:pt x="1698" y="3493"/>
                    <a:pt x="1698" y="3493"/>
                  </a:cubicBezTo>
                  <a:cubicBezTo>
                    <a:pt x="1698" y="3500"/>
                    <a:pt x="1698" y="3500"/>
                    <a:pt x="1698" y="3500"/>
                  </a:cubicBezTo>
                  <a:cubicBezTo>
                    <a:pt x="1698" y="3498"/>
                    <a:pt x="1698" y="3498"/>
                    <a:pt x="1698" y="3498"/>
                  </a:cubicBezTo>
                  <a:cubicBezTo>
                    <a:pt x="1698" y="3500"/>
                    <a:pt x="1698" y="3500"/>
                    <a:pt x="1698" y="3500"/>
                  </a:cubicBezTo>
                  <a:cubicBezTo>
                    <a:pt x="1698" y="3500"/>
                    <a:pt x="1698" y="3500"/>
                    <a:pt x="1698" y="3500"/>
                  </a:cubicBezTo>
                  <a:cubicBezTo>
                    <a:pt x="1698" y="3498"/>
                    <a:pt x="1698" y="3498"/>
                    <a:pt x="1698" y="3498"/>
                  </a:cubicBezTo>
                  <a:cubicBezTo>
                    <a:pt x="1698" y="3500"/>
                    <a:pt x="1698" y="3500"/>
                    <a:pt x="1698" y="3500"/>
                  </a:cubicBezTo>
                  <a:cubicBezTo>
                    <a:pt x="1698" y="3500"/>
                    <a:pt x="1698" y="3500"/>
                    <a:pt x="1698" y="3500"/>
                  </a:cubicBezTo>
                  <a:cubicBezTo>
                    <a:pt x="1698" y="3500"/>
                    <a:pt x="1698" y="3500"/>
                    <a:pt x="1698" y="3500"/>
                  </a:cubicBezTo>
                  <a:cubicBezTo>
                    <a:pt x="1698" y="3500"/>
                    <a:pt x="1698" y="3500"/>
                    <a:pt x="1698" y="3500"/>
                  </a:cubicBezTo>
                  <a:cubicBezTo>
                    <a:pt x="1700" y="3500"/>
                    <a:pt x="1702" y="3500"/>
                    <a:pt x="1702" y="3500"/>
                  </a:cubicBezTo>
                  <a:cubicBezTo>
                    <a:pt x="1703" y="3500"/>
                    <a:pt x="1703" y="3500"/>
                    <a:pt x="1703" y="3500"/>
                  </a:cubicBezTo>
                  <a:cubicBezTo>
                    <a:pt x="1703" y="3498"/>
                    <a:pt x="1703" y="3498"/>
                    <a:pt x="1703" y="3498"/>
                  </a:cubicBezTo>
                  <a:cubicBezTo>
                    <a:pt x="1703" y="3500"/>
                    <a:pt x="1703" y="3500"/>
                    <a:pt x="1703" y="3500"/>
                  </a:cubicBezTo>
                  <a:cubicBezTo>
                    <a:pt x="1703" y="3500"/>
                    <a:pt x="1703" y="3500"/>
                    <a:pt x="1703" y="3500"/>
                  </a:cubicBezTo>
                  <a:cubicBezTo>
                    <a:pt x="1703" y="3498"/>
                    <a:pt x="1703" y="3498"/>
                    <a:pt x="1703" y="3498"/>
                  </a:cubicBezTo>
                  <a:cubicBezTo>
                    <a:pt x="1703" y="3500"/>
                    <a:pt x="1703" y="3500"/>
                    <a:pt x="1703" y="3500"/>
                  </a:cubicBezTo>
                  <a:cubicBezTo>
                    <a:pt x="1703" y="3496"/>
                    <a:pt x="1703" y="3496"/>
                    <a:pt x="1703" y="3496"/>
                  </a:cubicBezTo>
                  <a:cubicBezTo>
                    <a:pt x="1702" y="3500"/>
                    <a:pt x="1702" y="3500"/>
                    <a:pt x="1702" y="3500"/>
                  </a:cubicBezTo>
                  <a:cubicBezTo>
                    <a:pt x="1703" y="3500"/>
                    <a:pt x="1703" y="3500"/>
                    <a:pt x="1703" y="3500"/>
                  </a:cubicBezTo>
                  <a:cubicBezTo>
                    <a:pt x="1703" y="3496"/>
                    <a:pt x="1703" y="3496"/>
                    <a:pt x="1703" y="3496"/>
                  </a:cubicBezTo>
                  <a:cubicBezTo>
                    <a:pt x="1702" y="3500"/>
                    <a:pt x="1702" y="3500"/>
                    <a:pt x="1702" y="3500"/>
                  </a:cubicBezTo>
                  <a:cubicBezTo>
                    <a:pt x="1702" y="3500"/>
                    <a:pt x="1702" y="3500"/>
                    <a:pt x="1702" y="3500"/>
                  </a:cubicBezTo>
                  <a:cubicBezTo>
                    <a:pt x="1702" y="3500"/>
                    <a:pt x="1702" y="3500"/>
                    <a:pt x="1702" y="3500"/>
                  </a:cubicBezTo>
                  <a:cubicBezTo>
                    <a:pt x="1722" y="3504"/>
                    <a:pt x="1742" y="3508"/>
                    <a:pt x="1762" y="3513"/>
                  </a:cubicBezTo>
                  <a:cubicBezTo>
                    <a:pt x="1804" y="3523"/>
                    <a:pt x="1846" y="3533"/>
                    <a:pt x="1888" y="3543"/>
                  </a:cubicBezTo>
                  <a:cubicBezTo>
                    <a:pt x="1892" y="3543"/>
                    <a:pt x="1895" y="3544"/>
                    <a:pt x="1897" y="3545"/>
                  </a:cubicBezTo>
                  <a:cubicBezTo>
                    <a:pt x="1900" y="3545"/>
                    <a:pt x="1903" y="3545"/>
                    <a:pt x="1906" y="3545"/>
                  </a:cubicBezTo>
                  <a:cubicBezTo>
                    <a:pt x="1907" y="3545"/>
                    <a:pt x="1909" y="3545"/>
                    <a:pt x="1911" y="3545"/>
                  </a:cubicBezTo>
                  <a:cubicBezTo>
                    <a:pt x="1912" y="3545"/>
                    <a:pt x="1914" y="3544"/>
                    <a:pt x="1915" y="3543"/>
                  </a:cubicBezTo>
                  <a:cubicBezTo>
                    <a:pt x="1918" y="3542"/>
                    <a:pt x="1920" y="3539"/>
                    <a:pt x="1922" y="3537"/>
                  </a:cubicBezTo>
                  <a:cubicBezTo>
                    <a:pt x="1924" y="3534"/>
                    <a:pt x="1925" y="3531"/>
                    <a:pt x="1926" y="3527"/>
                  </a:cubicBezTo>
                  <a:cubicBezTo>
                    <a:pt x="1927" y="3524"/>
                    <a:pt x="1928" y="3520"/>
                    <a:pt x="1929" y="3516"/>
                  </a:cubicBezTo>
                  <a:cubicBezTo>
                    <a:pt x="1931" y="3505"/>
                    <a:pt x="1934" y="3494"/>
                    <a:pt x="1936" y="3483"/>
                  </a:cubicBezTo>
                  <a:cubicBezTo>
                    <a:pt x="1936" y="3482"/>
                    <a:pt x="1936" y="3482"/>
                    <a:pt x="1936" y="3482"/>
                  </a:cubicBezTo>
                  <a:cubicBezTo>
                    <a:pt x="1936" y="3482"/>
                    <a:pt x="1936" y="3482"/>
                    <a:pt x="1936" y="3482"/>
                  </a:cubicBezTo>
                  <a:cubicBezTo>
                    <a:pt x="1932" y="3481"/>
                    <a:pt x="1932" y="3481"/>
                    <a:pt x="1932" y="3481"/>
                  </a:cubicBezTo>
                  <a:cubicBezTo>
                    <a:pt x="1936" y="3483"/>
                    <a:pt x="1936" y="3483"/>
                    <a:pt x="1936" y="3483"/>
                  </a:cubicBezTo>
                  <a:cubicBezTo>
                    <a:pt x="1936" y="3483"/>
                    <a:pt x="1936" y="3482"/>
                    <a:pt x="1936" y="3482"/>
                  </a:cubicBezTo>
                  <a:cubicBezTo>
                    <a:pt x="1932" y="3481"/>
                    <a:pt x="1932" y="3481"/>
                    <a:pt x="1932" y="3481"/>
                  </a:cubicBezTo>
                  <a:cubicBezTo>
                    <a:pt x="1936" y="3483"/>
                    <a:pt x="1936" y="3483"/>
                    <a:pt x="1936" y="3483"/>
                  </a:cubicBezTo>
                  <a:cubicBezTo>
                    <a:pt x="1929" y="3479"/>
                    <a:pt x="1929" y="3479"/>
                    <a:pt x="1929" y="3479"/>
                  </a:cubicBezTo>
                  <a:cubicBezTo>
                    <a:pt x="1933" y="3486"/>
                    <a:pt x="1933" y="3486"/>
                    <a:pt x="1933" y="3486"/>
                  </a:cubicBezTo>
                  <a:cubicBezTo>
                    <a:pt x="1935" y="3485"/>
                    <a:pt x="1936" y="3484"/>
                    <a:pt x="1936" y="3483"/>
                  </a:cubicBezTo>
                  <a:cubicBezTo>
                    <a:pt x="1929" y="3479"/>
                    <a:pt x="1929" y="3479"/>
                    <a:pt x="1929" y="3479"/>
                  </a:cubicBezTo>
                  <a:cubicBezTo>
                    <a:pt x="1933" y="3486"/>
                    <a:pt x="1933" y="3486"/>
                    <a:pt x="1933" y="3486"/>
                  </a:cubicBezTo>
                  <a:cubicBezTo>
                    <a:pt x="1929" y="3479"/>
                    <a:pt x="1929" y="3479"/>
                    <a:pt x="1929" y="3479"/>
                  </a:cubicBezTo>
                  <a:cubicBezTo>
                    <a:pt x="1929" y="3487"/>
                    <a:pt x="1929" y="3487"/>
                    <a:pt x="1929" y="3487"/>
                  </a:cubicBezTo>
                  <a:cubicBezTo>
                    <a:pt x="1930" y="3487"/>
                    <a:pt x="1932" y="3487"/>
                    <a:pt x="1933" y="3486"/>
                  </a:cubicBezTo>
                  <a:cubicBezTo>
                    <a:pt x="1929" y="3479"/>
                    <a:pt x="1929" y="3479"/>
                    <a:pt x="1929" y="3479"/>
                  </a:cubicBezTo>
                  <a:cubicBezTo>
                    <a:pt x="1929" y="3487"/>
                    <a:pt x="1929" y="3487"/>
                    <a:pt x="1929" y="3487"/>
                  </a:cubicBezTo>
                  <a:cubicBezTo>
                    <a:pt x="1929" y="3482"/>
                    <a:pt x="1929" y="3482"/>
                    <a:pt x="1929" y="3482"/>
                  </a:cubicBezTo>
                  <a:cubicBezTo>
                    <a:pt x="1928" y="3487"/>
                    <a:pt x="1928" y="3487"/>
                    <a:pt x="1928" y="3487"/>
                  </a:cubicBezTo>
                  <a:cubicBezTo>
                    <a:pt x="1928" y="3487"/>
                    <a:pt x="1929" y="3487"/>
                    <a:pt x="1929" y="3487"/>
                  </a:cubicBezTo>
                  <a:cubicBezTo>
                    <a:pt x="1929" y="3482"/>
                    <a:pt x="1929" y="3482"/>
                    <a:pt x="1929" y="3482"/>
                  </a:cubicBezTo>
                  <a:cubicBezTo>
                    <a:pt x="1928" y="3487"/>
                    <a:pt x="1928" y="3487"/>
                    <a:pt x="1928" y="3487"/>
                  </a:cubicBezTo>
                  <a:cubicBezTo>
                    <a:pt x="1928" y="3485"/>
                    <a:pt x="1928" y="3485"/>
                    <a:pt x="1928" y="3485"/>
                  </a:cubicBezTo>
                  <a:cubicBezTo>
                    <a:pt x="1928" y="3487"/>
                    <a:pt x="1928" y="3487"/>
                    <a:pt x="1928" y="3487"/>
                  </a:cubicBezTo>
                  <a:cubicBezTo>
                    <a:pt x="1928" y="3487"/>
                    <a:pt x="1928" y="3487"/>
                    <a:pt x="1928" y="3487"/>
                  </a:cubicBezTo>
                  <a:cubicBezTo>
                    <a:pt x="1928" y="3485"/>
                    <a:pt x="1928" y="3485"/>
                    <a:pt x="1928" y="3485"/>
                  </a:cubicBezTo>
                  <a:cubicBezTo>
                    <a:pt x="1928" y="3487"/>
                    <a:pt x="1928" y="3487"/>
                    <a:pt x="1928" y="3487"/>
                  </a:cubicBezTo>
                  <a:cubicBezTo>
                    <a:pt x="1928" y="3487"/>
                    <a:pt x="1928" y="3487"/>
                    <a:pt x="1928" y="3487"/>
                  </a:cubicBezTo>
                  <a:cubicBezTo>
                    <a:pt x="1928" y="3487"/>
                    <a:pt x="1928" y="3487"/>
                    <a:pt x="1928" y="3487"/>
                  </a:cubicBezTo>
                  <a:cubicBezTo>
                    <a:pt x="1928" y="3487"/>
                    <a:pt x="1928" y="3487"/>
                    <a:pt x="1928" y="3487"/>
                  </a:cubicBezTo>
                  <a:cubicBezTo>
                    <a:pt x="1932" y="3488"/>
                    <a:pt x="1937" y="3489"/>
                    <a:pt x="1941" y="3490"/>
                  </a:cubicBezTo>
                  <a:cubicBezTo>
                    <a:pt x="1941" y="3490"/>
                    <a:pt x="1941" y="3490"/>
                    <a:pt x="1941" y="3490"/>
                  </a:cubicBezTo>
                  <a:cubicBezTo>
                    <a:pt x="1941" y="3490"/>
                    <a:pt x="1941" y="3490"/>
                    <a:pt x="1941" y="3490"/>
                  </a:cubicBezTo>
                  <a:cubicBezTo>
                    <a:pt x="1943" y="3491"/>
                    <a:pt x="1946" y="3491"/>
                    <a:pt x="1949" y="3491"/>
                  </a:cubicBezTo>
                  <a:cubicBezTo>
                    <a:pt x="1951" y="3491"/>
                    <a:pt x="1954" y="3491"/>
                    <a:pt x="1956" y="3490"/>
                  </a:cubicBezTo>
                  <a:cubicBezTo>
                    <a:pt x="1958" y="3489"/>
                    <a:pt x="1960" y="3488"/>
                    <a:pt x="1962" y="3487"/>
                  </a:cubicBezTo>
                  <a:cubicBezTo>
                    <a:pt x="1964" y="3484"/>
                    <a:pt x="1966" y="3482"/>
                    <a:pt x="1967" y="3479"/>
                  </a:cubicBezTo>
                  <a:cubicBezTo>
                    <a:pt x="1968" y="3477"/>
                    <a:pt x="1969" y="3475"/>
                    <a:pt x="1970" y="3472"/>
                  </a:cubicBezTo>
                  <a:cubicBezTo>
                    <a:pt x="1970" y="3472"/>
                    <a:pt x="1970" y="3472"/>
                    <a:pt x="1970" y="3472"/>
                  </a:cubicBezTo>
                  <a:cubicBezTo>
                    <a:pt x="1973" y="3457"/>
                    <a:pt x="1977" y="3442"/>
                    <a:pt x="1980" y="3427"/>
                  </a:cubicBezTo>
                  <a:cubicBezTo>
                    <a:pt x="1980" y="3427"/>
                    <a:pt x="1980" y="3427"/>
                    <a:pt x="1980" y="3427"/>
                  </a:cubicBezTo>
                  <a:cubicBezTo>
                    <a:pt x="1980" y="3426"/>
                    <a:pt x="1980" y="3426"/>
                    <a:pt x="1980" y="3426"/>
                  </a:cubicBezTo>
                  <a:cubicBezTo>
                    <a:pt x="1980" y="3426"/>
                    <a:pt x="1980" y="3426"/>
                    <a:pt x="1980" y="3426"/>
                  </a:cubicBezTo>
                  <a:cubicBezTo>
                    <a:pt x="1976" y="3425"/>
                    <a:pt x="1976" y="3425"/>
                    <a:pt x="1976" y="3425"/>
                  </a:cubicBezTo>
                  <a:cubicBezTo>
                    <a:pt x="1980" y="3427"/>
                    <a:pt x="1980" y="3427"/>
                    <a:pt x="1980" y="3427"/>
                  </a:cubicBezTo>
                  <a:cubicBezTo>
                    <a:pt x="1980" y="3426"/>
                    <a:pt x="1980" y="3426"/>
                    <a:pt x="1980" y="3426"/>
                  </a:cubicBezTo>
                  <a:cubicBezTo>
                    <a:pt x="1976" y="3425"/>
                    <a:pt x="1976" y="3425"/>
                    <a:pt x="1976" y="3425"/>
                  </a:cubicBezTo>
                  <a:cubicBezTo>
                    <a:pt x="1980" y="3427"/>
                    <a:pt x="1980" y="3427"/>
                    <a:pt x="1980" y="3427"/>
                  </a:cubicBezTo>
                  <a:cubicBezTo>
                    <a:pt x="1973" y="3423"/>
                    <a:pt x="1973" y="3423"/>
                    <a:pt x="1973" y="3423"/>
                  </a:cubicBezTo>
                  <a:cubicBezTo>
                    <a:pt x="1979" y="3429"/>
                    <a:pt x="1979" y="3429"/>
                    <a:pt x="1979" y="3429"/>
                  </a:cubicBezTo>
                  <a:cubicBezTo>
                    <a:pt x="1979" y="3428"/>
                    <a:pt x="1980" y="3427"/>
                    <a:pt x="1980" y="3427"/>
                  </a:cubicBezTo>
                  <a:cubicBezTo>
                    <a:pt x="1973" y="3423"/>
                    <a:pt x="1973" y="3423"/>
                    <a:pt x="1973" y="3423"/>
                  </a:cubicBezTo>
                  <a:cubicBezTo>
                    <a:pt x="1979" y="3429"/>
                    <a:pt x="1979" y="3429"/>
                    <a:pt x="1979" y="3429"/>
                  </a:cubicBezTo>
                  <a:cubicBezTo>
                    <a:pt x="1972" y="3422"/>
                    <a:pt x="1972" y="3422"/>
                    <a:pt x="1972" y="3422"/>
                  </a:cubicBezTo>
                  <a:cubicBezTo>
                    <a:pt x="1975" y="3431"/>
                    <a:pt x="1975" y="3431"/>
                    <a:pt x="1975" y="3431"/>
                  </a:cubicBezTo>
                  <a:cubicBezTo>
                    <a:pt x="1976" y="3431"/>
                    <a:pt x="1978" y="3430"/>
                    <a:pt x="1979" y="3429"/>
                  </a:cubicBezTo>
                  <a:cubicBezTo>
                    <a:pt x="1972" y="3422"/>
                    <a:pt x="1972" y="3422"/>
                    <a:pt x="1972" y="3422"/>
                  </a:cubicBezTo>
                  <a:cubicBezTo>
                    <a:pt x="1975" y="3431"/>
                    <a:pt x="1975" y="3431"/>
                    <a:pt x="1975" y="3431"/>
                  </a:cubicBezTo>
                  <a:cubicBezTo>
                    <a:pt x="1972" y="3423"/>
                    <a:pt x="1972" y="3423"/>
                    <a:pt x="1972" y="3423"/>
                  </a:cubicBezTo>
                  <a:cubicBezTo>
                    <a:pt x="1972" y="3432"/>
                    <a:pt x="1972" y="3432"/>
                    <a:pt x="1972" y="3432"/>
                  </a:cubicBezTo>
                  <a:cubicBezTo>
                    <a:pt x="1973" y="3432"/>
                    <a:pt x="1974" y="3432"/>
                    <a:pt x="1975" y="3431"/>
                  </a:cubicBezTo>
                  <a:cubicBezTo>
                    <a:pt x="1972" y="3423"/>
                    <a:pt x="1972" y="3423"/>
                    <a:pt x="1972" y="3423"/>
                  </a:cubicBezTo>
                  <a:cubicBezTo>
                    <a:pt x="1972" y="3432"/>
                    <a:pt x="1972" y="3432"/>
                    <a:pt x="1972" y="3432"/>
                  </a:cubicBezTo>
                  <a:cubicBezTo>
                    <a:pt x="1972" y="3427"/>
                    <a:pt x="1972" y="3427"/>
                    <a:pt x="1972" y="3427"/>
                  </a:cubicBezTo>
                  <a:cubicBezTo>
                    <a:pt x="1972" y="3432"/>
                    <a:pt x="1972" y="3432"/>
                    <a:pt x="1972" y="3432"/>
                  </a:cubicBezTo>
                  <a:cubicBezTo>
                    <a:pt x="1972" y="3432"/>
                    <a:pt x="1972" y="3432"/>
                    <a:pt x="1972" y="3432"/>
                  </a:cubicBezTo>
                  <a:cubicBezTo>
                    <a:pt x="1972" y="3427"/>
                    <a:pt x="1972" y="3427"/>
                    <a:pt x="1972" y="3427"/>
                  </a:cubicBezTo>
                  <a:cubicBezTo>
                    <a:pt x="1972" y="3432"/>
                    <a:pt x="1972" y="3432"/>
                    <a:pt x="1972" y="3432"/>
                  </a:cubicBezTo>
                  <a:cubicBezTo>
                    <a:pt x="1972" y="3430"/>
                    <a:pt x="1972" y="3430"/>
                    <a:pt x="1972" y="3430"/>
                  </a:cubicBezTo>
                  <a:cubicBezTo>
                    <a:pt x="1972" y="3432"/>
                    <a:pt x="1972" y="3432"/>
                    <a:pt x="1972" y="3432"/>
                  </a:cubicBezTo>
                  <a:cubicBezTo>
                    <a:pt x="1972" y="3432"/>
                    <a:pt x="1972" y="3432"/>
                    <a:pt x="1972" y="3432"/>
                  </a:cubicBezTo>
                  <a:cubicBezTo>
                    <a:pt x="1972" y="3430"/>
                    <a:pt x="1972" y="3430"/>
                    <a:pt x="1972" y="3430"/>
                  </a:cubicBezTo>
                  <a:cubicBezTo>
                    <a:pt x="1972" y="3432"/>
                    <a:pt x="1972" y="3432"/>
                    <a:pt x="1972" y="3432"/>
                  </a:cubicBezTo>
                  <a:cubicBezTo>
                    <a:pt x="1972" y="3432"/>
                    <a:pt x="1972" y="3432"/>
                    <a:pt x="1972" y="3432"/>
                  </a:cubicBezTo>
                  <a:cubicBezTo>
                    <a:pt x="1972" y="3432"/>
                    <a:pt x="1972" y="3432"/>
                    <a:pt x="1972" y="3432"/>
                  </a:cubicBezTo>
                  <a:cubicBezTo>
                    <a:pt x="1997" y="3438"/>
                    <a:pt x="2021" y="3443"/>
                    <a:pt x="2045" y="3448"/>
                  </a:cubicBezTo>
                  <a:cubicBezTo>
                    <a:pt x="2045" y="3448"/>
                    <a:pt x="2045" y="3448"/>
                    <a:pt x="2045" y="3448"/>
                  </a:cubicBezTo>
                  <a:cubicBezTo>
                    <a:pt x="2048" y="3449"/>
                    <a:pt x="2051" y="3450"/>
                    <a:pt x="2055" y="3450"/>
                  </a:cubicBezTo>
                  <a:cubicBezTo>
                    <a:pt x="2057" y="3450"/>
                    <a:pt x="2060" y="3450"/>
                    <a:pt x="2063" y="3448"/>
                  </a:cubicBezTo>
                  <a:cubicBezTo>
                    <a:pt x="2065" y="3447"/>
                    <a:pt x="2067" y="3446"/>
                    <a:pt x="2069" y="3444"/>
                  </a:cubicBezTo>
                  <a:cubicBezTo>
                    <a:pt x="2071" y="3442"/>
                    <a:pt x="2072" y="3439"/>
                    <a:pt x="2073" y="3437"/>
                  </a:cubicBezTo>
                  <a:cubicBezTo>
                    <a:pt x="2074" y="3435"/>
                    <a:pt x="2075" y="3432"/>
                    <a:pt x="2075" y="3430"/>
                  </a:cubicBezTo>
                  <a:cubicBezTo>
                    <a:pt x="2079" y="3416"/>
                    <a:pt x="2083" y="3401"/>
                    <a:pt x="2087" y="3387"/>
                  </a:cubicBezTo>
                  <a:cubicBezTo>
                    <a:pt x="2087" y="3387"/>
                    <a:pt x="2087" y="3387"/>
                    <a:pt x="2087" y="3387"/>
                  </a:cubicBezTo>
                  <a:cubicBezTo>
                    <a:pt x="2087" y="3387"/>
                    <a:pt x="2087" y="3387"/>
                    <a:pt x="2087" y="3387"/>
                  </a:cubicBezTo>
                  <a:cubicBezTo>
                    <a:pt x="2087" y="3387"/>
                    <a:pt x="2087" y="3387"/>
                    <a:pt x="2087" y="3387"/>
                  </a:cubicBezTo>
                  <a:cubicBezTo>
                    <a:pt x="2085" y="3386"/>
                    <a:pt x="2085" y="3386"/>
                    <a:pt x="2085" y="3386"/>
                  </a:cubicBezTo>
                  <a:cubicBezTo>
                    <a:pt x="2087" y="3387"/>
                    <a:pt x="2087" y="3387"/>
                    <a:pt x="2087" y="3387"/>
                  </a:cubicBezTo>
                  <a:cubicBezTo>
                    <a:pt x="2087" y="3387"/>
                    <a:pt x="2087" y="3387"/>
                    <a:pt x="2087" y="3387"/>
                  </a:cubicBezTo>
                  <a:cubicBezTo>
                    <a:pt x="2085" y="3386"/>
                    <a:pt x="2085" y="3386"/>
                    <a:pt x="2085" y="3386"/>
                  </a:cubicBezTo>
                  <a:cubicBezTo>
                    <a:pt x="2087" y="3387"/>
                    <a:pt x="2087" y="3387"/>
                    <a:pt x="2087" y="3387"/>
                  </a:cubicBezTo>
                  <a:cubicBezTo>
                    <a:pt x="2082" y="3384"/>
                    <a:pt x="2082" y="3384"/>
                    <a:pt x="2082" y="3384"/>
                  </a:cubicBezTo>
                  <a:cubicBezTo>
                    <a:pt x="2086" y="3388"/>
                    <a:pt x="2086" y="3388"/>
                    <a:pt x="2086" y="3388"/>
                  </a:cubicBezTo>
                  <a:cubicBezTo>
                    <a:pt x="2087" y="3387"/>
                    <a:pt x="2087" y="3387"/>
                    <a:pt x="2087" y="3387"/>
                  </a:cubicBezTo>
                  <a:cubicBezTo>
                    <a:pt x="2082" y="3384"/>
                    <a:pt x="2082" y="3384"/>
                    <a:pt x="2082" y="3384"/>
                  </a:cubicBezTo>
                  <a:cubicBezTo>
                    <a:pt x="2086" y="3388"/>
                    <a:pt x="2086" y="3388"/>
                    <a:pt x="2086" y="3388"/>
                  </a:cubicBezTo>
                  <a:cubicBezTo>
                    <a:pt x="2080" y="3383"/>
                    <a:pt x="2080" y="3383"/>
                    <a:pt x="2080" y="3383"/>
                  </a:cubicBezTo>
                  <a:cubicBezTo>
                    <a:pt x="2083" y="3390"/>
                    <a:pt x="2083" y="3390"/>
                    <a:pt x="2083" y="3390"/>
                  </a:cubicBezTo>
                  <a:cubicBezTo>
                    <a:pt x="2084" y="3390"/>
                    <a:pt x="2086" y="3389"/>
                    <a:pt x="2086" y="3388"/>
                  </a:cubicBezTo>
                  <a:cubicBezTo>
                    <a:pt x="2080" y="3383"/>
                    <a:pt x="2080" y="3383"/>
                    <a:pt x="2080" y="3383"/>
                  </a:cubicBezTo>
                  <a:cubicBezTo>
                    <a:pt x="2083" y="3390"/>
                    <a:pt x="2083" y="3390"/>
                    <a:pt x="2083" y="3390"/>
                  </a:cubicBezTo>
                  <a:cubicBezTo>
                    <a:pt x="2081" y="3384"/>
                    <a:pt x="2081" y="3384"/>
                    <a:pt x="2081" y="3384"/>
                  </a:cubicBezTo>
                  <a:cubicBezTo>
                    <a:pt x="2081" y="3391"/>
                    <a:pt x="2081" y="3391"/>
                    <a:pt x="2081" y="3391"/>
                  </a:cubicBezTo>
                  <a:cubicBezTo>
                    <a:pt x="2081" y="3391"/>
                    <a:pt x="2082" y="3391"/>
                    <a:pt x="2083" y="3390"/>
                  </a:cubicBezTo>
                  <a:cubicBezTo>
                    <a:pt x="2081" y="3384"/>
                    <a:pt x="2081" y="3384"/>
                    <a:pt x="2081" y="3384"/>
                  </a:cubicBezTo>
                  <a:cubicBezTo>
                    <a:pt x="2081" y="3391"/>
                    <a:pt x="2081" y="3391"/>
                    <a:pt x="2081" y="3391"/>
                  </a:cubicBezTo>
                  <a:cubicBezTo>
                    <a:pt x="2081" y="3388"/>
                    <a:pt x="2081" y="3388"/>
                    <a:pt x="2081" y="3388"/>
                  </a:cubicBezTo>
                  <a:cubicBezTo>
                    <a:pt x="2080" y="3391"/>
                    <a:pt x="2080" y="3391"/>
                    <a:pt x="2080" y="3391"/>
                  </a:cubicBezTo>
                  <a:cubicBezTo>
                    <a:pt x="2081" y="3391"/>
                    <a:pt x="2081" y="3391"/>
                    <a:pt x="2081" y="3391"/>
                  </a:cubicBezTo>
                  <a:cubicBezTo>
                    <a:pt x="2081" y="3388"/>
                    <a:pt x="2081" y="3388"/>
                    <a:pt x="2081" y="3388"/>
                  </a:cubicBezTo>
                  <a:cubicBezTo>
                    <a:pt x="2080" y="3391"/>
                    <a:pt x="2080" y="3391"/>
                    <a:pt x="2080" y="3391"/>
                  </a:cubicBezTo>
                  <a:cubicBezTo>
                    <a:pt x="2080" y="3390"/>
                    <a:pt x="2080" y="3390"/>
                    <a:pt x="2080" y="3390"/>
                  </a:cubicBezTo>
                  <a:cubicBezTo>
                    <a:pt x="2080" y="3391"/>
                    <a:pt x="2080" y="3391"/>
                    <a:pt x="2080" y="3391"/>
                  </a:cubicBezTo>
                  <a:cubicBezTo>
                    <a:pt x="2080" y="3391"/>
                    <a:pt x="2080" y="3391"/>
                    <a:pt x="2080" y="3391"/>
                  </a:cubicBezTo>
                  <a:cubicBezTo>
                    <a:pt x="2080" y="3390"/>
                    <a:pt x="2080" y="3390"/>
                    <a:pt x="2080" y="3390"/>
                  </a:cubicBezTo>
                  <a:cubicBezTo>
                    <a:pt x="2080" y="3391"/>
                    <a:pt x="2080" y="3391"/>
                    <a:pt x="2080" y="3391"/>
                  </a:cubicBezTo>
                  <a:cubicBezTo>
                    <a:pt x="2080" y="3391"/>
                    <a:pt x="2081" y="3391"/>
                    <a:pt x="2081" y="3391"/>
                  </a:cubicBezTo>
                  <a:cubicBezTo>
                    <a:pt x="2081" y="3391"/>
                    <a:pt x="2081" y="3391"/>
                    <a:pt x="2081" y="3391"/>
                  </a:cubicBezTo>
                  <a:cubicBezTo>
                    <a:pt x="2105" y="3397"/>
                    <a:pt x="2130" y="3403"/>
                    <a:pt x="2154" y="3409"/>
                  </a:cubicBezTo>
                  <a:cubicBezTo>
                    <a:pt x="2154" y="3409"/>
                    <a:pt x="2154" y="3409"/>
                    <a:pt x="2154" y="3409"/>
                  </a:cubicBezTo>
                  <a:cubicBezTo>
                    <a:pt x="2157" y="3410"/>
                    <a:pt x="2160" y="3410"/>
                    <a:pt x="2163" y="3410"/>
                  </a:cubicBezTo>
                  <a:cubicBezTo>
                    <a:pt x="2165" y="3410"/>
                    <a:pt x="2168" y="3410"/>
                    <a:pt x="2171" y="3409"/>
                  </a:cubicBezTo>
                  <a:cubicBezTo>
                    <a:pt x="2173" y="3408"/>
                    <a:pt x="2175" y="3406"/>
                    <a:pt x="2176" y="3405"/>
                  </a:cubicBezTo>
                  <a:cubicBezTo>
                    <a:pt x="2178" y="3403"/>
                    <a:pt x="2179" y="3400"/>
                    <a:pt x="2180" y="3398"/>
                  </a:cubicBezTo>
                  <a:cubicBezTo>
                    <a:pt x="2181" y="3396"/>
                    <a:pt x="2181" y="3394"/>
                    <a:pt x="2182" y="3392"/>
                  </a:cubicBezTo>
                  <a:cubicBezTo>
                    <a:pt x="2185" y="3383"/>
                    <a:pt x="2187" y="3373"/>
                    <a:pt x="2190" y="3363"/>
                  </a:cubicBezTo>
                  <a:cubicBezTo>
                    <a:pt x="2190" y="3361"/>
                    <a:pt x="2191" y="3358"/>
                    <a:pt x="2191" y="3354"/>
                  </a:cubicBezTo>
                  <a:cubicBezTo>
                    <a:pt x="2191" y="3352"/>
                    <a:pt x="2191" y="3350"/>
                    <a:pt x="2190" y="3347"/>
                  </a:cubicBezTo>
                  <a:cubicBezTo>
                    <a:pt x="2190" y="3348"/>
                    <a:pt x="2190" y="3348"/>
                    <a:pt x="2190" y="3348"/>
                  </a:cubicBezTo>
                  <a:cubicBezTo>
                    <a:pt x="2190" y="3346"/>
                    <a:pt x="2190" y="3345"/>
                    <a:pt x="2190" y="3344"/>
                  </a:cubicBezTo>
                  <a:cubicBezTo>
                    <a:pt x="2190" y="3341"/>
                    <a:pt x="2191" y="3338"/>
                    <a:pt x="2192" y="3333"/>
                  </a:cubicBezTo>
                  <a:cubicBezTo>
                    <a:pt x="2192" y="3333"/>
                    <a:pt x="2192" y="3333"/>
                    <a:pt x="2192" y="3333"/>
                  </a:cubicBezTo>
                  <a:cubicBezTo>
                    <a:pt x="2193" y="3328"/>
                    <a:pt x="2194" y="3324"/>
                    <a:pt x="2195" y="3320"/>
                  </a:cubicBezTo>
                  <a:cubicBezTo>
                    <a:pt x="2195" y="3320"/>
                    <a:pt x="2195" y="3320"/>
                    <a:pt x="2195" y="3320"/>
                  </a:cubicBezTo>
                  <a:cubicBezTo>
                    <a:pt x="2196" y="3314"/>
                    <a:pt x="2198" y="3308"/>
                    <a:pt x="2200" y="3302"/>
                  </a:cubicBezTo>
                  <a:cubicBezTo>
                    <a:pt x="2188" y="3299"/>
                    <a:pt x="2188" y="3299"/>
                    <a:pt x="2188" y="3299"/>
                  </a:cubicBezTo>
                  <a:cubicBezTo>
                    <a:pt x="2186" y="3310"/>
                    <a:pt x="2186" y="3310"/>
                    <a:pt x="2186" y="3310"/>
                  </a:cubicBezTo>
                  <a:cubicBezTo>
                    <a:pt x="2193" y="3312"/>
                    <a:pt x="2199" y="3313"/>
                    <a:pt x="2205" y="3314"/>
                  </a:cubicBezTo>
                  <a:cubicBezTo>
                    <a:pt x="2205" y="3314"/>
                    <a:pt x="2205" y="3314"/>
                    <a:pt x="2205" y="3314"/>
                  </a:cubicBezTo>
                  <a:cubicBezTo>
                    <a:pt x="2205" y="3314"/>
                    <a:pt x="2205" y="3314"/>
                    <a:pt x="2205" y="3314"/>
                  </a:cubicBezTo>
                  <a:cubicBezTo>
                    <a:pt x="2207" y="3315"/>
                    <a:pt x="2210" y="3315"/>
                    <a:pt x="2212" y="3316"/>
                  </a:cubicBezTo>
                  <a:cubicBezTo>
                    <a:pt x="2214" y="3316"/>
                    <a:pt x="2217" y="3317"/>
                    <a:pt x="2219" y="3317"/>
                  </a:cubicBezTo>
                  <a:cubicBezTo>
                    <a:pt x="2221" y="3317"/>
                    <a:pt x="2222" y="3317"/>
                    <a:pt x="2224" y="3316"/>
                  </a:cubicBezTo>
                  <a:cubicBezTo>
                    <a:pt x="2227" y="3316"/>
                    <a:pt x="2230" y="3314"/>
                    <a:pt x="2232" y="3312"/>
                  </a:cubicBezTo>
                  <a:cubicBezTo>
                    <a:pt x="2234" y="3310"/>
                    <a:pt x="2235" y="3309"/>
                    <a:pt x="2236" y="3307"/>
                  </a:cubicBezTo>
                  <a:cubicBezTo>
                    <a:pt x="2237" y="3304"/>
                    <a:pt x="2238" y="3302"/>
                    <a:pt x="2238" y="3300"/>
                  </a:cubicBezTo>
                  <a:cubicBezTo>
                    <a:pt x="2239" y="3298"/>
                    <a:pt x="2239" y="3295"/>
                    <a:pt x="2240" y="3292"/>
                  </a:cubicBezTo>
                  <a:cubicBezTo>
                    <a:pt x="2228" y="3290"/>
                    <a:pt x="2228" y="3290"/>
                    <a:pt x="2228" y="3290"/>
                  </a:cubicBezTo>
                  <a:cubicBezTo>
                    <a:pt x="2240" y="3293"/>
                    <a:pt x="2240" y="3293"/>
                    <a:pt x="2240" y="3293"/>
                  </a:cubicBezTo>
                  <a:cubicBezTo>
                    <a:pt x="2240" y="3291"/>
                    <a:pt x="2240" y="3290"/>
                    <a:pt x="2240" y="3289"/>
                  </a:cubicBezTo>
                  <a:cubicBezTo>
                    <a:pt x="2240" y="3289"/>
                    <a:pt x="2240" y="3289"/>
                    <a:pt x="2240" y="3289"/>
                  </a:cubicBezTo>
                  <a:cubicBezTo>
                    <a:pt x="2240" y="3288"/>
                    <a:pt x="2241" y="3287"/>
                    <a:pt x="2241" y="3287"/>
                  </a:cubicBezTo>
                  <a:cubicBezTo>
                    <a:pt x="2241" y="3286"/>
                    <a:pt x="2241" y="3286"/>
                    <a:pt x="2241" y="3286"/>
                  </a:cubicBezTo>
                  <a:cubicBezTo>
                    <a:pt x="2239" y="3285"/>
                    <a:pt x="2239" y="3285"/>
                    <a:pt x="2239" y="3285"/>
                  </a:cubicBezTo>
                  <a:cubicBezTo>
                    <a:pt x="2240" y="3287"/>
                    <a:pt x="2240" y="3287"/>
                    <a:pt x="2240" y="3287"/>
                  </a:cubicBezTo>
                  <a:cubicBezTo>
                    <a:pt x="2241" y="3286"/>
                    <a:pt x="2241" y="3286"/>
                    <a:pt x="2241" y="3286"/>
                  </a:cubicBezTo>
                  <a:cubicBezTo>
                    <a:pt x="2239" y="3285"/>
                    <a:pt x="2239" y="3285"/>
                    <a:pt x="2239" y="3285"/>
                  </a:cubicBezTo>
                  <a:cubicBezTo>
                    <a:pt x="2240" y="3287"/>
                    <a:pt x="2240" y="3287"/>
                    <a:pt x="2240" y="3287"/>
                  </a:cubicBezTo>
                  <a:cubicBezTo>
                    <a:pt x="2240" y="3286"/>
                    <a:pt x="2240" y="3286"/>
                    <a:pt x="2240" y="3286"/>
                  </a:cubicBezTo>
                  <a:cubicBezTo>
                    <a:pt x="2240" y="3287"/>
                    <a:pt x="2240" y="3287"/>
                    <a:pt x="2240" y="3287"/>
                  </a:cubicBezTo>
                  <a:cubicBezTo>
                    <a:pt x="2240" y="3287"/>
                    <a:pt x="2240" y="3287"/>
                    <a:pt x="2240" y="3287"/>
                  </a:cubicBezTo>
                  <a:cubicBezTo>
                    <a:pt x="2240" y="3286"/>
                    <a:pt x="2240" y="3286"/>
                    <a:pt x="2240" y="3286"/>
                  </a:cubicBezTo>
                  <a:cubicBezTo>
                    <a:pt x="2240" y="3287"/>
                    <a:pt x="2240" y="3287"/>
                    <a:pt x="2240" y="3287"/>
                  </a:cubicBezTo>
                  <a:cubicBezTo>
                    <a:pt x="2241" y="3287"/>
                    <a:pt x="2241" y="3287"/>
                    <a:pt x="2241" y="3287"/>
                  </a:cubicBezTo>
                  <a:cubicBezTo>
                    <a:pt x="2240" y="3287"/>
                    <a:pt x="2240" y="3287"/>
                    <a:pt x="2240" y="3287"/>
                  </a:cubicBezTo>
                  <a:cubicBezTo>
                    <a:pt x="2243" y="3286"/>
                    <a:pt x="2245" y="3284"/>
                    <a:pt x="2246" y="3283"/>
                  </a:cubicBezTo>
                  <a:cubicBezTo>
                    <a:pt x="2248" y="3281"/>
                    <a:pt x="2249" y="3280"/>
                    <a:pt x="2250" y="3278"/>
                  </a:cubicBezTo>
                  <a:cubicBezTo>
                    <a:pt x="2251" y="3276"/>
                    <a:pt x="2251" y="3275"/>
                    <a:pt x="2252" y="3273"/>
                  </a:cubicBezTo>
                  <a:cubicBezTo>
                    <a:pt x="2252" y="3273"/>
                    <a:pt x="2252" y="3273"/>
                    <a:pt x="2252" y="3273"/>
                  </a:cubicBezTo>
                  <a:cubicBezTo>
                    <a:pt x="2252" y="3273"/>
                    <a:pt x="2252" y="3273"/>
                    <a:pt x="2252" y="3273"/>
                  </a:cubicBezTo>
                  <a:cubicBezTo>
                    <a:pt x="2248" y="3272"/>
                    <a:pt x="2248" y="3272"/>
                    <a:pt x="2248" y="3272"/>
                  </a:cubicBezTo>
                  <a:cubicBezTo>
                    <a:pt x="2251" y="3274"/>
                    <a:pt x="2251" y="3274"/>
                    <a:pt x="2251" y="3274"/>
                  </a:cubicBezTo>
                  <a:cubicBezTo>
                    <a:pt x="2252" y="3273"/>
                    <a:pt x="2252" y="3273"/>
                    <a:pt x="2252" y="3273"/>
                  </a:cubicBezTo>
                  <a:cubicBezTo>
                    <a:pt x="2248" y="3272"/>
                    <a:pt x="2248" y="3272"/>
                    <a:pt x="2248" y="3272"/>
                  </a:cubicBezTo>
                  <a:cubicBezTo>
                    <a:pt x="2251" y="3274"/>
                    <a:pt x="2251" y="3274"/>
                    <a:pt x="2251" y="3274"/>
                  </a:cubicBezTo>
                  <a:cubicBezTo>
                    <a:pt x="2245" y="3270"/>
                    <a:pt x="2245" y="3270"/>
                    <a:pt x="2245" y="3270"/>
                  </a:cubicBezTo>
                  <a:cubicBezTo>
                    <a:pt x="2248" y="3276"/>
                    <a:pt x="2248" y="3276"/>
                    <a:pt x="2248" y="3276"/>
                  </a:cubicBezTo>
                  <a:cubicBezTo>
                    <a:pt x="2250" y="3276"/>
                    <a:pt x="2251" y="3274"/>
                    <a:pt x="2251" y="3274"/>
                  </a:cubicBezTo>
                  <a:cubicBezTo>
                    <a:pt x="2245" y="3270"/>
                    <a:pt x="2245" y="3270"/>
                    <a:pt x="2245" y="3270"/>
                  </a:cubicBezTo>
                  <a:cubicBezTo>
                    <a:pt x="2248" y="3276"/>
                    <a:pt x="2248" y="3276"/>
                    <a:pt x="2248" y="3276"/>
                  </a:cubicBezTo>
                  <a:cubicBezTo>
                    <a:pt x="2245" y="3270"/>
                    <a:pt x="2245" y="3270"/>
                    <a:pt x="2245" y="3270"/>
                  </a:cubicBezTo>
                  <a:cubicBezTo>
                    <a:pt x="2245" y="3277"/>
                    <a:pt x="2245" y="3277"/>
                    <a:pt x="2245" y="3277"/>
                  </a:cubicBezTo>
                  <a:cubicBezTo>
                    <a:pt x="2246" y="3277"/>
                    <a:pt x="2247" y="3277"/>
                    <a:pt x="2248" y="3276"/>
                  </a:cubicBezTo>
                  <a:cubicBezTo>
                    <a:pt x="2245" y="3270"/>
                    <a:pt x="2245" y="3270"/>
                    <a:pt x="2245" y="3270"/>
                  </a:cubicBezTo>
                  <a:cubicBezTo>
                    <a:pt x="2245" y="3277"/>
                    <a:pt x="2245" y="3277"/>
                    <a:pt x="2245" y="3277"/>
                  </a:cubicBezTo>
                  <a:cubicBezTo>
                    <a:pt x="2245" y="3275"/>
                    <a:pt x="2245" y="3275"/>
                    <a:pt x="2245" y="3275"/>
                  </a:cubicBezTo>
                  <a:cubicBezTo>
                    <a:pt x="2245" y="3277"/>
                    <a:pt x="2245" y="3277"/>
                    <a:pt x="2245" y="3277"/>
                  </a:cubicBezTo>
                  <a:cubicBezTo>
                    <a:pt x="2245" y="3277"/>
                    <a:pt x="2245" y="3277"/>
                    <a:pt x="2245" y="3277"/>
                  </a:cubicBezTo>
                  <a:cubicBezTo>
                    <a:pt x="2245" y="3275"/>
                    <a:pt x="2245" y="3275"/>
                    <a:pt x="2245" y="3275"/>
                  </a:cubicBezTo>
                  <a:cubicBezTo>
                    <a:pt x="2245" y="3277"/>
                    <a:pt x="2245" y="3277"/>
                    <a:pt x="2245" y="3277"/>
                  </a:cubicBezTo>
                  <a:cubicBezTo>
                    <a:pt x="2245" y="3277"/>
                    <a:pt x="2245" y="3277"/>
                    <a:pt x="2245" y="3277"/>
                  </a:cubicBezTo>
                  <a:cubicBezTo>
                    <a:pt x="2246" y="3277"/>
                    <a:pt x="2246" y="3277"/>
                    <a:pt x="2246" y="3277"/>
                  </a:cubicBezTo>
                  <a:cubicBezTo>
                    <a:pt x="2258" y="3280"/>
                    <a:pt x="2270" y="3283"/>
                    <a:pt x="2281" y="3285"/>
                  </a:cubicBezTo>
                  <a:cubicBezTo>
                    <a:pt x="2281" y="3285"/>
                    <a:pt x="2281" y="3285"/>
                    <a:pt x="2281" y="3285"/>
                  </a:cubicBezTo>
                  <a:cubicBezTo>
                    <a:pt x="2292" y="3288"/>
                    <a:pt x="2302" y="3290"/>
                    <a:pt x="2311" y="3293"/>
                  </a:cubicBezTo>
                  <a:cubicBezTo>
                    <a:pt x="2311" y="3293"/>
                    <a:pt x="2311" y="3293"/>
                    <a:pt x="2311" y="3293"/>
                  </a:cubicBezTo>
                  <a:cubicBezTo>
                    <a:pt x="2311" y="3293"/>
                    <a:pt x="2311" y="3293"/>
                    <a:pt x="2311" y="3293"/>
                  </a:cubicBezTo>
                  <a:cubicBezTo>
                    <a:pt x="2313" y="3294"/>
                    <a:pt x="2314" y="3294"/>
                    <a:pt x="2316" y="3295"/>
                  </a:cubicBezTo>
                  <a:cubicBezTo>
                    <a:pt x="2318" y="3295"/>
                    <a:pt x="2320" y="3295"/>
                    <a:pt x="2322" y="3295"/>
                  </a:cubicBezTo>
                  <a:cubicBezTo>
                    <a:pt x="2324" y="3296"/>
                    <a:pt x="2326" y="3295"/>
                    <a:pt x="2329" y="3294"/>
                  </a:cubicBezTo>
                  <a:cubicBezTo>
                    <a:pt x="2330" y="3293"/>
                    <a:pt x="2332" y="3292"/>
                    <a:pt x="2333" y="3291"/>
                  </a:cubicBezTo>
                  <a:cubicBezTo>
                    <a:pt x="2335" y="3289"/>
                    <a:pt x="2336" y="3287"/>
                    <a:pt x="2337" y="3285"/>
                  </a:cubicBezTo>
                  <a:cubicBezTo>
                    <a:pt x="2338" y="3283"/>
                    <a:pt x="2339" y="3282"/>
                    <a:pt x="2339" y="3280"/>
                  </a:cubicBezTo>
                  <a:cubicBezTo>
                    <a:pt x="2339" y="3280"/>
                    <a:pt x="2339" y="3280"/>
                    <a:pt x="2339" y="3280"/>
                  </a:cubicBezTo>
                  <a:cubicBezTo>
                    <a:pt x="2339" y="3279"/>
                    <a:pt x="2339" y="3279"/>
                    <a:pt x="2339" y="3279"/>
                  </a:cubicBezTo>
                  <a:cubicBezTo>
                    <a:pt x="2335" y="3278"/>
                    <a:pt x="2335" y="3278"/>
                    <a:pt x="2335" y="3278"/>
                  </a:cubicBezTo>
                  <a:cubicBezTo>
                    <a:pt x="2338" y="3281"/>
                    <a:pt x="2338" y="3281"/>
                    <a:pt x="2338" y="3281"/>
                  </a:cubicBezTo>
                  <a:cubicBezTo>
                    <a:pt x="2339" y="3280"/>
                    <a:pt x="2339" y="3279"/>
                    <a:pt x="2339" y="3279"/>
                  </a:cubicBezTo>
                  <a:cubicBezTo>
                    <a:pt x="2335" y="3278"/>
                    <a:pt x="2335" y="3278"/>
                    <a:pt x="2335" y="3278"/>
                  </a:cubicBezTo>
                  <a:cubicBezTo>
                    <a:pt x="2338" y="3281"/>
                    <a:pt x="2338" y="3281"/>
                    <a:pt x="2338" y="3281"/>
                  </a:cubicBezTo>
                  <a:cubicBezTo>
                    <a:pt x="2333" y="3276"/>
                    <a:pt x="2333" y="3276"/>
                    <a:pt x="2333" y="3276"/>
                  </a:cubicBezTo>
                  <a:cubicBezTo>
                    <a:pt x="2337" y="3282"/>
                    <a:pt x="2337" y="3282"/>
                    <a:pt x="2337" y="3282"/>
                  </a:cubicBezTo>
                  <a:cubicBezTo>
                    <a:pt x="2337" y="3282"/>
                    <a:pt x="2338" y="3281"/>
                    <a:pt x="2338" y="3281"/>
                  </a:cubicBezTo>
                  <a:cubicBezTo>
                    <a:pt x="2333" y="3276"/>
                    <a:pt x="2333" y="3276"/>
                    <a:pt x="2333" y="3276"/>
                  </a:cubicBezTo>
                  <a:cubicBezTo>
                    <a:pt x="2337" y="3282"/>
                    <a:pt x="2337" y="3282"/>
                    <a:pt x="2337" y="3282"/>
                  </a:cubicBezTo>
                  <a:cubicBezTo>
                    <a:pt x="2333" y="3277"/>
                    <a:pt x="2333" y="3277"/>
                    <a:pt x="2333" y="3277"/>
                  </a:cubicBezTo>
                  <a:cubicBezTo>
                    <a:pt x="2334" y="3283"/>
                    <a:pt x="2334" y="3283"/>
                    <a:pt x="2334" y="3283"/>
                  </a:cubicBezTo>
                  <a:cubicBezTo>
                    <a:pt x="2335" y="3283"/>
                    <a:pt x="2336" y="3283"/>
                    <a:pt x="2337" y="3282"/>
                  </a:cubicBezTo>
                  <a:cubicBezTo>
                    <a:pt x="2333" y="3277"/>
                    <a:pt x="2333" y="3277"/>
                    <a:pt x="2333" y="3277"/>
                  </a:cubicBezTo>
                  <a:cubicBezTo>
                    <a:pt x="2334" y="3283"/>
                    <a:pt x="2334" y="3283"/>
                    <a:pt x="2334" y="3283"/>
                  </a:cubicBezTo>
                  <a:cubicBezTo>
                    <a:pt x="2334" y="3280"/>
                    <a:pt x="2334" y="3280"/>
                    <a:pt x="2334" y="3280"/>
                  </a:cubicBezTo>
                  <a:cubicBezTo>
                    <a:pt x="2334" y="3283"/>
                    <a:pt x="2334" y="3283"/>
                    <a:pt x="2334" y="3283"/>
                  </a:cubicBezTo>
                  <a:cubicBezTo>
                    <a:pt x="2334" y="3283"/>
                    <a:pt x="2334" y="3283"/>
                    <a:pt x="2334" y="3283"/>
                  </a:cubicBezTo>
                  <a:cubicBezTo>
                    <a:pt x="2334" y="3280"/>
                    <a:pt x="2334" y="3280"/>
                    <a:pt x="2334" y="3280"/>
                  </a:cubicBezTo>
                  <a:cubicBezTo>
                    <a:pt x="2334" y="3283"/>
                    <a:pt x="2334" y="3283"/>
                    <a:pt x="2334" y="3283"/>
                  </a:cubicBezTo>
                  <a:cubicBezTo>
                    <a:pt x="2334" y="3283"/>
                    <a:pt x="2334" y="3283"/>
                    <a:pt x="2334" y="3283"/>
                  </a:cubicBezTo>
                  <a:cubicBezTo>
                    <a:pt x="2334" y="3283"/>
                    <a:pt x="2334" y="3283"/>
                    <a:pt x="2334" y="3283"/>
                  </a:cubicBezTo>
                  <a:cubicBezTo>
                    <a:pt x="2334" y="3283"/>
                    <a:pt x="2334" y="3283"/>
                    <a:pt x="2334" y="3283"/>
                  </a:cubicBezTo>
                  <a:cubicBezTo>
                    <a:pt x="2334" y="3283"/>
                    <a:pt x="2334" y="3283"/>
                    <a:pt x="2334" y="3283"/>
                  </a:cubicBezTo>
                  <a:cubicBezTo>
                    <a:pt x="2334" y="3283"/>
                    <a:pt x="2334" y="3283"/>
                    <a:pt x="2334" y="3283"/>
                  </a:cubicBezTo>
                  <a:cubicBezTo>
                    <a:pt x="2335" y="3283"/>
                    <a:pt x="2335" y="3283"/>
                    <a:pt x="2335" y="3283"/>
                  </a:cubicBezTo>
                  <a:cubicBezTo>
                    <a:pt x="2335" y="3283"/>
                    <a:pt x="2335" y="3283"/>
                    <a:pt x="2335" y="3283"/>
                  </a:cubicBezTo>
                  <a:cubicBezTo>
                    <a:pt x="2335" y="3283"/>
                    <a:pt x="2335" y="3283"/>
                    <a:pt x="2335" y="3283"/>
                  </a:cubicBezTo>
                  <a:cubicBezTo>
                    <a:pt x="2337" y="3283"/>
                    <a:pt x="2340" y="3283"/>
                    <a:pt x="2343" y="3283"/>
                  </a:cubicBezTo>
                  <a:cubicBezTo>
                    <a:pt x="2350" y="3283"/>
                    <a:pt x="2358" y="3283"/>
                    <a:pt x="2365" y="3283"/>
                  </a:cubicBezTo>
                  <a:cubicBezTo>
                    <a:pt x="2367" y="3283"/>
                    <a:pt x="2370" y="3283"/>
                    <a:pt x="2373" y="3283"/>
                  </a:cubicBezTo>
                  <a:cubicBezTo>
                    <a:pt x="2403" y="3284"/>
                    <a:pt x="2434" y="3285"/>
                    <a:pt x="2465" y="3285"/>
                  </a:cubicBezTo>
                  <a:cubicBezTo>
                    <a:pt x="2517" y="3285"/>
                    <a:pt x="2570" y="3285"/>
                    <a:pt x="2623" y="3285"/>
                  </a:cubicBezTo>
                  <a:cubicBezTo>
                    <a:pt x="2623" y="3285"/>
                    <a:pt x="2623" y="3285"/>
                    <a:pt x="2623" y="3285"/>
                  </a:cubicBezTo>
                  <a:cubicBezTo>
                    <a:pt x="2624" y="3285"/>
                    <a:pt x="2626" y="3285"/>
                    <a:pt x="2627" y="3285"/>
                  </a:cubicBezTo>
                  <a:cubicBezTo>
                    <a:pt x="2635" y="3285"/>
                    <a:pt x="2644" y="3285"/>
                    <a:pt x="2652" y="3285"/>
                  </a:cubicBezTo>
                  <a:cubicBezTo>
                    <a:pt x="2657" y="3285"/>
                    <a:pt x="2661" y="3285"/>
                    <a:pt x="2666" y="3285"/>
                  </a:cubicBezTo>
                  <a:cubicBezTo>
                    <a:pt x="2666" y="3285"/>
                    <a:pt x="2666" y="3285"/>
                    <a:pt x="2666" y="3285"/>
                  </a:cubicBezTo>
                  <a:cubicBezTo>
                    <a:pt x="2666" y="3285"/>
                    <a:pt x="2666" y="3285"/>
                    <a:pt x="2666" y="3285"/>
                  </a:cubicBezTo>
                  <a:cubicBezTo>
                    <a:pt x="2666" y="3285"/>
                    <a:pt x="2666" y="3285"/>
                    <a:pt x="2666" y="3285"/>
                  </a:cubicBezTo>
                  <a:cubicBezTo>
                    <a:pt x="2668" y="3285"/>
                    <a:pt x="2670" y="3285"/>
                    <a:pt x="2672" y="3285"/>
                  </a:cubicBezTo>
                  <a:cubicBezTo>
                    <a:pt x="2675" y="3284"/>
                    <a:pt x="2679" y="3282"/>
                    <a:pt x="2681" y="3280"/>
                  </a:cubicBezTo>
                  <a:cubicBezTo>
                    <a:pt x="2684" y="3277"/>
                    <a:pt x="2686" y="3274"/>
                    <a:pt x="2687" y="3271"/>
                  </a:cubicBezTo>
                  <a:cubicBezTo>
                    <a:pt x="2687" y="3271"/>
                    <a:pt x="2687" y="3271"/>
                    <a:pt x="2687" y="3271"/>
                  </a:cubicBezTo>
                  <a:cubicBezTo>
                    <a:pt x="2687" y="3271"/>
                    <a:pt x="2687" y="3271"/>
                    <a:pt x="2687" y="3271"/>
                  </a:cubicBezTo>
                  <a:cubicBezTo>
                    <a:pt x="2687" y="3271"/>
                    <a:pt x="2687" y="3271"/>
                    <a:pt x="2687" y="3271"/>
                  </a:cubicBezTo>
                  <a:cubicBezTo>
                    <a:pt x="2685" y="3270"/>
                    <a:pt x="2685" y="3270"/>
                    <a:pt x="2685" y="3270"/>
                  </a:cubicBezTo>
                  <a:cubicBezTo>
                    <a:pt x="2687" y="3271"/>
                    <a:pt x="2687" y="3271"/>
                    <a:pt x="2687" y="3271"/>
                  </a:cubicBezTo>
                  <a:cubicBezTo>
                    <a:pt x="2687" y="3271"/>
                    <a:pt x="2687" y="3271"/>
                    <a:pt x="2687" y="3271"/>
                  </a:cubicBezTo>
                  <a:cubicBezTo>
                    <a:pt x="2685" y="3270"/>
                    <a:pt x="2685" y="3270"/>
                    <a:pt x="2685" y="3270"/>
                  </a:cubicBezTo>
                  <a:cubicBezTo>
                    <a:pt x="2687" y="3271"/>
                    <a:pt x="2687" y="3271"/>
                    <a:pt x="2687" y="3271"/>
                  </a:cubicBezTo>
                  <a:cubicBezTo>
                    <a:pt x="2684" y="3268"/>
                    <a:pt x="2684" y="3268"/>
                    <a:pt x="2684" y="3268"/>
                  </a:cubicBezTo>
                  <a:cubicBezTo>
                    <a:pt x="2685" y="3272"/>
                    <a:pt x="2685" y="3272"/>
                    <a:pt x="2685" y="3272"/>
                  </a:cubicBezTo>
                  <a:cubicBezTo>
                    <a:pt x="2686" y="3272"/>
                    <a:pt x="2686" y="3271"/>
                    <a:pt x="2687" y="3271"/>
                  </a:cubicBezTo>
                  <a:cubicBezTo>
                    <a:pt x="2684" y="3268"/>
                    <a:pt x="2684" y="3268"/>
                    <a:pt x="2684" y="3268"/>
                  </a:cubicBezTo>
                  <a:cubicBezTo>
                    <a:pt x="2685" y="3272"/>
                    <a:pt x="2685" y="3272"/>
                    <a:pt x="2685" y="3272"/>
                  </a:cubicBezTo>
                  <a:cubicBezTo>
                    <a:pt x="2684" y="3268"/>
                    <a:pt x="2684" y="3268"/>
                    <a:pt x="2684" y="3268"/>
                  </a:cubicBezTo>
                  <a:cubicBezTo>
                    <a:pt x="2684" y="3272"/>
                    <a:pt x="2684" y="3272"/>
                    <a:pt x="2684" y="3272"/>
                  </a:cubicBezTo>
                  <a:cubicBezTo>
                    <a:pt x="2684" y="3272"/>
                    <a:pt x="2685" y="3272"/>
                    <a:pt x="2685" y="3272"/>
                  </a:cubicBezTo>
                  <a:cubicBezTo>
                    <a:pt x="2684" y="3268"/>
                    <a:pt x="2684" y="3268"/>
                    <a:pt x="2684" y="3268"/>
                  </a:cubicBezTo>
                  <a:cubicBezTo>
                    <a:pt x="2684" y="3272"/>
                    <a:pt x="2684" y="3272"/>
                    <a:pt x="2684" y="3272"/>
                  </a:cubicBezTo>
                  <a:cubicBezTo>
                    <a:pt x="2684" y="3270"/>
                    <a:pt x="2684" y="3270"/>
                    <a:pt x="2684" y="3270"/>
                  </a:cubicBezTo>
                  <a:cubicBezTo>
                    <a:pt x="2683" y="3272"/>
                    <a:pt x="2683" y="3272"/>
                    <a:pt x="2683" y="3272"/>
                  </a:cubicBezTo>
                  <a:cubicBezTo>
                    <a:pt x="2684" y="3272"/>
                    <a:pt x="2684" y="3272"/>
                    <a:pt x="2684" y="3272"/>
                  </a:cubicBezTo>
                  <a:cubicBezTo>
                    <a:pt x="2684" y="3270"/>
                    <a:pt x="2684" y="3270"/>
                    <a:pt x="2684" y="3270"/>
                  </a:cubicBezTo>
                  <a:cubicBezTo>
                    <a:pt x="2683" y="3272"/>
                    <a:pt x="2683" y="3272"/>
                    <a:pt x="2683" y="3272"/>
                  </a:cubicBezTo>
                  <a:cubicBezTo>
                    <a:pt x="2683" y="3272"/>
                    <a:pt x="2683" y="3272"/>
                    <a:pt x="2683" y="3272"/>
                  </a:cubicBezTo>
                  <a:cubicBezTo>
                    <a:pt x="2683" y="3272"/>
                    <a:pt x="2683" y="3272"/>
                    <a:pt x="2683" y="3272"/>
                  </a:cubicBezTo>
                  <a:cubicBezTo>
                    <a:pt x="2683" y="3272"/>
                    <a:pt x="2683" y="3272"/>
                    <a:pt x="2683" y="3272"/>
                  </a:cubicBezTo>
                  <a:cubicBezTo>
                    <a:pt x="2683" y="3272"/>
                    <a:pt x="2683" y="3272"/>
                    <a:pt x="2683" y="3272"/>
                  </a:cubicBezTo>
                  <a:cubicBezTo>
                    <a:pt x="2683" y="3272"/>
                    <a:pt x="2683" y="3272"/>
                    <a:pt x="2683" y="3272"/>
                  </a:cubicBezTo>
                  <a:cubicBezTo>
                    <a:pt x="2683" y="3272"/>
                    <a:pt x="2683" y="3272"/>
                    <a:pt x="2683" y="3272"/>
                  </a:cubicBezTo>
                  <a:cubicBezTo>
                    <a:pt x="2687" y="3274"/>
                    <a:pt x="2690" y="3274"/>
                    <a:pt x="2694" y="3274"/>
                  </a:cubicBezTo>
                  <a:cubicBezTo>
                    <a:pt x="2697" y="3274"/>
                    <a:pt x="2700" y="3274"/>
                    <a:pt x="2703" y="3273"/>
                  </a:cubicBezTo>
                  <a:cubicBezTo>
                    <a:pt x="2707" y="3272"/>
                    <a:pt x="2710" y="3270"/>
                    <a:pt x="2713" y="3268"/>
                  </a:cubicBezTo>
                  <a:cubicBezTo>
                    <a:pt x="2716" y="3266"/>
                    <a:pt x="2718" y="3264"/>
                    <a:pt x="2720" y="3262"/>
                  </a:cubicBezTo>
                  <a:cubicBezTo>
                    <a:pt x="2725" y="3258"/>
                    <a:pt x="2728" y="3253"/>
                    <a:pt x="2731" y="3248"/>
                  </a:cubicBezTo>
                  <a:cubicBezTo>
                    <a:pt x="2734" y="3244"/>
                    <a:pt x="2737" y="3239"/>
                    <a:pt x="2739" y="3235"/>
                  </a:cubicBezTo>
                  <a:cubicBezTo>
                    <a:pt x="2739" y="3235"/>
                    <a:pt x="2739" y="3235"/>
                    <a:pt x="2739" y="3235"/>
                  </a:cubicBezTo>
                  <a:cubicBezTo>
                    <a:pt x="2740" y="3233"/>
                    <a:pt x="2741" y="3231"/>
                    <a:pt x="2742" y="3230"/>
                  </a:cubicBezTo>
                  <a:cubicBezTo>
                    <a:pt x="2742" y="3229"/>
                    <a:pt x="2742" y="3229"/>
                    <a:pt x="2742" y="3229"/>
                  </a:cubicBezTo>
                  <a:cubicBezTo>
                    <a:pt x="2742" y="3229"/>
                    <a:pt x="2742" y="3229"/>
                    <a:pt x="2742" y="3229"/>
                  </a:cubicBezTo>
                  <a:cubicBezTo>
                    <a:pt x="2742" y="3229"/>
                    <a:pt x="2742" y="3229"/>
                    <a:pt x="2742" y="3229"/>
                  </a:cubicBezTo>
                  <a:cubicBezTo>
                    <a:pt x="2739" y="3226"/>
                    <a:pt x="2739" y="3226"/>
                    <a:pt x="2739" y="3226"/>
                  </a:cubicBezTo>
                  <a:cubicBezTo>
                    <a:pt x="2741" y="3230"/>
                    <a:pt x="2741" y="3230"/>
                    <a:pt x="2741" y="3230"/>
                  </a:cubicBezTo>
                  <a:cubicBezTo>
                    <a:pt x="2742" y="3229"/>
                    <a:pt x="2742" y="3229"/>
                    <a:pt x="2742" y="3229"/>
                  </a:cubicBezTo>
                  <a:cubicBezTo>
                    <a:pt x="2739" y="3226"/>
                    <a:pt x="2739" y="3226"/>
                    <a:pt x="2739" y="3226"/>
                  </a:cubicBezTo>
                  <a:cubicBezTo>
                    <a:pt x="2741" y="3230"/>
                    <a:pt x="2741" y="3230"/>
                    <a:pt x="2741" y="3230"/>
                  </a:cubicBezTo>
                  <a:cubicBezTo>
                    <a:pt x="2737" y="3225"/>
                    <a:pt x="2737" y="3225"/>
                    <a:pt x="2737" y="3225"/>
                  </a:cubicBezTo>
                  <a:cubicBezTo>
                    <a:pt x="2739" y="3231"/>
                    <a:pt x="2739" y="3231"/>
                    <a:pt x="2739" y="3231"/>
                  </a:cubicBezTo>
                  <a:cubicBezTo>
                    <a:pt x="2740" y="3231"/>
                    <a:pt x="2741" y="3231"/>
                    <a:pt x="2741" y="3230"/>
                  </a:cubicBezTo>
                  <a:cubicBezTo>
                    <a:pt x="2737" y="3225"/>
                    <a:pt x="2737" y="3225"/>
                    <a:pt x="2737" y="3225"/>
                  </a:cubicBezTo>
                  <a:cubicBezTo>
                    <a:pt x="2739" y="3231"/>
                    <a:pt x="2739" y="3231"/>
                    <a:pt x="2739" y="3231"/>
                  </a:cubicBezTo>
                  <a:cubicBezTo>
                    <a:pt x="2738" y="3227"/>
                    <a:pt x="2738" y="3227"/>
                    <a:pt x="2738" y="3227"/>
                  </a:cubicBezTo>
                  <a:cubicBezTo>
                    <a:pt x="2739" y="3231"/>
                    <a:pt x="2739" y="3231"/>
                    <a:pt x="2739" y="3231"/>
                  </a:cubicBezTo>
                  <a:cubicBezTo>
                    <a:pt x="2739" y="3231"/>
                    <a:pt x="2739" y="3231"/>
                    <a:pt x="2739" y="3231"/>
                  </a:cubicBezTo>
                  <a:cubicBezTo>
                    <a:pt x="2738" y="3227"/>
                    <a:pt x="2738" y="3227"/>
                    <a:pt x="2738" y="3227"/>
                  </a:cubicBezTo>
                  <a:cubicBezTo>
                    <a:pt x="2739" y="3231"/>
                    <a:pt x="2739" y="3231"/>
                    <a:pt x="2739" y="3231"/>
                  </a:cubicBezTo>
                  <a:cubicBezTo>
                    <a:pt x="2738" y="3230"/>
                    <a:pt x="2738" y="3230"/>
                    <a:pt x="2738" y="3230"/>
                  </a:cubicBezTo>
                  <a:cubicBezTo>
                    <a:pt x="2739" y="3231"/>
                    <a:pt x="2739" y="3231"/>
                    <a:pt x="2739" y="3231"/>
                  </a:cubicBezTo>
                  <a:cubicBezTo>
                    <a:pt x="2739" y="3231"/>
                    <a:pt x="2739" y="3231"/>
                    <a:pt x="2739" y="3231"/>
                  </a:cubicBezTo>
                  <a:cubicBezTo>
                    <a:pt x="2738" y="3230"/>
                    <a:pt x="2738" y="3230"/>
                    <a:pt x="2738" y="3230"/>
                  </a:cubicBezTo>
                  <a:cubicBezTo>
                    <a:pt x="2739" y="3231"/>
                    <a:pt x="2739" y="3231"/>
                    <a:pt x="2739" y="3231"/>
                  </a:cubicBezTo>
                  <a:cubicBezTo>
                    <a:pt x="2739" y="3231"/>
                    <a:pt x="2739" y="3231"/>
                    <a:pt x="2739" y="3231"/>
                  </a:cubicBezTo>
                  <a:cubicBezTo>
                    <a:pt x="2740" y="3231"/>
                    <a:pt x="2741" y="3231"/>
                    <a:pt x="2744" y="3232"/>
                  </a:cubicBezTo>
                  <a:cubicBezTo>
                    <a:pt x="2744" y="3232"/>
                    <a:pt x="2744" y="3232"/>
                    <a:pt x="2744" y="3232"/>
                  </a:cubicBezTo>
                  <a:cubicBezTo>
                    <a:pt x="2744" y="3232"/>
                    <a:pt x="2744" y="3232"/>
                    <a:pt x="2744" y="3232"/>
                  </a:cubicBezTo>
                  <a:cubicBezTo>
                    <a:pt x="2744" y="3232"/>
                    <a:pt x="2745" y="3232"/>
                    <a:pt x="2746" y="3232"/>
                  </a:cubicBezTo>
                  <a:cubicBezTo>
                    <a:pt x="2749" y="3232"/>
                    <a:pt x="2752" y="3231"/>
                    <a:pt x="2755" y="3230"/>
                  </a:cubicBezTo>
                  <a:cubicBezTo>
                    <a:pt x="2758" y="3229"/>
                    <a:pt x="2761" y="3227"/>
                    <a:pt x="2763" y="3225"/>
                  </a:cubicBezTo>
                  <a:cubicBezTo>
                    <a:pt x="2763" y="3225"/>
                    <a:pt x="2763" y="3225"/>
                    <a:pt x="2763" y="3225"/>
                  </a:cubicBezTo>
                  <a:cubicBezTo>
                    <a:pt x="2766" y="3222"/>
                    <a:pt x="2768" y="3220"/>
                    <a:pt x="2770" y="3218"/>
                  </a:cubicBezTo>
                  <a:cubicBezTo>
                    <a:pt x="2772" y="3216"/>
                    <a:pt x="2774" y="3215"/>
                    <a:pt x="2775" y="3215"/>
                  </a:cubicBezTo>
                  <a:cubicBezTo>
                    <a:pt x="2775" y="3215"/>
                    <a:pt x="2775" y="3215"/>
                    <a:pt x="2775" y="3215"/>
                  </a:cubicBezTo>
                  <a:cubicBezTo>
                    <a:pt x="2777" y="3214"/>
                    <a:pt x="2780" y="3213"/>
                    <a:pt x="2781" y="3211"/>
                  </a:cubicBezTo>
                  <a:cubicBezTo>
                    <a:pt x="2784" y="3208"/>
                    <a:pt x="2786" y="3205"/>
                    <a:pt x="2787" y="3203"/>
                  </a:cubicBezTo>
                  <a:cubicBezTo>
                    <a:pt x="2788" y="3200"/>
                    <a:pt x="2788" y="3197"/>
                    <a:pt x="2788" y="3195"/>
                  </a:cubicBezTo>
                  <a:cubicBezTo>
                    <a:pt x="2789" y="3192"/>
                    <a:pt x="2790" y="3188"/>
                    <a:pt x="2791" y="3184"/>
                  </a:cubicBezTo>
                  <a:cubicBezTo>
                    <a:pt x="2791" y="3184"/>
                    <a:pt x="2791" y="3184"/>
                    <a:pt x="2791" y="3184"/>
                  </a:cubicBezTo>
                  <a:cubicBezTo>
                    <a:pt x="2793" y="3180"/>
                    <a:pt x="2795" y="3176"/>
                    <a:pt x="2798" y="3171"/>
                  </a:cubicBezTo>
                  <a:cubicBezTo>
                    <a:pt x="2798" y="3171"/>
                    <a:pt x="2798" y="3171"/>
                    <a:pt x="2798" y="3171"/>
                  </a:cubicBezTo>
                  <a:cubicBezTo>
                    <a:pt x="2798" y="3171"/>
                    <a:pt x="2798" y="3171"/>
                    <a:pt x="2798" y="3171"/>
                  </a:cubicBezTo>
                  <a:cubicBezTo>
                    <a:pt x="2799" y="3168"/>
                    <a:pt x="2800" y="3164"/>
                    <a:pt x="2800" y="3161"/>
                  </a:cubicBezTo>
                  <a:cubicBezTo>
                    <a:pt x="2800" y="3157"/>
                    <a:pt x="2799" y="3154"/>
                    <a:pt x="2798" y="3151"/>
                  </a:cubicBezTo>
                  <a:cubicBezTo>
                    <a:pt x="2796" y="3149"/>
                    <a:pt x="2794" y="3147"/>
                    <a:pt x="2792" y="3145"/>
                  </a:cubicBezTo>
                  <a:cubicBezTo>
                    <a:pt x="2792" y="3145"/>
                    <a:pt x="2792" y="3145"/>
                    <a:pt x="2792" y="3145"/>
                  </a:cubicBezTo>
                  <a:cubicBezTo>
                    <a:pt x="2791" y="3143"/>
                    <a:pt x="2789" y="3142"/>
                    <a:pt x="2788" y="3142"/>
                  </a:cubicBezTo>
                  <a:cubicBezTo>
                    <a:pt x="2787" y="3141"/>
                    <a:pt x="2786" y="3140"/>
                    <a:pt x="2786" y="3140"/>
                  </a:cubicBezTo>
                  <a:cubicBezTo>
                    <a:pt x="2786" y="3140"/>
                    <a:pt x="2786" y="3140"/>
                    <a:pt x="2786" y="3140"/>
                  </a:cubicBezTo>
                  <a:cubicBezTo>
                    <a:pt x="2783" y="3137"/>
                    <a:pt x="2782" y="3134"/>
                    <a:pt x="2782" y="3132"/>
                  </a:cubicBezTo>
                  <a:cubicBezTo>
                    <a:pt x="2782" y="3130"/>
                    <a:pt x="2782" y="3129"/>
                    <a:pt x="2784" y="3127"/>
                  </a:cubicBezTo>
                  <a:cubicBezTo>
                    <a:pt x="2784" y="3126"/>
                    <a:pt x="2786" y="3125"/>
                    <a:pt x="2787" y="3124"/>
                  </a:cubicBezTo>
                  <a:cubicBezTo>
                    <a:pt x="2789" y="3122"/>
                    <a:pt x="2791" y="3119"/>
                    <a:pt x="2794" y="3116"/>
                  </a:cubicBezTo>
                  <a:cubicBezTo>
                    <a:pt x="2795" y="3114"/>
                    <a:pt x="2796" y="3112"/>
                    <a:pt x="2797" y="3109"/>
                  </a:cubicBezTo>
                  <a:cubicBezTo>
                    <a:pt x="2797" y="3107"/>
                    <a:pt x="2798" y="3104"/>
                    <a:pt x="2798" y="3102"/>
                  </a:cubicBezTo>
                  <a:cubicBezTo>
                    <a:pt x="2798" y="3101"/>
                    <a:pt x="2798" y="3099"/>
                    <a:pt x="2798" y="3098"/>
                  </a:cubicBezTo>
                  <a:cubicBezTo>
                    <a:pt x="2798" y="3098"/>
                    <a:pt x="2798" y="3098"/>
                    <a:pt x="2798" y="3098"/>
                  </a:cubicBezTo>
                  <a:cubicBezTo>
                    <a:pt x="2797" y="3098"/>
                    <a:pt x="2797" y="3098"/>
                    <a:pt x="2797" y="3098"/>
                  </a:cubicBezTo>
                  <a:cubicBezTo>
                    <a:pt x="2786" y="3099"/>
                    <a:pt x="2786" y="3099"/>
                    <a:pt x="2786" y="3099"/>
                  </a:cubicBezTo>
                  <a:cubicBezTo>
                    <a:pt x="2798" y="3099"/>
                    <a:pt x="2798" y="3099"/>
                    <a:pt x="2798" y="3099"/>
                  </a:cubicBezTo>
                  <a:cubicBezTo>
                    <a:pt x="2798" y="3099"/>
                    <a:pt x="2798" y="3099"/>
                    <a:pt x="2797" y="3098"/>
                  </a:cubicBezTo>
                  <a:cubicBezTo>
                    <a:pt x="2786" y="3099"/>
                    <a:pt x="2786" y="3099"/>
                    <a:pt x="2786" y="3099"/>
                  </a:cubicBezTo>
                  <a:cubicBezTo>
                    <a:pt x="2798" y="3099"/>
                    <a:pt x="2798" y="3099"/>
                    <a:pt x="2798" y="3099"/>
                  </a:cubicBezTo>
                  <a:cubicBezTo>
                    <a:pt x="2787" y="3099"/>
                    <a:pt x="2787" y="3099"/>
                    <a:pt x="2787" y="3099"/>
                  </a:cubicBezTo>
                  <a:cubicBezTo>
                    <a:pt x="2797" y="3103"/>
                    <a:pt x="2797" y="3103"/>
                    <a:pt x="2797" y="3103"/>
                  </a:cubicBezTo>
                  <a:cubicBezTo>
                    <a:pt x="2797" y="3102"/>
                    <a:pt x="2798" y="3101"/>
                    <a:pt x="2798" y="3099"/>
                  </a:cubicBezTo>
                  <a:cubicBezTo>
                    <a:pt x="2787" y="3099"/>
                    <a:pt x="2787" y="3099"/>
                    <a:pt x="2787" y="3099"/>
                  </a:cubicBezTo>
                  <a:cubicBezTo>
                    <a:pt x="2797" y="3103"/>
                    <a:pt x="2797" y="3103"/>
                    <a:pt x="2797" y="3103"/>
                  </a:cubicBezTo>
                  <a:cubicBezTo>
                    <a:pt x="2789" y="3100"/>
                    <a:pt x="2789" y="3100"/>
                    <a:pt x="2789" y="3100"/>
                  </a:cubicBezTo>
                  <a:cubicBezTo>
                    <a:pt x="2796" y="3106"/>
                    <a:pt x="2796" y="3106"/>
                    <a:pt x="2796" y="3106"/>
                  </a:cubicBezTo>
                  <a:cubicBezTo>
                    <a:pt x="2796" y="3105"/>
                    <a:pt x="2796" y="3105"/>
                    <a:pt x="2797" y="3103"/>
                  </a:cubicBezTo>
                  <a:cubicBezTo>
                    <a:pt x="2789" y="3100"/>
                    <a:pt x="2789" y="3100"/>
                    <a:pt x="2789" y="3100"/>
                  </a:cubicBezTo>
                  <a:cubicBezTo>
                    <a:pt x="2796" y="3106"/>
                    <a:pt x="2796" y="3106"/>
                    <a:pt x="2796" y="3106"/>
                  </a:cubicBezTo>
                  <a:cubicBezTo>
                    <a:pt x="2792" y="3103"/>
                    <a:pt x="2792" y="3103"/>
                    <a:pt x="2792" y="3103"/>
                  </a:cubicBezTo>
                  <a:cubicBezTo>
                    <a:pt x="2795" y="3106"/>
                    <a:pt x="2795" y="3106"/>
                    <a:pt x="2795" y="3106"/>
                  </a:cubicBezTo>
                  <a:cubicBezTo>
                    <a:pt x="2796" y="3106"/>
                    <a:pt x="2796" y="3106"/>
                    <a:pt x="2796" y="3106"/>
                  </a:cubicBezTo>
                  <a:cubicBezTo>
                    <a:pt x="2792" y="3103"/>
                    <a:pt x="2792" y="3103"/>
                    <a:pt x="2792" y="3103"/>
                  </a:cubicBezTo>
                  <a:cubicBezTo>
                    <a:pt x="2795" y="3106"/>
                    <a:pt x="2795" y="3106"/>
                    <a:pt x="2795" y="3106"/>
                  </a:cubicBezTo>
                  <a:cubicBezTo>
                    <a:pt x="2794" y="3105"/>
                    <a:pt x="2794" y="3105"/>
                    <a:pt x="2794" y="3105"/>
                  </a:cubicBezTo>
                  <a:cubicBezTo>
                    <a:pt x="2795" y="3106"/>
                    <a:pt x="2795" y="3106"/>
                    <a:pt x="2795" y="3106"/>
                  </a:cubicBezTo>
                  <a:cubicBezTo>
                    <a:pt x="2795" y="3106"/>
                    <a:pt x="2795" y="3106"/>
                    <a:pt x="2795" y="3106"/>
                  </a:cubicBezTo>
                  <a:cubicBezTo>
                    <a:pt x="2794" y="3105"/>
                    <a:pt x="2794" y="3105"/>
                    <a:pt x="2794" y="3105"/>
                  </a:cubicBezTo>
                  <a:cubicBezTo>
                    <a:pt x="2795" y="3106"/>
                    <a:pt x="2795" y="3106"/>
                    <a:pt x="2795" y="3106"/>
                  </a:cubicBezTo>
                  <a:cubicBezTo>
                    <a:pt x="2796" y="3106"/>
                    <a:pt x="2796" y="3106"/>
                    <a:pt x="2796" y="3106"/>
                  </a:cubicBezTo>
                  <a:cubicBezTo>
                    <a:pt x="2796" y="3105"/>
                    <a:pt x="2797" y="3105"/>
                    <a:pt x="2798" y="3104"/>
                  </a:cubicBezTo>
                  <a:cubicBezTo>
                    <a:pt x="2800" y="3101"/>
                    <a:pt x="2803" y="3098"/>
                    <a:pt x="2806" y="3095"/>
                  </a:cubicBezTo>
                  <a:cubicBezTo>
                    <a:pt x="2806" y="3095"/>
                    <a:pt x="2806" y="3095"/>
                    <a:pt x="2806" y="3095"/>
                  </a:cubicBezTo>
                  <a:cubicBezTo>
                    <a:pt x="2808" y="3093"/>
                    <a:pt x="2810" y="3091"/>
                    <a:pt x="2811" y="3088"/>
                  </a:cubicBezTo>
                  <a:cubicBezTo>
                    <a:pt x="2813" y="3084"/>
                    <a:pt x="2814" y="3081"/>
                    <a:pt x="2814" y="3077"/>
                  </a:cubicBezTo>
                  <a:cubicBezTo>
                    <a:pt x="2814" y="3074"/>
                    <a:pt x="2813" y="3072"/>
                    <a:pt x="2813" y="3070"/>
                  </a:cubicBezTo>
                  <a:cubicBezTo>
                    <a:pt x="2813" y="3070"/>
                    <a:pt x="2813" y="3070"/>
                    <a:pt x="2813" y="3070"/>
                  </a:cubicBezTo>
                  <a:cubicBezTo>
                    <a:pt x="2812" y="3066"/>
                    <a:pt x="2811" y="3062"/>
                    <a:pt x="2810" y="3058"/>
                  </a:cubicBezTo>
                  <a:cubicBezTo>
                    <a:pt x="2809" y="3054"/>
                    <a:pt x="2807" y="3050"/>
                    <a:pt x="2804" y="3045"/>
                  </a:cubicBezTo>
                  <a:cubicBezTo>
                    <a:pt x="2802" y="3046"/>
                    <a:pt x="2802" y="3046"/>
                    <a:pt x="2802" y="3046"/>
                  </a:cubicBezTo>
                  <a:cubicBezTo>
                    <a:pt x="2804" y="3045"/>
                    <a:pt x="2804" y="3045"/>
                    <a:pt x="2804" y="3045"/>
                  </a:cubicBezTo>
                  <a:cubicBezTo>
                    <a:pt x="2804" y="3045"/>
                    <a:pt x="2804" y="3045"/>
                    <a:pt x="2804" y="3045"/>
                  </a:cubicBezTo>
                  <a:cubicBezTo>
                    <a:pt x="2802" y="3046"/>
                    <a:pt x="2802" y="3046"/>
                    <a:pt x="2802" y="3046"/>
                  </a:cubicBezTo>
                  <a:cubicBezTo>
                    <a:pt x="2804" y="3045"/>
                    <a:pt x="2804" y="3045"/>
                    <a:pt x="2804" y="3045"/>
                  </a:cubicBezTo>
                  <a:cubicBezTo>
                    <a:pt x="2804" y="3045"/>
                    <a:pt x="2804" y="3045"/>
                    <a:pt x="2804" y="3045"/>
                  </a:cubicBezTo>
                  <a:cubicBezTo>
                    <a:pt x="2804" y="3045"/>
                    <a:pt x="2804" y="3044"/>
                    <a:pt x="2804" y="3043"/>
                  </a:cubicBezTo>
                  <a:cubicBezTo>
                    <a:pt x="2804" y="3042"/>
                    <a:pt x="2804" y="3041"/>
                    <a:pt x="2804" y="3039"/>
                  </a:cubicBezTo>
                  <a:cubicBezTo>
                    <a:pt x="2804" y="3039"/>
                    <a:pt x="2804" y="3039"/>
                    <a:pt x="2804" y="3039"/>
                  </a:cubicBezTo>
                  <a:cubicBezTo>
                    <a:pt x="2803" y="3037"/>
                    <a:pt x="2803" y="3035"/>
                    <a:pt x="2803" y="3033"/>
                  </a:cubicBezTo>
                  <a:cubicBezTo>
                    <a:pt x="2803" y="3031"/>
                    <a:pt x="2803" y="3028"/>
                    <a:pt x="2804" y="3025"/>
                  </a:cubicBezTo>
                  <a:cubicBezTo>
                    <a:pt x="2804" y="3025"/>
                    <a:pt x="2804" y="3024"/>
                    <a:pt x="2804" y="3024"/>
                  </a:cubicBezTo>
                  <a:cubicBezTo>
                    <a:pt x="2804" y="3021"/>
                    <a:pt x="2803" y="3017"/>
                    <a:pt x="2802" y="3014"/>
                  </a:cubicBezTo>
                  <a:cubicBezTo>
                    <a:pt x="2801" y="3011"/>
                    <a:pt x="2799" y="3007"/>
                    <a:pt x="2797" y="3004"/>
                  </a:cubicBezTo>
                  <a:cubicBezTo>
                    <a:pt x="2797" y="3004"/>
                    <a:pt x="2797" y="3004"/>
                    <a:pt x="2797" y="3004"/>
                  </a:cubicBezTo>
                  <a:cubicBezTo>
                    <a:pt x="2794" y="3007"/>
                    <a:pt x="2794" y="3007"/>
                    <a:pt x="2794" y="3007"/>
                  </a:cubicBezTo>
                  <a:cubicBezTo>
                    <a:pt x="2797" y="3005"/>
                    <a:pt x="2797" y="3005"/>
                    <a:pt x="2797" y="3005"/>
                  </a:cubicBezTo>
                  <a:cubicBezTo>
                    <a:pt x="2797" y="3005"/>
                    <a:pt x="2797" y="3005"/>
                    <a:pt x="2797" y="3004"/>
                  </a:cubicBezTo>
                  <a:cubicBezTo>
                    <a:pt x="2794" y="3007"/>
                    <a:pt x="2794" y="3007"/>
                    <a:pt x="2794" y="3007"/>
                  </a:cubicBezTo>
                  <a:cubicBezTo>
                    <a:pt x="2797" y="3005"/>
                    <a:pt x="2797" y="3005"/>
                    <a:pt x="2797" y="3005"/>
                  </a:cubicBezTo>
                  <a:cubicBezTo>
                    <a:pt x="2797" y="3005"/>
                    <a:pt x="2797" y="3005"/>
                    <a:pt x="2797" y="3005"/>
                  </a:cubicBezTo>
                  <a:cubicBezTo>
                    <a:pt x="2797" y="3004"/>
                    <a:pt x="2797" y="3003"/>
                    <a:pt x="2797" y="3001"/>
                  </a:cubicBezTo>
                  <a:cubicBezTo>
                    <a:pt x="2797" y="3000"/>
                    <a:pt x="2797" y="2999"/>
                    <a:pt x="2797" y="2998"/>
                  </a:cubicBezTo>
                  <a:cubicBezTo>
                    <a:pt x="2797" y="2998"/>
                    <a:pt x="2797" y="2998"/>
                    <a:pt x="2797" y="2998"/>
                  </a:cubicBezTo>
                  <a:cubicBezTo>
                    <a:pt x="2797" y="2998"/>
                    <a:pt x="2797" y="2998"/>
                    <a:pt x="2797" y="2998"/>
                  </a:cubicBezTo>
                  <a:cubicBezTo>
                    <a:pt x="2794" y="2997"/>
                    <a:pt x="2794" y="2997"/>
                    <a:pt x="2794" y="2997"/>
                  </a:cubicBezTo>
                  <a:cubicBezTo>
                    <a:pt x="2796" y="2999"/>
                    <a:pt x="2796" y="2999"/>
                    <a:pt x="2796" y="2999"/>
                  </a:cubicBezTo>
                  <a:cubicBezTo>
                    <a:pt x="2797" y="2998"/>
                    <a:pt x="2797" y="2998"/>
                    <a:pt x="2797" y="2998"/>
                  </a:cubicBezTo>
                  <a:cubicBezTo>
                    <a:pt x="2794" y="2997"/>
                    <a:pt x="2794" y="2997"/>
                    <a:pt x="2794" y="2997"/>
                  </a:cubicBezTo>
                  <a:cubicBezTo>
                    <a:pt x="2796" y="2999"/>
                    <a:pt x="2796" y="2999"/>
                    <a:pt x="2796" y="2999"/>
                  </a:cubicBezTo>
                  <a:cubicBezTo>
                    <a:pt x="2801" y="2994"/>
                    <a:pt x="2803" y="2989"/>
                    <a:pt x="2805" y="2984"/>
                  </a:cubicBezTo>
                  <a:cubicBezTo>
                    <a:pt x="2806" y="2979"/>
                    <a:pt x="2807" y="2974"/>
                    <a:pt x="2807" y="2970"/>
                  </a:cubicBezTo>
                  <a:cubicBezTo>
                    <a:pt x="2807" y="2970"/>
                    <a:pt x="2807" y="2970"/>
                    <a:pt x="2807" y="2970"/>
                  </a:cubicBezTo>
                  <a:cubicBezTo>
                    <a:pt x="2808" y="2969"/>
                    <a:pt x="2808" y="2968"/>
                    <a:pt x="2808" y="2968"/>
                  </a:cubicBezTo>
                  <a:cubicBezTo>
                    <a:pt x="2808" y="2967"/>
                    <a:pt x="2808" y="2967"/>
                    <a:pt x="2809" y="2967"/>
                  </a:cubicBezTo>
                  <a:cubicBezTo>
                    <a:pt x="2811" y="2964"/>
                    <a:pt x="2814" y="2960"/>
                    <a:pt x="2815" y="2956"/>
                  </a:cubicBezTo>
                  <a:cubicBezTo>
                    <a:pt x="2817" y="2952"/>
                    <a:pt x="2819" y="2948"/>
                    <a:pt x="2819" y="2942"/>
                  </a:cubicBezTo>
                  <a:cubicBezTo>
                    <a:pt x="2819" y="2940"/>
                    <a:pt x="2818" y="2937"/>
                    <a:pt x="2817" y="2934"/>
                  </a:cubicBezTo>
                  <a:cubicBezTo>
                    <a:pt x="2817" y="2934"/>
                    <a:pt x="2817" y="2934"/>
                    <a:pt x="2817" y="2934"/>
                  </a:cubicBezTo>
                  <a:cubicBezTo>
                    <a:pt x="2817" y="2933"/>
                    <a:pt x="2817" y="2933"/>
                    <a:pt x="2817" y="2933"/>
                  </a:cubicBezTo>
                  <a:cubicBezTo>
                    <a:pt x="2816" y="2934"/>
                    <a:pt x="2816" y="2934"/>
                    <a:pt x="2816" y="2934"/>
                  </a:cubicBezTo>
                  <a:cubicBezTo>
                    <a:pt x="2817" y="2934"/>
                    <a:pt x="2817" y="2934"/>
                    <a:pt x="2817" y="2934"/>
                  </a:cubicBezTo>
                  <a:cubicBezTo>
                    <a:pt x="2817" y="2933"/>
                    <a:pt x="2817" y="2933"/>
                    <a:pt x="2817" y="2933"/>
                  </a:cubicBezTo>
                  <a:cubicBezTo>
                    <a:pt x="2816" y="2934"/>
                    <a:pt x="2816" y="2934"/>
                    <a:pt x="2816" y="2934"/>
                  </a:cubicBezTo>
                  <a:cubicBezTo>
                    <a:pt x="2817" y="2934"/>
                    <a:pt x="2817" y="2934"/>
                    <a:pt x="2817" y="2934"/>
                  </a:cubicBezTo>
                  <a:cubicBezTo>
                    <a:pt x="2813" y="2934"/>
                    <a:pt x="2813" y="2934"/>
                    <a:pt x="2813" y="2934"/>
                  </a:cubicBezTo>
                  <a:cubicBezTo>
                    <a:pt x="2817" y="2935"/>
                    <a:pt x="2817" y="2935"/>
                    <a:pt x="2817" y="2935"/>
                  </a:cubicBezTo>
                  <a:cubicBezTo>
                    <a:pt x="2817" y="2934"/>
                    <a:pt x="2817" y="2934"/>
                    <a:pt x="2817" y="2934"/>
                  </a:cubicBezTo>
                  <a:cubicBezTo>
                    <a:pt x="2813" y="2934"/>
                    <a:pt x="2813" y="2934"/>
                    <a:pt x="2813" y="2934"/>
                  </a:cubicBezTo>
                  <a:cubicBezTo>
                    <a:pt x="2817" y="2935"/>
                    <a:pt x="2817" y="2935"/>
                    <a:pt x="2817" y="2935"/>
                  </a:cubicBezTo>
                  <a:cubicBezTo>
                    <a:pt x="2813" y="2933"/>
                    <a:pt x="2813" y="2933"/>
                    <a:pt x="2813" y="2933"/>
                  </a:cubicBezTo>
                  <a:cubicBezTo>
                    <a:pt x="2816" y="2937"/>
                    <a:pt x="2816" y="2937"/>
                    <a:pt x="2816" y="2937"/>
                  </a:cubicBezTo>
                  <a:cubicBezTo>
                    <a:pt x="2816" y="2937"/>
                    <a:pt x="2817" y="2936"/>
                    <a:pt x="2817" y="2935"/>
                  </a:cubicBezTo>
                  <a:cubicBezTo>
                    <a:pt x="2813" y="2933"/>
                    <a:pt x="2813" y="2933"/>
                    <a:pt x="2813" y="2933"/>
                  </a:cubicBezTo>
                  <a:cubicBezTo>
                    <a:pt x="2816" y="2937"/>
                    <a:pt x="2816" y="2937"/>
                    <a:pt x="2816" y="2937"/>
                  </a:cubicBezTo>
                  <a:cubicBezTo>
                    <a:pt x="2814" y="2935"/>
                    <a:pt x="2814" y="2935"/>
                    <a:pt x="2814" y="2935"/>
                  </a:cubicBezTo>
                  <a:cubicBezTo>
                    <a:pt x="2816" y="2937"/>
                    <a:pt x="2816" y="2937"/>
                    <a:pt x="2816" y="2937"/>
                  </a:cubicBezTo>
                  <a:cubicBezTo>
                    <a:pt x="2816" y="2937"/>
                    <a:pt x="2816" y="2937"/>
                    <a:pt x="2816" y="2937"/>
                  </a:cubicBezTo>
                  <a:cubicBezTo>
                    <a:pt x="2814" y="2935"/>
                    <a:pt x="2814" y="2935"/>
                    <a:pt x="2814" y="2935"/>
                  </a:cubicBezTo>
                  <a:cubicBezTo>
                    <a:pt x="2816" y="2937"/>
                    <a:pt x="2816" y="2937"/>
                    <a:pt x="2816" y="2937"/>
                  </a:cubicBezTo>
                  <a:cubicBezTo>
                    <a:pt x="2815" y="2936"/>
                    <a:pt x="2815" y="2936"/>
                    <a:pt x="2815" y="2936"/>
                  </a:cubicBezTo>
                  <a:cubicBezTo>
                    <a:pt x="2816" y="2937"/>
                    <a:pt x="2816" y="2937"/>
                    <a:pt x="2816" y="2937"/>
                  </a:cubicBezTo>
                  <a:cubicBezTo>
                    <a:pt x="2816" y="2937"/>
                    <a:pt x="2816" y="2937"/>
                    <a:pt x="2816" y="2937"/>
                  </a:cubicBezTo>
                  <a:cubicBezTo>
                    <a:pt x="2815" y="2936"/>
                    <a:pt x="2815" y="2936"/>
                    <a:pt x="2815" y="2936"/>
                  </a:cubicBezTo>
                  <a:cubicBezTo>
                    <a:pt x="2816" y="2937"/>
                    <a:pt x="2816" y="2937"/>
                    <a:pt x="2816" y="2937"/>
                  </a:cubicBezTo>
                  <a:cubicBezTo>
                    <a:pt x="2816" y="2937"/>
                    <a:pt x="2816" y="2937"/>
                    <a:pt x="2816" y="2937"/>
                  </a:cubicBezTo>
                  <a:cubicBezTo>
                    <a:pt x="2816" y="2937"/>
                    <a:pt x="2816" y="2937"/>
                    <a:pt x="2816" y="2937"/>
                  </a:cubicBezTo>
                  <a:cubicBezTo>
                    <a:pt x="2820" y="2935"/>
                    <a:pt x="2824" y="2932"/>
                    <a:pt x="2826" y="2929"/>
                  </a:cubicBezTo>
                  <a:cubicBezTo>
                    <a:pt x="2829" y="2925"/>
                    <a:pt x="2831" y="2921"/>
                    <a:pt x="2831" y="2917"/>
                  </a:cubicBezTo>
                  <a:cubicBezTo>
                    <a:pt x="2831" y="2917"/>
                    <a:pt x="2831" y="2917"/>
                    <a:pt x="2831" y="2917"/>
                  </a:cubicBezTo>
                  <a:cubicBezTo>
                    <a:pt x="2829" y="2917"/>
                    <a:pt x="2829" y="2917"/>
                    <a:pt x="2829" y="2917"/>
                  </a:cubicBezTo>
                  <a:cubicBezTo>
                    <a:pt x="2831" y="2918"/>
                    <a:pt x="2831" y="2918"/>
                    <a:pt x="2831" y="2918"/>
                  </a:cubicBezTo>
                  <a:cubicBezTo>
                    <a:pt x="2831" y="2917"/>
                    <a:pt x="2831" y="2917"/>
                    <a:pt x="2831" y="2917"/>
                  </a:cubicBezTo>
                  <a:cubicBezTo>
                    <a:pt x="2829" y="2917"/>
                    <a:pt x="2829" y="2917"/>
                    <a:pt x="2829" y="2917"/>
                  </a:cubicBezTo>
                  <a:cubicBezTo>
                    <a:pt x="2831" y="2918"/>
                    <a:pt x="2831" y="2918"/>
                    <a:pt x="2831" y="2918"/>
                  </a:cubicBezTo>
                  <a:cubicBezTo>
                    <a:pt x="2831" y="2918"/>
                    <a:pt x="2831" y="2918"/>
                    <a:pt x="2831" y="2918"/>
                  </a:cubicBezTo>
                  <a:cubicBezTo>
                    <a:pt x="2832" y="2917"/>
                    <a:pt x="2832" y="2917"/>
                    <a:pt x="2832" y="2917"/>
                  </a:cubicBezTo>
                  <a:cubicBezTo>
                    <a:pt x="2832" y="2917"/>
                    <a:pt x="2832" y="2917"/>
                    <a:pt x="2832" y="2917"/>
                  </a:cubicBezTo>
                  <a:cubicBezTo>
                    <a:pt x="2838" y="2910"/>
                    <a:pt x="2841" y="2902"/>
                    <a:pt x="2841" y="2893"/>
                  </a:cubicBezTo>
                  <a:cubicBezTo>
                    <a:pt x="2841" y="2886"/>
                    <a:pt x="2839" y="2879"/>
                    <a:pt x="2835" y="2873"/>
                  </a:cubicBezTo>
                  <a:cubicBezTo>
                    <a:pt x="2834" y="2873"/>
                    <a:pt x="2834" y="2873"/>
                    <a:pt x="2834" y="2873"/>
                  </a:cubicBezTo>
                  <a:cubicBezTo>
                    <a:pt x="2834" y="2873"/>
                    <a:pt x="2834" y="2873"/>
                    <a:pt x="2834" y="2873"/>
                  </a:cubicBezTo>
                  <a:cubicBezTo>
                    <a:pt x="2830" y="2876"/>
                    <a:pt x="2830" y="2876"/>
                    <a:pt x="2830" y="2876"/>
                  </a:cubicBezTo>
                  <a:cubicBezTo>
                    <a:pt x="2835" y="2874"/>
                    <a:pt x="2835" y="2874"/>
                    <a:pt x="2835" y="2874"/>
                  </a:cubicBezTo>
                  <a:cubicBezTo>
                    <a:pt x="2835" y="2874"/>
                    <a:pt x="2835" y="2874"/>
                    <a:pt x="2834" y="2873"/>
                  </a:cubicBezTo>
                  <a:cubicBezTo>
                    <a:pt x="2830" y="2876"/>
                    <a:pt x="2830" y="2876"/>
                    <a:pt x="2830" y="2876"/>
                  </a:cubicBezTo>
                  <a:cubicBezTo>
                    <a:pt x="2835" y="2874"/>
                    <a:pt x="2835" y="2874"/>
                    <a:pt x="2835" y="2874"/>
                  </a:cubicBezTo>
                  <a:cubicBezTo>
                    <a:pt x="2828" y="2877"/>
                    <a:pt x="2828" y="2877"/>
                    <a:pt x="2828" y="2877"/>
                  </a:cubicBezTo>
                  <a:cubicBezTo>
                    <a:pt x="2835" y="2877"/>
                    <a:pt x="2835" y="2877"/>
                    <a:pt x="2835" y="2877"/>
                  </a:cubicBezTo>
                  <a:cubicBezTo>
                    <a:pt x="2835" y="2875"/>
                    <a:pt x="2835" y="2875"/>
                    <a:pt x="2835" y="2874"/>
                  </a:cubicBezTo>
                  <a:cubicBezTo>
                    <a:pt x="2828" y="2877"/>
                    <a:pt x="2828" y="2877"/>
                    <a:pt x="2828" y="2877"/>
                  </a:cubicBezTo>
                  <a:cubicBezTo>
                    <a:pt x="2835" y="2877"/>
                    <a:pt x="2835" y="2877"/>
                    <a:pt x="2835" y="2877"/>
                  </a:cubicBezTo>
                  <a:cubicBezTo>
                    <a:pt x="2826" y="2877"/>
                    <a:pt x="2826" y="2877"/>
                    <a:pt x="2826" y="2877"/>
                  </a:cubicBezTo>
                  <a:cubicBezTo>
                    <a:pt x="2835" y="2879"/>
                    <a:pt x="2835" y="2879"/>
                    <a:pt x="2835" y="2879"/>
                  </a:cubicBezTo>
                  <a:cubicBezTo>
                    <a:pt x="2835" y="2878"/>
                    <a:pt x="2835" y="2877"/>
                    <a:pt x="2835" y="2877"/>
                  </a:cubicBezTo>
                  <a:cubicBezTo>
                    <a:pt x="2826" y="2877"/>
                    <a:pt x="2826" y="2877"/>
                    <a:pt x="2826" y="2877"/>
                  </a:cubicBezTo>
                  <a:cubicBezTo>
                    <a:pt x="2835" y="2879"/>
                    <a:pt x="2835" y="2879"/>
                    <a:pt x="2835" y="2879"/>
                  </a:cubicBezTo>
                  <a:cubicBezTo>
                    <a:pt x="2837" y="2871"/>
                    <a:pt x="2839" y="2863"/>
                    <a:pt x="2840" y="2854"/>
                  </a:cubicBezTo>
                  <a:cubicBezTo>
                    <a:pt x="2840" y="2854"/>
                    <a:pt x="2840" y="2854"/>
                    <a:pt x="2840" y="2854"/>
                  </a:cubicBezTo>
                  <a:cubicBezTo>
                    <a:pt x="2841" y="2846"/>
                    <a:pt x="2842" y="2837"/>
                    <a:pt x="2842" y="2828"/>
                  </a:cubicBezTo>
                  <a:cubicBezTo>
                    <a:pt x="2842" y="2828"/>
                    <a:pt x="2842" y="2828"/>
                    <a:pt x="2842" y="2828"/>
                  </a:cubicBezTo>
                  <a:cubicBezTo>
                    <a:pt x="2842" y="2828"/>
                    <a:pt x="2842" y="2827"/>
                    <a:pt x="2842" y="2827"/>
                  </a:cubicBezTo>
                  <a:cubicBezTo>
                    <a:pt x="2842" y="2825"/>
                    <a:pt x="2842" y="2823"/>
                    <a:pt x="2842" y="2821"/>
                  </a:cubicBezTo>
                  <a:cubicBezTo>
                    <a:pt x="2841" y="2819"/>
                    <a:pt x="2841" y="2818"/>
                    <a:pt x="2840" y="2816"/>
                  </a:cubicBezTo>
                  <a:cubicBezTo>
                    <a:pt x="2839" y="2814"/>
                    <a:pt x="2836" y="2811"/>
                    <a:pt x="2834" y="2809"/>
                  </a:cubicBezTo>
                  <a:cubicBezTo>
                    <a:pt x="2831" y="2808"/>
                    <a:pt x="2828" y="2807"/>
                    <a:pt x="2825" y="2807"/>
                  </a:cubicBezTo>
                  <a:cubicBezTo>
                    <a:pt x="2822" y="2807"/>
                    <a:pt x="2819" y="2808"/>
                    <a:pt x="2817" y="2809"/>
                  </a:cubicBezTo>
                  <a:cubicBezTo>
                    <a:pt x="2817" y="2809"/>
                    <a:pt x="2817" y="2809"/>
                    <a:pt x="2817" y="2809"/>
                  </a:cubicBezTo>
                  <a:cubicBezTo>
                    <a:pt x="2816" y="2809"/>
                    <a:pt x="2816" y="2809"/>
                    <a:pt x="2816" y="2809"/>
                  </a:cubicBezTo>
                  <a:cubicBezTo>
                    <a:pt x="2816" y="2809"/>
                    <a:pt x="2816" y="2809"/>
                    <a:pt x="2816" y="2809"/>
                  </a:cubicBezTo>
                  <a:cubicBezTo>
                    <a:pt x="2816" y="2809"/>
                    <a:pt x="2816" y="2809"/>
                    <a:pt x="2816" y="2809"/>
                  </a:cubicBezTo>
                  <a:cubicBezTo>
                    <a:pt x="2816" y="2809"/>
                    <a:pt x="2816" y="2809"/>
                    <a:pt x="2816" y="2809"/>
                  </a:cubicBezTo>
                  <a:cubicBezTo>
                    <a:pt x="2816" y="2809"/>
                    <a:pt x="2816" y="2809"/>
                    <a:pt x="2816" y="2809"/>
                  </a:cubicBezTo>
                  <a:cubicBezTo>
                    <a:pt x="2816" y="2809"/>
                    <a:pt x="2816" y="2809"/>
                    <a:pt x="2816" y="2809"/>
                  </a:cubicBezTo>
                  <a:cubicBezTo>
                    <a:pt x="2816" y="2809"/>
                    <a:pt x="2816" y="2809"/>
                    <a:pt x="2816" y="2809"/>
                  </a:cubicBezTo>
                  <a:cubicBezTo>
                    <a:pt x="2816" y="2811"/>
                    <a:pt x="2816" y="2811"/>
                    <a:pt x="2816" y="2811"/>
                  </a:cubicBezTo>
                  <a:cubicBezTo>
                    <a:pt x="2817" y="2809"/>
                    <a:pt x="2817" y="2809"/>
                    <a:pt x="2817" y="2809"/>
                  </a:cubicBezTo>
                  <a:cubicBezTo>
                    <a:pt x="2816" y="2809"/>
                    <a:pt x="2816" y="2809"/>
                    <a:pt x="2816" y="2809"/>
                  </a:cubicBezTo>
                  <a:cubicBezTo>
                    <a:pt x="2816" y="2811"/>
                    <a:pt x="2816" y="2811"/>
                    <a:pt x="2816" y="2811"/>
                  </a:cubicBezTo>
                  <a:cubicBezTo>
                    <a:pt x="2817" y="2809"/>
                    <a:pt x="2817" y="2809"/>
                    <a:pt x="2817" y="2809"/>
                  </a:cubicBezTo>
                  <a:cubicBezTo>
                    <a:pt x="2816" y="2809"/>
                    <a:pt x="2816" y="2809"/>
                    <a:pt x="2816" y="2809"/>
                  </a:cubicBezTo>
                  <a:cubicBezTo>
                    <a:pt x="2817" y="2809"/>
                    <a:pt x="2817" y="2809"/>
                    <a:pt x="2817" y="2809"/>
                  </a:cubicBezTo>
                  <a:cubicBezTo>
                    <a:pt x="2817" y="2809"/>
                    <a:pt x="2817" y="2809"/>
                    <a:pt x="2817" y="2809"/>
                  </a:cubicBezTo>
                  <a:cubicBezTo>
                    <a:pt x="2816" y="2809"/>
                    <a:pt x="2816" y="2809"/>
                    <a:pt x="2816" y="2809"/>
                  </a:cubicBezTo>
                  <a:cubicBezTo>
                    <a:pt x="2817" y="2809"/>
                    <a:pt x="2817" y="2809"/>
                    <a:pt x="2817" y="2809"/>
                  </a:cubicBezTo>
                  <a:cubicBezTo>
                    <a:pt x="2817" y="2809"/>
                    <a:pt x="2816" y="2809"/>
                    <a:pt x="2816" y="2808"/>
                  </a:cubicBezTo>
                  <a:cubicBezTo>
                    <a:pt x="2816" y="2808"/>
                    <a:pt x="2816" y="2808"/>
                    <a:pt x="2816" y="2808"/>
                  </a:cubicBezTo>
                  <a:cubicBezTo>
                    <a:pt x="2815" y="2807"/>
                    <a:pt x="2813" y="2806"/>
                    <a:pt x="2811" y="2805"/>
                  </a:cubicBezTo>
                  <a:cubicBezTo>
                    <a:pt x="2809" y="2804"/>
                    <a:pt x="2807" y="2803"/>
                    <a:pt x="2805" y="2802"/>
                  </a:cubicBezTo>
                  <a:cubicBezTo>
                    <a:pt x="2805" y="2802"/>
                    <a:pt x="2805" y="2802"/>
                    <a:pt x="2805" y="2802"/>
                  </a:cubicBezTo>
                  <a:cubicBezTo>
                    <a:pt x="2804" y="2802"/>
                    <a:pt x="2804" y="2802"/>
                    <a:pt x="2804" y="2802"/>
                  </a:cubicBezTo>
                  <a:cubicBezTo>
                    <a:pt x="2804" y="2802"/>
                    <a:pt x="2804" y="2802"/>
                    <a:pt x="2804" y="2802"/>
                  </a:cubicBezTo>
                  <a:cubicBezTo>
                    <a:pt x="2803" y="2804"/>
                    <a:pt x="2803" y="2804"/>
                    <a:pt x="2803" y="2804"/>
                  </a:cubicBezTo>
                  <a:cubicBezTo>
                    <a:pt x="2804" y="2802"/>
                    <a:pt x="2804" y="2802"/>
                    <a:pt x="2804" y="2802"/>
                  </a:cubicBezTo>
                  <a:cubicBezTo>
                    <a:pt x="2804" y="2802"/>
                    <a:pt x="2804" y="2802"/>
                    <a:pt x="2804" y="2802"/>
                  </a:cubicBezTo>
                  <a:cubicBezTo>
                    <a:pt x="2803" y="2804"/>
                    <a:pt x="2803" y="2804"/>
                    <a:pt x="2803" y="2804"/>
                  </a:cubicBezTo>
                  <a:cubicBezTo>
                    <a:pt x="2804" y="2802"/>
                    <a:pt x="2804" y="2802"/>
                    <a:pt x="2804" y="2802"/>
                  </a:cubicBezTo>
                  <a:cubicBezTo>
                    <a:pt x="2801" y="2808"/>
                    <a:pt x="2801" y="2808"/>
                    <a:pt x="2801" y="2808"/>
                  </a:cubicBezTo>
                  <a:cubicBezTo>
                    <a:pt x="2805" y="2802"/>
                    <a:pt x="2805" y="2802"/>
                    <a:pt x="2805" y="2802"/>
                  </a:cubicBezTo>
                  <a:cubicBezTo>
                    <a:pt x="2804" y="2802"/>
                    <a:pt x="2804" y="2802"/>
                    <a:pt x="2804" y="2802"/>
                  </a:cubicBezTo>
                  <a:cubicBezTo>
                    <a:pt x="2801" y="2808"/>
                    <a:pt x="2801" y="2808"/>
                    <a:pt x="2801" y="2808"/>
                  </a:cubicBezTo>
                  <a:cubicBezTo>
                    <a:pt x="2805" y="2802"/>
                    <a:pt x="2805" y="2802"/>
                    <a:pt x="2805" y="2802"/>
                  </a:cubicBezTo>
                  <a:cubicBezTo>
                    <a:pt x="2800" y="2810"/>
                    <a:pt x="2800" y="2810"/>
                    <a:pt x="2800" y="2810"/>
                  </a:cubicBezTo>
                  <a:cubicBezTo>
                    <a:pt x="2808" y="2806"/>
                    <a:pt x="2808" y="2806"/>
                    <a:pt x="2808" y="2806"/>
                  </a:cubicBezTo>
                  <a:cubicBezTo>
                    <a:pt x="2807" y="2804"/>
                    <a:pt x="2806" y="2803"/>
                    <a:pt x="2805" y="2802"/>
                  </a:cubicBezTo>
                  <a:cubicBezTo>
                    <a:pt x="2800" y="2810"/>
                    <a:pt x="2800" y="2810"/>
                    <a:pt x="2800" y="2810"/>
                  </a:cubicBezTo>
                  <a:cubicBezTo>
                    <a:pt x="2808" y="2806"/>
                    <a:pt x="2808" y="2806"/>
                    <a:pt x="2808" y="2806"/>
                  </a:cubicBezTo>
                  <a:cubicBezTo>
                    <a:pt x="2800" y="2810"/>
                    <a:pt x="2800" y="2810"/>
                    <a:pt x="2800" y="2810"/>
                  </a:cubicBezTo>
                  <a:cubicBezTo>
                    <a:pt x="2809" y="2810"/>
                    <a:pt x="2809" y="2810"/>
                    <a:pt x="2809" y="2810"/>
                  </a:cubicBezTo>
                  <a:cubicBezTo>
                    <a:pt x="2809" y="2809"/>
                    <a:pt x="2809" y="2808"/>
                    <a:pt x="2808" y="2806"/>
                  </a:cubicBezTo>
                  <a:cubicBezTo>
                    <a:pt x="2800" y="2810"/>
                    <a:pt x="2800" y="2810"/>
                    <a:pt x="2800" y="2810"/>
                  </a:cubicBezTo>
                  <a:cubicBezTo>
                    <a:pt x="2809" y="2810"/>
                    <a:pt x="2809" y="2810"/>
                    <a:pt x="2809" y="2810"/>
                  </a:cubicBezTo>
                  <a:cubicBezTo>
                    <a:pt x="2804" y="2810"/>
                    <a:pt x="2804" y="2810"/>
                    <a:pt x="2804" y="2810"/>
                  </a:cubicBezTo>
                  <a:cubicBezTo>
                    <a:pt x="2809" y="2811"/>
                    <a:pt x="2809" y="2811"/>
                    <a:pt x="2809" y="2811"/>
                  </a:cubicBezTo>
                  <a:cubicBezTo>
                    <a:pt x="2809" y="2811"/>
                    <a:pt x="2809" y="2810"/>
                    <a:pt x="2809" y="2810"/>
                  </a:cubicBezTo>
                  <a:cubicBezTo>
                    <a:pt x="2804" y="2810"/>
                    <a:pt x="2804" y="2810"/>
                    <a:pt x="2804" y="2810"/>
                  </a:cubicBezTo>
                  <a:cubicBezTo>
                    <a:pt x="2809" y="2811"/>
                    <a:pt x="2809" y="2811"/>
                    <a:pt x="2809" y="2811"/>
                  </a:cubicBezTo>
                  <a:cubicBezTo>
                    <a:pt x="2809" y="2811"/>
                    <a:pt x="2809" y="2811"/>
                    <a:pt x="2809" y="2811"/>
                  </a:cubicBezTo>
                  <a:cubicBezTo>
                    <a:pt x="2809" y="2811"/>
                    <a:pt x="2809" y="2811"/>
                    <a:pt x="2809" y="2811"/>
                  </a:cubicBezTo>
                  <a:cubicBezTo>
                    <a:pt x="2809" y="2811"/>
                    <a:pt x="2809" y="2811"/>
                    <a:pt x="2809" y="2811"/>
                  </a:cubicBezTo>
                  <a:cubicBezTo>
                    <a:pt x="2809" y="2811"/>
                    <a:pt x="2809" y="2811"/>
                    <a:pt x="2809" y="2811"/>
                  </a:cubicBezTo>
                  <a:cubicBezTo>
                    <a:pt x="2809" y="2811"/>
                    <a:pt x="2809" y="2811"/>
                    <a:pt x="2809" y="2811"/>
                  </a:cubicBezTo>
                  <a:cubicBezTo>
                    <a:pt x="2809" y="2810"/>
                    <a:pt x="2809" y="2810"/>
                    <a:pt x="2809" y="2810"/>
                  </a:cubicBezTo>
                  <a:cubicBezTo>
                    <a:pt x="2809" y="2810"/>
                    <a:pt x="2809" y="2810"/>
                    <a:pt x="2809" y="2810"/>
                  </a:cubicBezTo>
                  <a:cubicBezTo>
                    <a:pt x="2809" y="2810"/>
                    <a:pt x="2809" y="2810"/>
                    <a:pt x="2809" y="2810"/>
                  </a:cubicBezTo>
                  <a:cubicBezTo>
                    <a:pt x="2810" y="2808"/>
                    <a:pt x="2810" y="2805"/>
                    <a:pt x="2810" y="2802"/>
                  </a:cubicBezTo>
                  <a:cubicBezTo>
                    <a:pt x="2810" y="2799"/>
                    <a:pt x="2810" y="2796"/>
                    <a:pt x="2808" y="2792"/>
                  </a:cubicBezTo>
                  <a:cubicBezTo>
                    <a:pt x="2807" y="2789"/>
                    <a:pt x="2805" y="2786"/>
                    <a:pt x="2802" y="2783"/>
                  </a:cubicBezTo>
                  <a:cubicBezTo>
                    <a:pt x="2797" y="2788"/>
                    <a:pt x="2797" y="2788"/>
                    <a:pt x="2797" y="2788"/>
                  </a:cubicBezTo>
                  <a:cubicBezTo>
                    <a:pt x="2804" y="2786"/>
                    <a:pt x="2804" y="2786"/>
                    <a:pt x="2804" y="2786"/>
                  </a:cubicBezTo>
                  <a:cubicBezTo>
                    <a:pt x="2804" y="2785"/>
                    <a:pt x="2804" y="2784"/>
                    <a:pt x="2802" y="2783"/>
                  </a:cubicBezTo>
                  <a:cubicBezTo>
                    <a:pt x="2797" y="2788"/>
                    <a:pt x="2797" y="2788"/>
                    <a:pt x="2797" y="2788"/>
                  </a:cubicBezTo>
                  <a:cubicBezTo>
                    <a:pt x="2804" y="2786"/>
                    <a:pt x="2804" y="2786"/>
                    <a:pt x="2804" y="2786"/>
                  </a:cubicBezTo>
                  <a:cubicBezTo>
                    <a:pt x="2802" y="2786"/>
                    <a:pt x="2802" y="2786"/>
                    <a:pt x="2802" y="2786"/>
                  </a:cubicBezTo>
                  <a:cubicBezTo>
                    <a:pt x="2804" y="2786"/>
                    <a:pt x="2804" y="2786"/>
                    <a:pt x="2804" y="2786"/>
                  </a:cubicBezTo>
                  <a:cubicBezTo>
                    <a:pt x="2804" y="2786"/>
                    <a:pt x="2804" y="2786"/>
                    <a:pt x="2804" y="2786"/>
                  </a:cubicBezTo>
                  <a:cubicBezTo>
                    <a:pt x="2802" y="2786"/>
                    <a:pt x="2802" y="2786"/>
                    <a:pt x="2802" y="2786"/>
                  </a:cubicBezTo>
                  <a:cubicBezTo>
                    <a:pt x="2804" y="2786"/>
                    <a:pt x="2804" y="2786"/>
                    <a:pt x="2804" y="2786"/>
                  </a:cubicBezTo>
                  <a:cubicBezTo>
                    <a:pt x="2804" y="2786"/>
                    <a:pt x="2804" y="2786"/>
                    <a:pt x="2804" y="2786"/>
                  </a:cubicBezTo>
                  <a:cubicBezTo>
                    <a:pt x="2804" y="2786"/>
                    <a:pt x="2804" y="2785"/>
                    <a:pt x="2804" y="2784"/>
                  </a:cubicBezTo>
                  <a:cubicBezTo>
                    <a:pt x="2804" y="2783"/>
                    <a:pt x="2804" y="2781"/>
                    <a:pt x="2804" y="2780"/>
                  </a:cubicBezTo>
                  <a:cubicBezTo>
                    <a:pt x="2804" y="2780"/>
                    <a:pt x="2804" y="2780"/>
                    <a:pt x="2804" y="2780"/>
                  </a:cubicBezTo>
                  <a:cubicBezTo>
                    <a:pt x="2804" y="2780"/>
                    <a:pt x="2804" y="2780"/>
                    <a:pt x="2804" y="2780"/>
                  </a:cubicBezTo>
                  <a:cubicBezTo>
                    <a:pt x="2800" y="2780"/>
                    <a:pt x="2800" y="2780"/>
                    <a:pt x="2800" y="2780"/>
                  </a:cubicBezTo>
                  <a:cubicBezTo>
                    <a:pt x="2804" y="2780"/>
                    <a:pt x="2804" y="2780"/>
                    <a:pt x="2804" y="2780"/>
                  </a:cubicBezTo>
                  <a:cubicBezTo>
                    <a:pt x="2804" y="2780"/>
                    <a:pt x="2804" y="2780"/>
                    <a:pt x="2804" y="2780"/>
                  </a:cubicBezTo>
                  <a:cubicBezTo>
                    <a:pt x="2800" y="2780"/>
                    <a:pt x="2800" y="2780"/>
                    <a:pt x="2800" y="2780"/>
                  </a:cubicBezTo>
                  <a:cubicBezTo>
                    <a:pt x="2804" y="2780"/>
                    <a:pt x="2804" y="2780"/>
                    <a:pt x="2804" y="2780"/>
                  </a:cubicBezTo>
                  <a:cubicBezTo>
                    <a:pt x="2803" y="2780"/>
                    <a:pt x="2803" y="2780"/>
                    <a:pt x="2803" y="2780"/>
                  </a:cubicBezTo>
                  <a:cubicBezTo>
                    <a:pt x="2804" y="2780"/>
                    <a:pt x="2804" y="2780"/>
                    <a:pt x="2804" y="2780"/>
                  </a:cubicBezTo>
                  <a:cubicBezTo>
                    <a:pt x="2804" y="2780"/>
                    <a:pt x="2804" y="2780"/>
                    <a:pt x="2804" y="2780"/>
                  </a:cubicBezTo>
                  <a:cubicBezTo>
                    <a:pt x="2803" y="2780"/>
                    <a:pt x="2803" y="2780"/>
                    <a:pt x="2803" y="2780"/>
                  </a:cubicBezTo>
                  <a:cubicBezTo>
                    <a:pt x="2804" y="2780"/>
                    <a:pt x="2804" y="2780"/>
                    <a:pt x="2804" y="2780"/>
                  </a:cubicBezTo>
                  <a:cubicBezTo>
                    <a:pt x="2804" y="2780"/>
                    <a:pt x="2804" y="2780"/>
                    <a:pt x="2804" y="2780"/>
                  </a:cubicBezTo>
                  <a:cubicBezTo>
                    <a:pt x="2804" y="2780"/>
                    <a:pt x="2804" y="2778"/>
                    <a:pt x="2804" y="2776"/>
                  </a:cubicBezTo>
                  <a:cubicBezTo>
                    <a:pt x="2804" y="2775"/>
                    <a:pt x="2804" y="2774"/>
                    <a:pt x="2803" y="2772"/>
                  </a:cubicBezTo>
                  <a:cubicBezTo>
                    <a:pt x="2803" y="2770"/>
                    <a:pt x="2802" y="2768"/>
                    <a:pt x="2800" y="2765"/>
                  </a:cubicBezTo>
                  <a:cubicBezTo>
                    <a:pt x="2800" y="2765"/>
                    <a:pt x="2800" y="2765"/>
                    <a:pt x="2800" y="2765"/>
                  </a:cubicBezTo>
                  <a:cubicBezTo>
                    <a:pt x="2800" y="2765"/>
                    <a:pt x="2800" y="2765"/>
                    <a:pt x="2800" y="2765"/>
                  </a:cubicBezTo>
                  <a:cubicBezTo>
                    <a:pt x="2799" y="2765"/>
                    <a:pt x="2799" y="2764"/>
                    <a:pt x="2799" y="2763"/>
                  </a:cubicBezTo>
                  <a:cubicBezTo>
                    <a:pt x="2798" y="2762"/>
                    <a:pt x="2798" y="2759"/>
                    <a:pt x="2797" y="2756"/>
                  </a:cubicBezTo>
                  <a:cubicBezTo>
                    <a:pt x="2797" y="2753"/>
                    <a:pt x="2796" y="2749"/>
                    <a:pt x="2794" y="2744"/>
                  </a:cubicBezTo>
                  <a:cubicBezTo>
                    <a:pt x="2794" y="2744"/>
                    <a:pt x="2794" y="2744"/>
                    <a:pt x="2794" y="2744"/>
                  </a:cubicBezTo>
                  <a:cubicBezTo>
                    <a:pt x="2786" y="2748"/>
                    <a:pt x="2786" y="2748"/>
                    <a:pt x="2786" y="2748"/>
                  </a:cubicBezTo>
                  <a:cubicBezTo>
                    <a:pt x="2795" y="2748"/>
                    <a:pt x="2795" y="2748"/>
                    <a:pt x="2795" y="2748"/>
                  </a:cubicBezTo>
                  <a:cubicBezTo>
                    <a:pt x="2795" y="2747"/>
                    <a:pt x="2795" y="2746"/>
                    <a:pt x="2794" y="2744"/>
                  </a:cubicBezTo>
                  <a:cubicBezTo>
                    <a:pt x="2786" y="2748"/>
                    <a:pt x="2786" y="2748"/>
                    <a:pt x="2786" y="2748"/>
                  </a:cubicBezTo>
                  <a:cubicBezTo>
                    <a:pt x="2795" y="2748"/>
                    <a:pt x="2795" y="2748"/>
                    <a:pt x="2795" y="2748"/>
                  </a:cubicBezTo>
                  <a:cubicBezTo>
                    <a:pt x="2788" y="2748"/>
                    <a:pt x="2788" y="2748"/>
                    <a:pt x="2788" y="2748"/>
                  </a:cubicBezTo>
                  <a:cubicBezTo>
                    <a:pt x="2795" y="2749"/>
                    <a:pt x="2795" y="2749"/>
                    <a:pt x="2795" y="2749"/>
                  </a:cubicBezTo>
                  <a:cubicBezTo>
                    <a:pt x="2795" y="2749"/>
                    <a:pt x="2795" y="2749"/>
                    <a:pt x="2795" y="2748"/>
                  </a:cubicBezTo>
                  <a:cubicBezTo>
                    <a:pt x="2788" y="2748"/>
                    <a:pt x="2788" y="2748"/>
                    <a:pt x="2788" y="2748"/>
                  </a:cubicBezTo>
                  <a:cubicBezTo>
                    <a:pt x="2795" y="2749"/>
                    <a:pt x="2795" y="2749"/>
                    <a:pt x="2795" y="2749"/>
                  </a:cubicBezTo>
                  <a:cubicBezTo>
                    <a:pt x="2793" y="2749"/>
                    <a:pt x="2793" y="2749"/>
                    <a:pt x="2793" y="2749"/>
                  </a:cubicBezTo>
                  <a:cubicBezTo>
                    <a:pt x="2795" y="2749"/>
                    <a:pt x="2795" y="2749"/>
                    <a:pt x="2795" y="2749"/>
                  </a:cubicBezTo>
                  <a:cubicBezTo>
                    <a:pt x="2795" y="2749"/>
                    <a:pt x="2795" y="2749"/>
                    <a:pt x="2795" y="2749"/>
                  </a:cubicBezTo>
                  <a:cubicBezTo>
                    <a:pt x="2793" y="2749"/>
                    <a:pt x="2793" y="2749"/>
                    <a:pt x="2793" y="2749"/>
                  </a:cubicBezTo>
                  <a:cubicBezTo>
                    <a:pt x="2795" y="2749"/>
                    <a:pt x="2795" y="2749"/>
                    <a:pt x="2795" y="2749"/>
                  </a:cubicBezTo>
                  <a:cubicBezTo>
                    <a:pt x="2795" y="2749"/>
                    <a:pt x="2795" y="2749"/>
                    <a:pt x="2795" y="2749"/>
                  </a:cubicBezTo>
                  <a:cubicBezTo>
                    <a:pt x="2795" y="2748"/>
                    <a:pt x="2796" y="2747"/>
                    <a:pt x="2796" y="2746"/>
                  </a:cubicBezTo>
                  <a:cubicBezTo>
                    <a:pt x="2796" y="2746"/>
                    <a:pt x="2796" y="2746"/>
                    <a:pt x="2796" y="2746"/>
                  </a:cubicBezTo>
                  <a:cubicBezTo>
                    <a:pt x="2797" y="2745"/>
                    <a:pt x="2798" y="2742"/>
                    <a:pt x="2799" y="2740"/>
                  </a:cubicBezTo>
                  <a:cubicBezTo>
                    <a:pt x="2801" y="2737"/>
                    <a:pt x="2802" y="2733"/>
                    <a:pt x="2803" y="2729"/>
                  </a:cubicBezTo>
                  <a:cubicBezTo>
                    <a:pt x="2803" y="2729"/>
                    <a:pt x="2803" y="2729"/>
                    <a:pt x="2803" y="2729"/>
                  </a:cubicBezTo>
                  <a:cubicBezTo>
                    <a:pt x="2805" y="2718"/>
                    <a:pt x="2805" y="2707"/>
                    <a:pt x="2806" y="2698"/>
                  </a:cubicBezTo>
                  <a:cubicBezTo>
                    <a:pt x="2806" y="2698"/>
                    <a:pt x="2806" y="2698"/>
                    <a:pt x="2806" y="2698"/>
                  </a:cubicBezTo>
                  <a:cubicBezTo>
                    <a:pt x="2806" y="2698"/>
                    <a:pt x="2806" y="2698"/>
                    <a:pt x="2806" y="2698"/>
                  </a:cubicBezTo>
                  <a:cubicBezTo>
                    <a:pt x="2806" y="2695"/>
                    <a:pt x="2806" y="2692"/>
                    <a:pt x="2807" y="2690"/>
                  </a:cubicBezTo>
                  <a:cubicBezTo>
                    <a:pt x="2807" y="2690"/>
                    <a:pt x="2807" y="2690"/>
                    <a:pt x="2807" y="2690"/>
                  </a:cubicBezTo>
                  <a:cubicBezTo>
                    <a:pt x="2809" y="2687"/>
                    <a:pt x="2809" y="2683"/>
                    <a:pt x="2809" y="2679"/>
                  </a:cubicBezTo>
                  <a:cubicBezTo>
                    <a:pt x="2809" y="2676"/>
                    <a:pt x="2809" y="2673"/>
                    <a:pt x="2808" y="2670"/>
                  </a:cubicBezTo>
                  <a:cubicBezTo>
                    <a:pt x="2805" y="2663"/>
                    <a:pt x="2802" y="2656"/>
                    <a:pt x="2796" y="2651"/>
                  </a:cubicBezTo>
                  <a:cubicBezTo>
                    <a:pt x="2791" y="2645"/>
                    <a:pt x="2783" y="2641"/>
                    <a:pt x="2774" y="2639"/>
                  </a:cubicBezTo>
                  <a:cubicBezTo>
                    <a:pt x="2774" y="2639"/>
                    <a:pt x="2773" y="2639"/>
                    <a:pt x="2773" y="2639"/>
                  </a:cubicBezTo>
                  <a:cubicBezTo>
                    <a:pt x="2773" y="2640"/>
                    <a:pt x="2773" y="2640"/>
                    <a:pt x="2773" y="2640"/>
                  </a:cubicBezTo>
                  <a:cubicBezTo>
                    <a:pt x="2773" y="2639"/>
                    <a:pt x="2773" y="2639"/>
                    <a:pt x="2773" y="2639"/>
                  </a:cubicBezTo>
                  <a:cubicBezTo>
                    <a:pt x="2773" y="2639"/>
                    <a:pt x="2773" y="2639"/>
                    <a:pt x="2773" y="2639"/>
                  </a:cubicBezTo>
                  <a:cubicBezTo>
                    <a:pt x="2773" y="2640"/>
                    <a:pt x="2773" y="2640"/>
                    <a:pt x="2773" y="2640"/>
                  </a:cubicBezTo>
                  <a:cubicBezTo>
                    <a:pt x="2773" y="2639"/>
                    <a:pt x="2773" y="2639"/>
                    <a:pt x="2773" y="2639"/>
                  </a:cubicBezTo>
                  <a:cubicBezTo>
                    <a:pt x="2772" y="2642"/>
                    <a:pt x="2772" y="2642"/>
                    <a:pt x="2772" y="2642"/>
                  </a:cubicBezTo>
                  <a:cubicBezTo>
                    <a:pt x="2775" y="2640"/>
                    <a:pt x="2775" y="2640"/>
                    <a:pt x="2775" y="2640"/>
                  </a:cubicBezTo>
                  <a:cubicBezTo>
                    <a:pt x="2773" y="2639"/>
                    <a:pt x="2773" y="2639"/>
                    <a:pt x="2773" y="2639"/>
                  </a:cubicBezTo>
                  <a:cubicBezTo>
                    <a:pt x="2772" y="2642"/>
                    <a:pt x="2772" y="2642"/>
                    <a:pt x="2772" y="2642"/>
                  </a:cubicBezTo>
                  <a:cubicBezTo>
                    <a:pt x="2775" y="2640"/>
                    <a:pt x="2775" y="2640"/>
                    <a:pt x="2775" y="2640"/>
                  </a:cubicBezTo>
                  <a:cubicBezTo>
                    <a:pt x="2773" y="2641"/>
                    <a:pt x="2773" y="2641"/>
                    <a:pt x="2773" y="2641"/>
                  </a:cubicBezTo>
                  <a:cubicBezTo>
                    <a:pt x="2775" y="2640"/>
                    <a:pt x="2775" y="2640"/>
                    <a:pt x="2775" y="2640"/>
                  </a:cubicBezTo>
                  <a:cubicBezTo>
                    <a:pt x="2775" y="2640"/>
                    <a:pt x="2775" y="2640"/>
                    <a:pt x="2775" y="2640"/>
                  </a:cubicBezTo>
                  <a:cubicBezTo>
                    <a:pt x="2773" y="2641"/>
                    <a:pt x="2773" y="2641"/>
                    <a:pt x="2773" y="2641"/>
                  </a:cubicBezTo>
                  <a:cubicBezTo>
                    <a:pt x="2775" y="2640"/>
                    <a:pt x="2775" y="2640"/>
                    <a:pt x="2775" y="2640"/>
                  </a:cubicBezTo>
                  <a:cubicBezTo>
                    <a:pt x="2774" y="2640"/>
                    <a:pt x="2774" y="2640"/>
                    <a:pt x="2774" y="2640"/>
                  </a:cubicBezTo>
                  <a:cubicBezTo>
                    <a:pt x="2775" y="2640"/>
                    <a:pt x="2775" y="2640"/>
                    <a:pt x="2775" y="2640"/>
                  </a:cubicBezTo>
                  <a:cubicBezTo>
                    <a:pt x="2775" y="2640"/>
                    <a:pt x="2775" y="2640"/>
                    <a:pt x="2775" y="2640"/>
                  </a:cubicBezTo>
                  <a:cubicBezTo>
                    <a:pt x="2774" y="2640"/>
                    <a:pt x="2774" y="2640"/>
                    <a:pt x="2774" y="2640"/>
                  </a:cubicBezTo>
                  <a:cubicBezTo>
                    <a:pt x="2775" y="2640"/>
                    <a:pt x="2775" y="2640"/>
                    <a:pt x="2775" y="2640"/>
                  </a:cubicBezTo>
                  <a:cubicBezTo>
                    <a:pt x="2775" y="2640"/>
                    <a:pt x="2775" y="2640"/>
                    <a:pt x="2774" y="2639"/>
                  </a:cubicBezTo>
                  <a:cubicBezTo>
                    <a:pt x="2774" y="2639"/>
                    <a:pt x="2774" y="2639"/>
                    <a:pt x="2774" y="2639"/>
                  </a:cubicBezTo>
                  <a:cubicBezTo>
                    <a:pt x="2773" y="2635"/>
                    <a:pt x="2770" y="2633"/>
                    <a:pt x="2769" y="2631"/>
                  </a:cubicBezTo>
                  <a:cubicBezTo>
                    <a:pt x="2767" y="2629"/>
                    <a:pt x="2765" y="2627"/>
                    <a:pt x="2764" y="2626"/>
                  </a:cubicBezTo>
                  <a:cubicBezTo>
                    <a:pt x="2764" y="2626"/>
                    <a:pt x="2764" y="2626"/>
                    <a:pt x="2764" y="2626"/>
                  </a:cubicBezTo>
                  <a:cubicBezTo>
                    <a:pt x="2763" y="2625"/>
                    <a:pt x="2761" y="2624"/>
                    <a:pt x="2760" y="2624"/>
                  </a:cubicBezTo>
                  <a:cubicBezTo>
                    <a:pt x="2758" y="2623"/>
                    <a:pt x="2757" y="2622"/>
                    <a:pt x="2756" y="2622"/>
                  </a:cubicBezTo>
                  <a:cubicBezTo>
                    <a:pt x="2755" y="2622"/>
                    <a:pt x="2755" y="2622"/>
                    <a:pt x="2755" y="2622"/>
                  </a:cubicBezTo>
                  <a:cubicBezTo>
                    <a:pt x="2755" y="2622"/>
                    <a:pt x="2755" y="2622"/>
                    <a:pt x="2755" y="2622"/>
                  </a:cubicBezTo>
                  <a:cubicBezTo>
                    <a:pt x="2755" y="2622"/>
                    <a:pt x="2755" y="2622"/>
                    <a:pt x="2755" y="2622"/>
                  </a:cubicBezTo>
                  <a:cubicBezTo>
                    <a:pt x="2753" y="2627"/>
                    <a:pt x="2753" y="2627"/>
                    <a:pt x="2753" y="2627"/>
                  </a:cubicBezTo>
                  <a:cubicBezTo>
                    <a:pt x="2756" y="2622"/>
                    <a:pt x="2756" y="2622"/>
                    <a:pt x="2756" y="2622"/>
                  </a:cubicBezTo>
                  <a:cubicBezTo>
                    <a:pt x="2755" y="2622"/>
                    <a:pt x="2755" y="2622"/>
                    <a:pt x="2755" y="2622"/>
                  </a:cubicBezTo>
                  <a:cubicBezTo>
                    <a:pt x="2753" y="2627"/>
                    <a:pt x="2753" y="2627"/>
                    <a:pt x="2753" y="2627"/>
                  </a:cubicBezTo>
                  <a:cubicBezTo>
                    <a:pt x="2756" y="2622"/>
                    <a:pt x="2756" y="2622"/>
                    <a:pt x="2756" y="2622"/>
                  </a:cubicBezTo>
                  <a:cubicBezTo>
                    <a:pt x="2752" y="2630"/>
                    <a:pt x="2752" y="2630"/>
                    <a:pt x="2752" y="2630"/>
                  </a:cubicBezTo>
                  <a:cubicBezTo>
                    <a:pt x="2759" y="2626"/>
                    <a:pt x="2759" y="2626"/>
                    <a:pt x="2759" y="2626"/>
                  </a:cubicBezTo>
                  <a:cubicBezTo>
                    <a:pt x="2758" y="2624"/>
                    <a:pt x="2757" y="2623"/>
                    <a:pt x="2756" y="2622"/>
                  </a:cubicBezTo>
                  <a:cubicBezTo>
                    <a:pt x="2752" y="2630"/>
                    <a:pt x="2752" y="2630"/>
                    <a:pt x="2752" y="2630"/>
                  </a:cubicBezTo>
                  <a:cubicBezTo>
                    <a:pt x="2759" y="2626"/>
                    <a:pt x="2759" y="2626"/>
                    <a:pt x="2759" y="2626"/>
                  </a:cubicBezTo>
                  <a:cubicBezTo>
                    <a:pt x="2753" y="2629"/>
                    <a:pt x="2753" y="2629"/>
                    <a:pt x="2753" y="2629"/>
                  </a:cubicBezTo>
                  <a:cubicBezTo>
                    <a:pt x="2760" y="2629"/>
                    <a:pt x="2760" y="2629"/>
                    <a:pt x="2760" y="2629"/>
                  </a:cubicBezTo>
                  <a:cubicBezTo>
                    <a:pt x="2760" y="2629"/>
                    <a:pt x="2760" y="2627"/>
                    <a:pt x="2759" y="2626"/>
                  </a:cubicBezTo>
                  <a:cubicBezTo>
                    <a:pt x="2753" y="2629"/>
                    <a:pt x="2753" y="2629"/>
                    <a:pt x="2753" y="2629"/>
                  </a:cubicBezTo>
                  <a:cubicBezTo>
                    <a:pt x="2760" y="2629"/>
                    <a:pt x="2760" y="2629"/>
                    <a:pt x="2760" y="2629"/>
                  </a:cubicBezTo>
                  <a:cubicBezTo>
                    <a:pt x="2755" y="2629"/>
                    <a:pt x="2755" y="2629"/>
                    <a:pt x="2755" y="2629"/>
                  </a:cubicBezTo>
                  <a:cubicBezTo>
                    <a:pt x="2760" y="2629"/>
                    <a:pt x="2760" y="2629"/>
                    <a:pt x="2760" y="2629"/>
                  </a:cubicBezTo>
                  <a:cubicBezTo>
                    <a:pt x="2760" y="2629"/>
                    <a:pt x="2760" y="2629"/>
                    <a:pt x="2760" y="2629"/>
                  </a:cubicBezTo>
                  <a:cubicBezTo>
                    <a:pt x="2755" y="2629"/>
                    <a:pt x="2755" y="2629"/>
                    <a:pt x="2755" y="2629"/>
                  </a:cubicBezTo>
                  <a:cubicBezTo>
                    <a:pt x="2760" y="2629"/>
                    <a:pt x="2760" y="2629"/>
                    <a:pt x="2760" y="2629"/>
                  </a:cubicBezTo>
                  <a:cubicBezTo>
                    <a:pt x="2760" y="2629"/>
                    <a:pt x="2760" y="2629"/>
                    <a:pt x="2760" y="2629"/>
                  </a:cubicBezTo>
                  <a:cubicBezTo>
                    <a:pt x="2760" y="2625"/>
                    <a:pt x="2760" y="2622"/>
                    <a:pt x="2761" y="2620"/>
                  </a:cubicBezTo>
                  <a:cubicBezTo>
                    <a:pt x="2761" y="2620"/>
                    <a:pt x="2761" y="2620"/>
                    <a:pt x="2761" y="2620"/>
                  </a:cubicBezTo>
                  <a:cubicBezTo>
                    <a:pt x="2761" y="2620"/>
                    <a:pt x="2761" y="2620"/>
                    <a:pt x="2761" y="2620"/>
                  </a:cubicBezTo>
                  <a:cubicBezTo>
                    <a:pt x="2762" y="2614"/>
                    <a:pt x="2764" y="2607"/>
                    <a:pt x="2765" y="2600"/>
                  </a:cubicBezTo>
                  <a:cubicBezTo>
                    <a:pt x="2765" y="2600"/>
                    <a:pt x="2765" y="2600"/>
                    <a:pt x="2765" y="2600"/>
                  </a:cubicBezTo>
                  <a:cubicBezTo>
                    <a:pt x="2765" y="2599"/>
                    <a:pt x="2765" y="2599"/>
                    <a:pt x="2765" y="2599"/>
                  </a:cubicBezTo>
                  <a:cubicBezTo>
                    <a:pt x="2765" y="2599"/>
                    <a:pt x="2765" y="2599"/>
                    <a:pt x="2765" y="2599"/>
                  </a:cubicBezTo>
                  <a:cubicBezTo>
                    <a:pt x="2764" y="2599"/>
                    <a:pt x="2764" y="2599"/>
                    <a:pt x="2764" y="2599"/>
                  </a:cubicBezTo>
                  <a:cubicBezTo>
                    <a:pt x="2765" y="2599"/>
                    <a:pt x="2765" y="2599"/>
                    <a:pt x="2765" y="2599"/>
                  </a:cubicBezTo>
                  <a:cubicBezTo>
                    <a:pt x="2765" y="2599"/>
                    <a:pt x="2765" y="2599"/>
                    <a:pt x="2765" y="2599"/>
                  </a:cubicBezTo>
                  <a:cubicBezTo>
                    <a:pt x="2764" y="2599"/>
                    <a:pt x="2764" y="2599"/>
                    <a:pt x="2764" y="2599"/>
                  </a:cubicBezTo>
                  <a:cubicBezTo>
                    <a:pt x="2765" y="2599"/>
                    <a:pt x="2765" y="2599"/>
                    <a:pt x="2765" y="2599"/>
                  </a:cubicBezTo>
                  <a:cubicBezTo>
                    <a:pt x="2759" y="2598"/>
                    <a:pt x="2759" y="2598"/>
                    <a:pt x="2759" y="2598"/>
                  </a:cubicBezTo>
                  <a:cubicBezTo>
                    <a:pt x="2765" y="2600"/>
                    <a:pt x="2765" y="2600"/>
                    <a:pt x="2765" y="2600"/>
                  </a:cubicBezTo>
                  <a:cubicBezTo>
                    <a:pt x="2765" y="2600"/>
                    <a:pt x="2765" y="2599"/>
                    <a:pt x="2765" y="2599"/>
                  </a:cubicBezTo>
                  <a:cubicBezTo>
                    <a:pt x="2759" y="2598"/>
                    <a:pt x="2759" y="2598"/>
                    <a:pt x="2759" y="2598"/>
                  </a:cubicBezTo>
                  <a:cubicBezTo>
                    <a:pt x="2765" y="2600"/>
                    <a:pt x="2765" y="2600"/>
                    <a:pt x="2765" y="2600"/>
                  </a:cubicBezTo>
                  <a:cubicBezTo>
                    <a:pt x="2757" y="2597"/>
                    <a:pt x="2757" y="2597"/>
                    <a:pt x="2757" y="2597"/>
                  </a:cubicBezTo>
                  <a:cubicBezTo>
                    <a:pt x="2762" y="2604"/>
                    <a:pt x="2762" y="2604"/>
                    <a:pt x="2762" y="2604"/>
                  </a:cubicBezTo>
                  <a:cubicBezTo>
                    <a:pt x="2763" y="2603"/>
                    <a:pt x="2764" y="2602"/>
                    <a:pt x="2765" y="2600"/>
                  </a:cubicBezTo>
                  <a:cubicBezTo>
                    <a:pt x="2757" y="2597"/>
                    <a:pt x="2757" y="2597"/>
                    <a:pt x="2757" y="2597"/>
                  </a:cubicBezTo>
                  <a:cubicBezTo>
                    <a:pt x="2762" y="2604"/>
                    <a:pt x="2762" y="2604"/>
                    <a:pt x="2762" y="2604"/>
                  </a:cubicBezTo>
                  <a:cubicBezTo>
                    <a:pt x="2758" y="2598"/>
                    <a:pt x="2758" y="2598"/>
                    <a:pt x="2758" y="2598"/>
                  </a:cubicBezTo>
                  <a:cubicBezTo>
                    <a:pt x="2761" y="2604"/>
                    <a:pt x="2761" y="2604"/>
                    <a:pt x="2761" y="2604"/>
                  </a:cubicBezTo>
                  <a:cubicBezTo>
                    <a:pt x="2761" y="2604"/>
                    <a:pt x="2761" y="2604"/>
                    <a:pt x="2762" y="2604"/>
                  </a:cubicBezTo>
                  <a:cubicBezTo>
                    <a:pt x="2758" y="2598"/>
                    <a:pt x="2758" y="2598"/>
                    <a:pt x="2758" y="2598"/>
                  </a:cubicBezTo>
                  <a:cubicBezTo>
                    <a:pt x="2761" y="2604"/>
                    <a:pt x="2761" y="2604"/>
                    <a:pt x="2761" y="2604"/>
                  </a:cubicBezTo>
                  <a:cubicBezTo>
                    <a:pt x="2759" y="2601"/>
                    <a:pt x="2759" y="2601"/>
                    <a:pt x="2759" y="2601"/>
                  </a:cubicBezTo>
                  <a:cubicBezTo>
                    <a:pt x="2761" y="2605"/>
                    <a:pt x="2761" y="2605"/>
                    <a:pt x="2761" y="2605"/>
                  </a:cubicBezTo>
                  <a:cubicBezTo>
                    <a:pt x="2761" y="2604"/>
                    <a:pt x="2761" y="2604"/>
                    <a:pt x="2761" y="2604"/>
                  </a:cubicBezTo>
                  <a:cubicBezTo>
                    <a:pt x="2759" y="2601"/>
                    <a:pt x="2759" y="2601"/>
                    <a:pt x="2759" y="2601"/>
                  </a:cubicBezTo>
                  <a:cubicBezTo>
                    <a:pt x="2761" y="2605"/>
                    <a:pt x="2761" y="2605"/>
                    <a:pt x="2761" y="2605"/>
                  </a:cubicBezTo>
                  <a:cubicBezTo>
                    <a:pt x="2761" y="2605"/>
                    <a:pt x="2761" y="2605"/>
                    <a:pt x="2761" y="2605"/>
                  </a:cubicBezTo>
                  <a:cubicBezTo>
                    <a:pt x="2761" y="2605"/>
                    <a:pt x="2761" y="2605"/>
                    <a:pt x="2761" y="2605"/>
                  </a:cubicBezTo>
                  <a:cubicBezTo>
                    <a:pt x="2761" y="2605"/>
                    <a:pt x="2761" y="2605"/>
                    <a:pt x="2761" y="2605"/>
                  </a:cubicBezTo>
                  <a:cubicBezTo>
                    <a:pt x="2761" y="2605"/>
                    <a:pt x="2761" y="2605"/>
                    <a:pt x="2761" y="2605"/>
                  </a:cubicBezTo>
                  <a:cubicBezTo>
                    <a:pt x="2761" y="2605"/>
                    <a:pt x="2761" y="2605"/>
                    <a:pt x="2761" y="2605"/>
                  </a:cubicBezTo>
                  <a:cubicBezTo>
                    <a:pt x="2766" y="2603"/>
                    <a:pt x="2771" y="2600"/>
                    <a:pt x="2775" y="2595"/>
                  </a:cubicBezTo>
                  <a:cubicBezTo>
                    <a:pt x="2777" y="2593"/>
                    <a:pt x="2778" y="2590"/>
                    <a:pt x="2779" y="2587"/>
                  </a:cubicBezTo>
                  <a:cubicBezTo>
                    <a:pt x="2780" y="2584"/>
                    <a:pt x="2780" y="2581"/>
                    <a:pt x="2780" y="2579"/>
                  </a:cubicBezTo>
                  <a:cubicBezTo>
                    <a:pt x="2780" y="2575"/>
                    <a:pt x="2780" y="2572"/>
                    <a:pt x="2779" y="2569"/>
                  </a:cubicBezTo>
                  <a:cubicBezTo>
                    <a:pt x="2779" y="2569"/>
                    <a:pt x="2779" y="2569"/>
                    <a:pt x="2779" y="2569"/>
                  </a:cubicBezTo>
                  <a:cubicBezTo>
                    <a:pt x="2778" y="2566"/>
                    <a:pt x="2777" y="2565"/>
                    <a:pt x="2777" y="2563"/>
                  </a:cubicBezTo>
                  <a:cubicBezTo>
                    <a:pt x="2777" y="2563"/>
                    <a:pt x="2776" y="2562"/>
                    <a:pt x="2776" y="2562"/>
                  </a:cubicBezTo>
                  <a:cubicBezTo>
                    <a:pt x="2776" y="2562"/>
                    <a:pt x="2776" y="2562"/>
                    <a:pt x="2776" y="2562"/>
                  </a:cubicBezTo>
                  <a:cubicBezTo>
                    <a:pt x="2776" y="2562"/>
                    <a:pt x="2776" y="2562"/>
                    <a:pt x="2776" y="2562"/>
                  </a:cubicBezTo>
                  <a:cubicBezTo>
                    <a:pt x="2776" y="2562"/>
                    <a:pt x="2776" y="2562"/>
                    <a:pt x="2776" y="2562"/>
                  </a:cubicBezTo>
                  <a:cubicBezTo>
                    <a:pt x="2776" y="2561"/>
                    <a:pt x="2776" y="2560"/>
                    <a:pt x="2776" y="2560"/>
                  </a:cubicBezTo>
                  <a:cubicBezTo>
                    <a:pt x="2776" y="2559"/>
                    <a:pt x="2776" y="2558"/>
                    <a:pt x="2776" y="2557"/>
                  </a:cubicBezTo>
                  <a:cubicBezTo>
                    <a:pt x="2777" y="2554"/>
                    <a:pt x="2778" y="2551"/>
                    <a:pt x="2779" y="2548"/>
                  </a:cubicBezTo>
                  <a:cubicBezTo>
                    <a:pt x="2779" y="2548"/>
                    <a:pt x="2779" y="2548"/>
                    <a:pt x="2779" y="2548"/>
                  </a:cubicBezTo>
                  <a:cubicBezTo>
                    <a:pt x="2779" y="2548"/>
                    <a:pt x="2779" y="2548"/>
                    <a:pt x="2779" y="2548"/>
                  </a:cubicBezTo>
                  <a:cubicBezTo>
                    <a:pt x="2781" y="2542"/>
                    <a:pt x="2783" y="2537"/>
                    <a:pt x="2786" y="2533"/>
                  </a:cubicBezTo>
                  <a:cubicBezTo>
                    <a:pt x="2786" y="2533"/>
                    <a:pt x="2786" y="2533"/>
                    <a:pt x="2786" y="2533"/>
                  </a:cubicBezTo>
                  <a:cubicBezTo>
                    <a:pt x="2787" y="2531"/>
                    <a:pt x="2788" y="2529"/>
                    <a:pt x="2788" y="2526"/>
                  </a:cubicBezTo>
                  <a:cubicBezTo>
                    <a:pt x="2789" y="2524"/>
                    <a:pt x="2789" y="2521"/>
                    <a:pt x="2789" y="2519"/>
                  </a:cubicBezTo>
                  <a:cubicBezTo>
                    <a:pt x="2789" y="2514"/>
                    <a:pt x="2788" y="2510"/>
                    <a:pt x="2787" y="2507"/>
                  </a:cubicBezTo>
                  <a:cubicBezTo>
                    <a:pt x="2785" y="2504"/>
                    <a:pt x="2784" y="2501"/>
                    <a:pt x="2783" y="2498"/>
                  </a:cubicBezTo>
                  <a:cubicBezTo>
                    <a:pt x="2783" y="2496"/>
                    <a:pt x="2782" y="2494"/>
                    <a:pt x="2782" y="2493"/>
                  </a:cubicBezTo>
                  <a:cubicBezTo>
                    <a:pt x="2782" y="2492"/>
                    <a:pt x="2782" y="2492"/>
                    <a:pt x="2783" y="2491"/>
                  </a:cubicBezTo>
                  <a:cubicBezTo>
                    <a:pt x="2783" y="2490"/>
                    <a:pt x="2784" y="2489"/>
                    <a:pt x="2785" y="2488"/>
                  </a:cubicBezTo>
                  <a:cubicBezTo>
                    <a:pt x="2787" y="2486"/>
                    <a:pt x="2789" y="2484"/>
                    <a:pt x="2790" y="2481"/>
                  </a:cubicBezTo>
                  <a:cubicBezTo>
                    <a:pt x="2791" y="2479"/>
                    <a:pt x="2792" y="2476"/>
                    <a:pt x="2792" y="2473"/>
                  </a:cubicBezTo>
                  <a:cubicBezTo>
                    <a:pt x="2792" y="2470"/>
                    <a:pt x="2792" y="2468"/>
                    <a:pt x="2791" y="2467"/>
                  </a:cubicBezTo>
                  <a:cubicBezTo>
                    <a:pt x="2790" y="2464"/>
                    <a:pt x="2789" y="2461"/>
                    <a:pt x="2787" y="2460"/>
                  </a:cubicBezTo>
                  <a:cubicBezTo>
                    <a:pt x="2785" y="2458"/>
                    <a:pt x="2784" y="2456"/>
                    <a:pt x="2782" y="2455"/>
                  </a:cubicBezTo>
                  <a:cubicBezTo>
                    <a:pt x="2782" y="2455"/>
                    <a:pt x="2782" y="2455"/>
                    <a:pt x="2782" y="2455"/>
                  </a:cubicBezTo>
                  <a:cubicBezTo>
                    <a:pt x="2781" y="2455"/>
                    <a:pt x="2781" y="2455"/>
                    <a:pt x="2781" y="2455"/>
                  </a:cubicBezTo>
                  <a:cubicBezTo>
                    <a:pt x="2781" y="2455"/>
                    <a:pt x="2781" y="2455"/>
                    <a:pt x="2781" y="2455"/>
                  </a:cubicBezTo>
                  <a:cubicBezTo>
                    <a:pt x="2778" y="2458"/>
                    <a:pt x="2778" y="2458"/>
                    <a:pt x="2778" y="2458"/>
                  </a:cubicBezTo>
                  <a:cubicBezTo>
                    <a:pt x="2782" y="2456"/>
                    <a:pt x="2782" y="2456"/>
                    <a:pt x="2782" y="2456"/>
                  </a:cubicBezTo>
                  <a:cubicBezTo>
                    <a:pt x="2782" y="2455"/>
                    <a:pt x="2781" y="2455"/>
                    <a:pt x="2781" y="2455"/>
                  </a:cubicBezTo>
                  <a:cubicBezTo>
                    <a:pt x="2778" y="2458"/>
                    <a:pt x="2778" y="2458"/>
                    <a:pt x="2778" y="2458"/>
                  </a:cubicBezTo>
                  <a:cubicBezTo>
                    <a:pt x="2782" y="2456"/>
                    <a:pt x="2782" y="2456"/>
                    <a:pt x="2782" y="2456"/>
                  </a:cubicBezTo>
                  <a:cubicBezTo>
                    <a:pt x="2775" y="2460"/>
                    <a:pt x="2775" y="2460"/>
                    <a:pt x="2775" y="2460"/>
                  </a:cubicBezTo>
                  <a:cubicBezTo>
                    <a:pt x="2783" y="2460"/>
                    <a:pt x="2783" y="2460"/>
                    <a:pt x="2783" y="2460"/>
                  </a:cubicBezTo>
                  <a:cubicBezTo>
                    <a:pt x="2783" y="2458"/>
                    <a:pt x="2783" y="2457"/>
                    <a:pt x="2782" y="2456"/>
                  </a:cubicBezTo>
                  <a:cubicBezTo>
                    <a:pt x="2775" y="2460"/>
                    <a:pt x="2775" y="2460"/>
                    <a:pt x="2775" y="2460"/>
                  </a:cubicBezTo>
                  <a:cubicBezTo>
                    <a:pt x="2783" y="2460"/>
                    <a:pt x="2783" y="2460"/>
                    <a:pt x="2783" y="2460"/>
                  </a:cubicBezTo>
                  <a:cubicBezTo>
                    <a:pt x="2774" y="2460"/>
                    <a:pt x="2774" y="2460"/>
                    <a:pt x="2774" y="2460"/>
                  </a:cubicBezTo>
                  <a:cubicBezTo>
                    <a:pt x="2783" y="2463"/>
                    <a:pt x="2783" y="2463"/>
                    <a:pt x="2783" y="2463"/>
                  </a:cubicBezTo>
                  <a:cubicBezTo>
                    <a:pt x="2783" y="2462"/>
                    <a:pt x="2783" y="2461"/>
                    <a:pt x="2783" y="2460"/>
                  </a:cubicBezTo>
                  <a:cubicBezTo>
                    <a:pt x="2774" y="2460"/>
                    <a:pt x="2774" y="2460"/>
                    <a:pt x="2774" y="2460"/>
                  </a:cubicBezTo>
                  <a:cubicBezTo>
                    <a:pt x="2783" y="2463"/>
                    <a:pt x="2783" y="2463"/>
                    <a:pt x="2783" y="2463"/>
                  </a:cubicBezTo>
                  <a:cubicBezTo>
                    <a:pt x="2776" y="2461"/>
                    <a:pt x="2776" y="2461"/>
                    <a:pt x="2776" y="2461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82" y="2466"/>
                    <a:pt x="2782" y="2465"/>
                    <a:pt x="2783" y="2463"/>
                  </a:cubicBezTo>
                  <a:cubicBezTo>
                    <a:pt x="2776" y="2461"/>
                    <a:pt x="2776" y="2461"/>
                    <a:pt x="2776" y="2461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78" y="2463"/>
                    <a:pt x="2778" y="2463"/>
                    <a:pt x="2778" y="2463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78" y="2463"/>
                    <a:pt x="2778" y="2463"/>
                    <a:pt x="2778" y="2463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79" y="2465"/>
                    <a:pt x="2779" y="2465"/>
                    <a:pt x="2779" y="2465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79" y="2465"/>
                    <a:pt x="2779" y="2465"/>
                    <a:pt x="2779" y="2465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80" y="2466"/>
                    <a:pt x="2780" y="2466"/>
                    <a:pt x="2780" y="2466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80" y="2466"/>
                    <a:pt x="2780" y="2466"/>
                    <a:pt x="2780" y="2466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81" y="2466"/>
                    <a:pt x="2781" y="2466"/>
                    <a:pt x="2781" y="2466"/>
                  </a:cubicBezTo>
                  <a:cubicBezTo>
                    <a:pt x="2785" y="2464"/>
                    <a:pt x="2788" y="2461"/>
                    <a:pt x="2790" y="2457"/>
                  </a:cubicBezTo>
                  <a:cubicBezTo>
                    <a:pt x="2791" y="2454"/>
                    <a:pt x="2792" y="2451"/>
                    <a:pt x="2793" y="2448"/>
                  </a:cubicBezTo>
                  <a:cubicBezTo>
                    <a:pt x="2796" y="2439"/>
                    <a:pt x="2798" y="2430"/>
                    <a:pt x="2802" y="2423"/>
                  </a:cubicBezTo>
                  <a:cubicBezTo>
                    <a:pt x="2802" y="2423"/>
                    <a:pt x="2802" y="2423"/>
                    <a:pt x="2802" y="2423"/>
                  </a:cubicBezTo>
                  <a:cubicBezTo>
                    <a:pt x="2804" y="2420"/>
                    <a:pt x="2805" y="2418"/>
                    <a:pt x="2805" y="2416"/>
                  </a:cubicBezTo>
                  <a:cubicBezTo>
                    <a:pt x="2805" y="2413"/>
                    <a:pt x="2805" y="2412"/>
                    <a:pt x="2805" y="2410"/>
                  </a:cubicBezTo>
                  <a:cubicBezTo>
                    <a:pt x="2805" y="2409"/>
                    <a:pt x="2805" y="2408"/>
                    <a:pt x="2805" y="2407"/>
                  </a:cubicBezTo>
                  <a:cubicBezTo>
                    <a:pt x="2805" y="2406"/>
                    <a:pt x="2805" y="2405"/>
                    <a:pt x="2805" y="2405"/>
                  </a:cubicBezTo>
                  <a:cubicBezTo>
                    <a:pt x="2805" y="2405"/>
                    <a:pt x="2805" y="2404"/>
                    <a:pt x="2805" y="2404"/>
                  </a:cubicBezTo>
                  <a:cubicBezTo>
                    <a:pt x="2805" y="2404"/>
                    <a:pt x="2805" y="2404"/>
                    <a:pt x="2805" y="2404"/>
                  </a:cubicBezTo>
                  <a:cubicBezTo>
                    <a:pt x="2806" y="2404"/>
                    <a:pt x="2807" y="2402"/>
                    <a:pt x="2808" y="2399"/>
                  </a:cubicBezTo>
                  <a:cubicBezTo>
                    <a:pt x="2809" y="2396"/>
                    <a:pt x="2811" y="2393"/>
                    <a:pt x="2812" y="2387"/>
                  </a:cubicBezTo>
                  <a:cubicBezTo>
                    <a:pt x="2813" y="2376"/>
                    <a:pt x="2813" y="2365"/>
                    <a:pt x="2814" y="2356"/>
                  </a:cubicBezTo>
                  <a:cubicBezTo>
                    <a:pt x="2814" y="2352"/>
                    <a:pt x="2815" y="2348"/>
                    <a:pt x="2815" y="2344"/>
                  </a:cubicBezTo>
                  <a:cubicBezTo>
                    <a:pt x="2816" y="2341"/>
                    <a:pt x="2816" y="2338"/>
                    <a:pt x="2817" y="2335"/>
                  </a:cubicBezTo>
                  <a:cubicBezTo>
                    <a:pt x="2817" y="2335"/>
                    <a:pt x="2817" y="2335"/>
                    <a:pt x="2817" y="2335"/>
                  </a:cubicBezTo>
                  <a:cubicBezTo>
                    <a:pt x="2820" y="2329"/>
                    <a:pt x="2821" y="2323"/>
                    <a:pt x="2822" y="2317"/>
                  </a:cubicBezTo>
                  <a:cubicBezTo>
                    <a:pt x="2822" y="2312"/>
                    <a:pt x="2823" y="2306"/>
                    <a:pt x="2823" y="2301"/>
                  </a:cubicBezTo>
                  <a:cubicBezTo>
                    <a:pt x="2823" y="2301"/>
                    <a:pt x="2823" y="2301"/>
                    <a:pt x="2823" y="2301"/>
                  </a:cubicBezTo>
                  <a:cubicBezTo>
                    <a:pt x="2823" y="2301"/>
                    <a:pt x="2823" y="2300"/>
                    <a:pt x="2824" y="2298"/>
                  </a:cubicBezTo>
                  <a:cubicBezTo>
                    <a:pt x="2824" y="2296"/>
                    <a:pt x="2825" y="2293"/>
                    <a:pt x="2825" y="2290"/>
                  </a:cubicBezTo>
                  <a:cubicBezTo>
                    <a:pt x="2825" y="2288"/>
                    <a:pt x="2824" y="2286"/>
                    <a:pt x="2824" y="2283"/>
                  </a:cubicBezTo>
                  <a:cubicBezTo>
                    <a:pt x="2824" y="2283"/>
                    <a:pt x="2824" y="2283"/>
                    <a:pt x="2824" y="2283"/>
                  </a:cubicBezTo>
                  <a:cubicBezTo>
                    <a:pt x="2823" y="2282"/>
                    <a:pt x="2823" y="2282"/>
                    <a:pt x="2823" y="2281"/>
                  </a:cubicBezTo>
                  <a:cubicBezTo>
                    <a:pt x="2823" y="2280"/>
                    <a:pt x="2823" y="2279"/>
                    <a:pt x="2824" y="2278"/>
                  </a:cubicBezTo>
                  <a:cubicBezTo>
                    <a:pt x="2824" y="2276"/>
                    <a:pt x="2825" y="2275"/>
                    <a:pt x="2826" y="2272"/>
                  </a:cubicBezTo>
                  <a:cubicBezTo>
                    <a:pt x="2826" y="2272"/>
                    <a:pt x="2826" y="2272"/>
                    <a:pt x="2826" y="2272"/>
                  </a:cubicBezTo>
                  <a:cubicBezTo>
                    <a:pt x="2828" y="2269"/>
                    <a:pt x="2829" y="2266"/>
                    <a:pt x="2830" y="2262"/>
                  </a:cubicBezTo>
                  <a:cubicBezTo>
                    <a:pt x="2831" y="2258"/>
                    <a:pt x="2832" y="2254"/>
                    <a:pt x="2832" y="2250"/>
                  </a:cubicBezTo>
                  <a:cubicBezTo>
                    <a:pt x="2832" y="2245"/>
                    <a:pt x="2831" y="2240"/>
                    <a:pt x="2829" y="2235"/>
                  </a:cubicBezTo>
                  <a:cubicBezTo>
                    <a:pt x="2829" y="2235"/>
                    <a:pt x="2829" y="2235"/>
                    <a:pt x="2829" y="2235"/>
                  </a:cubicBezTo>
                  <a:cubicBezTo>
                    <a:pt x="2829" y="2235"/>
                    <a:pt x="2829" y="2235"/>
                    <a:pt x="2829" y="2235"/>
                  </a:cubicBezTo>
                  <a:cubicBezTo>
                    <a:pt x="2828" y="2235"/>
                    <a:pt x="2828" y="2235"/>
                    <a:pt x="2828" y="2235"/>
                  </a:cubicBezTo>
                  <a:cubicBezTo>
                    <a:pt x="2829" y="2235"/>
                    <a:pt x="2829" y="2235"/>
                    <a:pt x="2829" y="2235"/>
                  </a:cubicBezTo>
                  <a:cubicBezTo>
                    <a:pt x="2829" y="2235"/>
                    <a:pt x="2829" y="2235"/>
                    <a:pt x="2829" y="2235"/>
                  </a:cubicBezTo>
                  <a:cubicBezTo>
                    <a:pt x="2828" y="2235"/>
                    <a:pt x="2828" y="2235"/>
                    <a:pt x="2828" y="2235"/>
                  </a:cubicBezTo>
                  <a:cubicBezTo>
                    <a:pt x="2829" y="2235"/>
                    <a:pt x="2829" y="2235"/>
                    <a:pt x="2829" y="2235"/>
                  </a:cubicBezTo>
                  <a:cubicBezTo>
                    <a:pt x="2826" y="2236"/>
                    <a:pt x="2826" y="2236"/>
                    <a:pt x="2826" y="2236"/>
                  </a:cubicBezTo>
                  <a:cubicBezTo>
                    <a:pt x="2829" y="2236"/>
                    <a:pt x="2829" y="2236"/>
                    <a:pt x="2829" y="2236"/>
                  </a:cubicBezTo>
                  <a:cubicBezTo>
                    <a:pt x="2829" y="2235"/>
                    <a:pt x="2829" y="2235"/>
                    <a:pt x="2829" y="2235"/>
                  </a:cubicBezTo>
                  <a:cubicBezTo>
                    <a:pt x="2826" y="2236"/>
                    <a:pt x="2826" y="2236"/>
                    <a:pt x="2826" y="2236"/>
                  </a:cubicBezTo>
                  <a:cubicBezTo>
                    <a:pt x="2829" y="2236"/>
                    <a:pt x="2829" y="2236"/>
                    <a:pt x="2829" y="2236"/>
                  </a:cubicBezTo>
                  <a:cubicBezTo>
                    <a:pt x="2825" y="2236"/>
                    <a:pt x="2825" y="2236"/>
                    <a:pt x="2825" y="2236"/>
                  </a:cubicBezTo>
                  <a:cubicBezTo>
                    <a:pt x="2829" y="2238"/>
                    <a:pt x="2829" y="2238"/>
                    <a:pt x="2829" y="2238"/>
                  </a:cubicBezTo>
                  <a:cubicBezTo>
                    <a:pt x="2829" y="2237"/>
                    <a:pt x="2829" y="2236"/>
                    <a:pt x="2829" y="2236"/>
                  </a:cubicBezTo>
                  <a:cubicBezTo>
                    <a:pt x="2825" y="2236"/>
                    <a:pt x="2825" y="2236"/>
                    <a:pt x="2825" y="2236"/>
                  </a:cubicBezTo>
                  <a:cubicBezTo>
                    <a:pt x="2829" y="2238"/>
                    <a:pt x="2829" y="2238"/>
                    <a:pt x="2829" y="2238"/>
                  </a:cubicBezTo>
                  <a:cubicBezTo>
                    <a:pt x="2825" y="2236"/>
                    <a:pt x="2825" y="2236"/>
                    <a:pt x="2825" y="2236"/>
                  </a:cubicBezTo>
                  <a:cubicBezTo>
                    <a:pt x="2827" y="2240"/>
                    <a:pt x="2827" y="2240"/>
                    <a:pt x="2827" y="2240"/>
                  </a:cubicBezTo>
                  <a:cubicBezTo>
                    <a:pt x="2828" y="2239"/>
                    <a:pt x="2828" y="2239"/>
                    <a:pt x="2829" y="2238"/>
                  </a:cubicBezTo>
                  <a:cubicBezTo>
                    <a:pt x="2825" y="2236"/>
                    <a:pt x="2825" y="2236"/>
                    <a:pt x="2825" y="2236"/>
                  </a:cubicBezTo>
                  <a:cubicBezTo>
                    <a:pt x="2827" y="2240"/>
                    <a:pt x="2827" y="2240"/>
                    <a:pt x="2827" y="2240"/>
                  </a:cubicBezTo>
                  <a:cubicBezTo>
                    <a:pt x="2827" y="2239"/>
                    <a:pt x="2827" y="2239"/>
                    <a:pt x="2827" y="2239"/>
                  </a:cubicBezTo>
                  <a:cubicBezTo>
                    <a:pt x="2827" y="2240"/>
                    <a:pt x="2827" y="2240"/>
                    <a:pt x="2827" y="2240"/>
                  </a:cubicBezTo>
                  <a:cubicBezTo>
                    <a:pt x="2827" y="2240"/>
                    <a:pt x="2827" y="2240"/>
                    <a:pt x="2827" y="2240"/>
                  </a:cubicBezTo>
                  <a:cubicBezTo>
                    <a:pt x="2827" y="2239"/>
                    <a:pt x="2827" y="2239"/>
                    <a:pt x="2827" y="2239"/>
                  </a:cubicBezTo>
                  <a:cubicBezTo>
                    <a:pt x="2827" y="2240"/>
                    <a:pt x="2827" y="2240"/>
                    <a:pt x="2827" y="2240"/>
                  </a:cubicBezTo>
                  <a:cubicBezTo>
                    <a:pt x="2827" y="2240"/>
                    <a:pt x="2827" y="2240"/>
                    <a:pt x="2827" y="2240"/>
                  </a:cubicBezTo>
                  <a:cubicBezTo>
                    <a:pt x="2827" y="2239"/>
                    <a:pt x="2828" y="2239"/>
                    <a:pt x="2828" y="2239"/>
                  </a:cubicBezTo>
                  <a:cubicBezTo>
                    <a:pt x="2828" y="2239"/>
                    <a:pt x="2828" y="2239"/>
                    <a:pt x="2828" y="2239"/>
                  </a:cubicBezTo>
                  <a:cubicBezTo>
                    <a:pt x="2829" y="2239"/>
                    <a:pt x="2829" y="2239"/>
                    <a:pt x="2829" y="2239"/>
                  </a:cubicBezTo>
                  <a:cubicBezTo>
                    <a:pt x="2828" y="2235"/>
                    <a:pt x="2828" y="2235"/>
                    <a:pt x="2828" y="2235"/>
                  </a:cubicBezTo>
                  <a:cubicBezTo>
                    <a:pt x="2828" y="2239"/>
                    <a:pt x="2828" y="2239"/>
                    <a:pt x="2828" y="2239"/>
                  </a:cubicBezTo>
                  <a:cubicBezTo>
                    <a:pt x="2829" y="2239"/>
                    <a:pt x="2829" y="2239"/>
                    <a:pt x="2829" y="2239"/>
                  </a:cubicBezTo>
                  <a:cubicBezTo>
                    <a:pt x="2828" y="2235"/>
                    <a:pt x="2828" y="2235"/>
                    <a:pt x="2828" y="2235"/>
                  </a:cubicBezTo>
                  <a:cubicBezTo>
                    <a:pt x="2828" y="2239"/>
                    <a:pt x="2828" y="2239"/>
                    <a:pt x="2828" y="2239"/>
                  </a:cubicBezTo>
                  <a:cubicBezTo>
                    <a:pt x="2828" y="2239"/>
                    <a:pt x="2828" y="2239"/>
                    <a:pt x="2828" y="2239"/>
                  </a:cubicBezTo>
                  <a:cubicBezTo>
                    <a:pt x="2828" y="2239"/>
                    <a:pt x="2829" y="2239"/>
                    <a:pt x="2831" y="2239"/>
                  </a:cubicBezTo>
                  <a:cubicBezTo>
                    <a:pt x="2832" y="2239"/>
                    <a:pt x="2833" y="2239"/>
                    <a:pt x="2835" y="2238"/>
                  </a:cubicBezTo>
                  <a:cubicBezTo>
                    <a:pt x="2836" y="2238"/>
                    <a:pt x="2838" y="2237"/>
                    <a:pt x="2840" y="2235"/>
                  </a:cubicBezTo>
                  <a:cubicBezTo>
                    <a:pt x="2840" y="2235"/>
                    <a:pt x="2840" y="2235"/>
                    <a:pt x="2840" y="2235"/>
                  </a:cubicBezTo>
                  <a:cubicBezTo>
                    <a:pt x="2846" y="2229"/>
                    <a:pt x="2851" y="2222"/>
                    <a:pt x="2857" y="2216"/>
                  </a:cubicBezTo>
                  <a:cubicBezTo>
                    <a:pt x="2857" y="2216"/>
                    <a:pt x="2857" y="2216"/>
                    <a:pt x="2857" y="2216"/>
                  </a:cubicBezTo>
                  <a:cubicBezTo>
                    <a:pt x="2858" y="2215"/>
                    <a:pt x="2859" y="2213"/>
                    <a:pt x="2859" y="2212"/>
                  </a:cubicBezTo>
                  <a:cubicBezTo>
                    <a:pt x="2860" y="2210"/>
                    <a:pt x="2861" y="2209"/>
                    <a:pt x="2861" y="2209"/>
                  </a:cubicBezTo>
                  <a:cubicBezTo>
                    <a:pt x="2861" y="2209"/>
                    <a:pt x="2861" y="2209"/>
                    <a:pt x="2861" y="2209"/>
                  </a:cubicBezTo>
                  <a:cubicBezTo>
                    <a:pt x="2861" y="2209"/>
                    <a:pt x="2861" y="2209"/>
                    <a:pt x="2861" y="2209"/>
                  </a:cubicBezTo>
                  <a:cubicBezTo>
                    <a:pt x="2856" y="2206"/>
                    <a:pt x="2856" y="2206"/>
                    <a:pt x="2856" y="2206"/>
                  </a:cubicBezTo>
                  <a:cubicBezTo>
                    <a:pt x="2860" y="2210"/>
                    <a:pt x="2860" y="2210"/>
                    <a:pt x="2860" y="2210"/>
                  </a:cubicBezTo>
                  <a:cubicBezTo>
                    <a:pt x="2860" y="2209"/>
                    <a:pt x="2861" y="2209"/>
                    <a:pt x="2861" y="2209"/>
                  </a:cubicBezTo>
                  <a:cubicBezTo>
                    <a:pt x="2856" y="2206"/>
                    <a:pt x="2856" y="2206"/>
                    <a:pt x="2856" y="2206"/>
                  </a:cubicBezTo>
                  <a:cubicBezTo>
                    <a:pt x="2860" y="2210"/>
                    <a:pt x="2860" y="2210"/>
                    <a:pt x="2860" y="2210"/>
                  </a:cubicBezTo>
                  <a:cubicBezTo>
                    <a:pt x="2860" y="2210"/>
                    <a:pt x="2860" y="2210"/>
                    <a:pt x="2860" y="2210"/>
                  </a:cubicBezTo>
                  <a:cubicBezTo>
                    <a:pt x="2862" y="2207"/>
                    <a:pt x="2865" y="2204"/>
                    <a:pt x="2866" y="2200"/>
                  </a:cubicBezTo>
                  <a:cubicBezTo>
                    <a:pt x="2868" y="2197"/>
                    <a:pt x="2869" y="2193"/>
                    <a:pt x="2869" y="2189"/>
                  </a:cubicBezTo>
                  <a:cubicBezTo>
                    <a:pt x="2869" y="2186"/>
                    <a:pt x="2869" y="2184"/>
                    <a:pt x="2868" y="2182"/>
                  </a:cubicBezTo>
                  <a:cubicBezTo>
                    <a:pt x="2868" y="2182"/>
                    <a:pt x="2868" y="2182"/>
                    <a:pt x="2868" y="2182"/>
                  </a:cubicBezTo>
                  <a:cubicBezTo>
                    <a:pt x="2868" y="2181"/>
                    <a:pt x="2868" y="2181"/>
                    <a:pt x="2868" y="2181"/>
                  </a:cubicBezTo>
                  <a:cubicBezTo>
                    <a:pt x="2868" y="2181"/>
                    <a:pt x="2868" y="2179"/>
                    <a:pt x="2869" y="2179"/>
                  </a:cubicBezTo>
                  <a:cubicBezTo>
                    <a:pt x="2869" y="2179"/>
                    <a:pt x="2869" y="2179"/>
                    <a:pt x="2869" y="2179"/>
                  </a:cubicBezTo>
                  <a:cubicBezTo>
                    <a:pt x="2871" y="2173"/>
                    <a:pt x="2875" y="2168"/>
                    <a:pt x="2878" y="2161"/>
                  </a:cubicBezTo>
                  <a:cubicBezTo>
                    <a:pt x="2878" y="2161"/>
                    <a:pt x="2878" y="2161"/>
                    <a:pt x="2878" y="2161"/>
                  </a:cubicBezTo>
                  <a:cubicBezTo>
                    <a:pt x="2879" y="2160"/>
                    <a:pt x="2880" y="2159"/>
                    <a:pt x="2881" y="2157"/>
                  </a:cubicBezTo>
                  <a:cubicBezTo>
                    <a:pt x="2882" y="2155"/>
                    <a:pt x="2882" y="2152"/>
                    <a:pt x="2882" y="2149"/>
                  </a:cubicBezTo>
                  <a:cubicBezTo>
                    <a:pt x="2882" y="2146"/>
                    <a:pt x="2881" y="2143"/>
                    <a:pt x="2880" y="2140"/>
                  </a:cubicBezTo>
                  <a:cubicBezTo>
                    <a:pt x="2880" y="2140"/>
                    <a:pt x="2880" y="2140"/>
                    <a:pt x="2880" y="2140"/>
                  </a:cubicBezTo>
                  <a:cubicBezTo>
                    <a:pt x="2879" y="2139"/>
                    <a:pt x="2879" y="2138"/>
                    <a:pt x="2879" y="2138"/>
                  </a:cubicBezTo>
                  <a:cubicBezTo>
                    <a:pt x="2879" y="2138"/>
                    <a:pt x="2879" y="2137"/>
                    <a:pt x="2880" y="2136"/>
                  </a:cubicBezTo>
                  <a:cubicBezTo>
                    <a:pt x="2880" y="2136"/>
                    <a:pt x="2880" y="2136"/>
                    <a:pt x="2880" y="2136"/>
                  </a:cubicBezTo>
                  <a:cubicBezTo>
                    <a:pt x="2880" y="2136"/>
                    <a:pt x="2880" y="2136"/>
                    <a:pt x="2880" y="2136"/>
                  </a:cubicBezTo>
                  <a:cubicBezTo>
                    <a:pt x="2881" y="2134"/>
                    <a:pt x="2881" y="2132"/>
                    <a:pt x="2881" y="2130"/>
                  </a:cubicBezTo>
                  <a:cubicBezTo>
                    <a:pt x="2881" y="2127"/>
                    <a:pt x="2880" y="2125"/>
                    <a:pt x="2879" y="2123"/>
                  </a:cubicBezTo>
                  <a:cubicBezTo>
                    <a:pt x="2879" y="2121"/>
                    <a:pt x="2878" y="2120"/>
                    <a:pt x="2878" y="2119"/>
                  </a:cubicBezTo>
                  <a:cubicBezTo>
                    <a:pt x="2877" y="2118"/>
                    <a:pt x="2876" y="2116"/>
                    <a:pt x="2873" y="2115"/>
                  </a:cubicBezTo>
                  <a:cubicBezTo>
                    <a:pt x="2874" y="2115"/>
                    <a:pt x="2874" y="2115"/>
                    <a:pt x="2874" y="2115"/>
                  </a:cubicBezTo>
                  <a:cubicBezTo>
                    <a:pt x="2871" y="2113"/>
                    <a:pt x="2868" y="2111"/>
                    <a:pt x="2865" y="2109"/>
                  </a:cubicBezTo>
                  <a:cubicBezTo>
                    <a:pt x="2861" y="2108"/>
                    <a:pt x="2857" y="2106"/>
                    <a:pt x="2852" y="2106"/>
                  </a:cubicBezTo>
                  <a:cubicBezTo>
                    <a:pt x="2850" y="2106"/>
                    <a:pt x="2848" y="2107"/>
                    <a:pt x="2846" y="2107"/>
                  </a:cubicBezTo>
                  <a:cubicBezTo>
                    <a:pt x="2846" y="2107"/>
                    <a:pt x="2846" y="2107"/>
                    <a:pt x="2846" y="2107"/>
                  </a:cubicBezTo>
                  <a:cubicBezTo>
                    <a:pt x="2846" y="2107"/>
                    <a:pt x="2846" y="2107"/>
                    <a:pt x="2846" y="2107"/>
                  </a:cubicBezTo>
                  <a:cubicBezTo>
                    <a:pt x="2846" y="2107"/>
                    <a:pt x="2846" y="2107"/>
                    <a:pt x="2846" y="2107"/>
                  </a:cubicBezTo>
                  <a:cubicBezTo>
                    <a:pt x="2846" y="2107"/>
                    <a:pt x="2846" y="2107"/>
                    <a:pt x="2846" y="2107"/>
                  </a:cubicBezTo>
                  <a:cubicBezTo>
                    <a:pt x="2846" y="2108"/>
                    <a:pt x="2846" y="2108"/>
                    <a:pt x="2846" y="2108"/>
                  </a:cubicBezTo>
                  <a:cubicBezTo>
                    <a:pt x="2846" y="2107"/>
                    <a:pt x="2846" y="2107"/>
                    <a:pt x="2846" y="2107"/>
                  </a:cubicBezTo>
                  <a:cubicBezTo>
                    <a:pt x="2846" y="2107"/>
                    <a:pt x="2846" y="2107"/>
                    <a:pt x="2846" y="2107"/>
                  </a:cubicBezTo>
                  <a:cubicBezTo>
                    <a:pt x="2846" y="2108"/>
                    <a:pt x="2846" y="2108"/>
                    <a:pt x="2846" y="2108"/>
                  </a:cubicBezTo>
                  <a:cubicBezTo>
                    <a:pt x="2846" y="2107"/>
                    <a:pt x="2846" y="2107"/>
                    <a:pt x="2846" y="2107"/>
                  </a:cubicBezTo>
                  <a:cubicBezTo>
                    <a:pt x="2846" y="2112"/>
                    <a:pt x="2846" y="2112"/>
                    <a:pt x="2846" y="2112"/>
                  </a:cubicBezTo>
                  <a:cubicBezTo>
                    <a:pt x="2847" y="2107"/>
                    <a:pt x="2847" y="2107"/>
                    <a:pt x="2847" y="2107"/>
                  </a:cubicBezTo>
                  <a:cubicBezTo>
                    <a:pt x="2846" y="2107"/>
                    <a:pt x="2846" y="2107"/>
                    <a:pt x="2846" y="2107"/>
                  </a:cubicBezTo>
                  <a:cubicBezTo>
                    <a:pt x="2846" y="2112"/>
                    <a:pt x="2846" y="2112"/>
                    <a:pt x="2846" y="2112"/>
                  </a:cubicBezTo>
                  <a:cubicBezTo>
                    <a:pt x="2847" y="2107"/>
                    <a:pt x="2847" y="2107"/>
                    <a:pt x="2847" y="2107"/>
                  </a:cubicBezTo>
                  <a:cubicBezTo>
                    <a:pt x="2845" y="2114"/>
                    <a:pt x="2845" y="2114"/>
                    <a:pt x="2845" y="2114"/>
                  </a:cubicBezTo>
                  <a:cubicBezTo>
                    <a:pt x="2849" y="2108"/>
                    <a:pt x="2849" y="2108"/>
                    <a:pt x="2849" y="2108"/>
                  </a:cubicBezTo>
                  <a:cubicBezTo>
                    <a:pt x="2848" y="2108"/>
                    <a:pt x="2848" y="2108"/>
                    <a:pt x="2847" y="2107"/>
                  </a:cubicBezTo>
                  <a:cubicBezTo>
                    <a:pt x="2845" y="2114"/>
                    <a:pt x="2845" y="2114"/>
                    <a:pt x="2845" y="2114"/>
                  </a:cubicBezTo>
                  <a:cubicBezTo>
                    <a:pt x="2849" y="2108"/>
                    <a:pt x="2849" y="2108"/>
                    <a:pt x="2849" y="2108"/>
                  </a:cubicBezTo>
                  <a:cubicBezTo>
                    <a:pt x="2845" y="2113"/>
                    <a:pt x="2845" y="2113"/>
                    <a:pt x="2845" y="2113"/>
                  </a:cubicBezTo>
                  <a:cubicBezTo>
                    <a:pt x="2851" y="2110"/>
                    <a:pt x="2851" y="2110"/>
                    <a:pt x="2851" y="2110"/>
                  </a:cubicBezTo>
                  <a:cubicBezTo>
                    <a:pt x="2850" y="2110"/>
                    <a:pt x="2850" y="2109"/>
                    <a:pt x="2849" y="2108"/>
                  </a:cubicBezTo>
                  <a:cubicBezTo>
                    <a:pt x="2845" y="2113"/>
                    <a:pt x="2845" y="2113"/>
                    <a:pt x="2845" y="2113"/>
                  </a:cubicBezTo>
                  <a:cubicBezTo>
                    <a:pt x="2851" y="2110"/>
                    <a:pt x="2851" y="2110"/>
                    <a:pt x="2851" y="2110"/>
                  </a:cubicBezTo>
                  <a:cubicBezTo>
                    <a:pt x="2848" y="2112"/>
                    <a:pt x="2848" y="2112"/>
                    <a:pt x="2848" y="2112"/>
                  </a:cubicBezTo>
                  <a:cubicBezTo>
                    <a:pt x="2851" y="2111"/>
                    <a:pt x="2851" y="2111"/>
                    <a:pt x="2851" y="2111"/>
                  </a:cubicBezTo>
                  <a:cubicBezTo>
                    <a:pt x="2851" y="2110"/>
                    <a:pt x="2851" y="2110"/>
                    <a:pt x="2851" y="2110"/>
                  </a:cubicBezTo>
                  <a:cubicBezTo>
                    <a:pt x="2848" y="2112"/>
                    <a:pt x="2848" y="2112"/>
                    <a:pt x="2848" y="2112"/>
                  </a:cubicBezTo>
                  <a:cubicBezTo>
                    <a:pt x="2851" y="2111"/>
                    <a:pt x="2851" y="2111"/>
                    <a:pt x="2851" y="2111"/>
                  </a:cubicBezTo>
                  <a:cubicBezTo>
                    <a:pt x="2850" y="2111"/>
                    <a:pt x="2850" y="2111"/>
                    <a:pt x="2850" y="2111"/>
                  </a:cubicBezTo>
                  <a:cubicBezTo>
                    <a:pt x="2851" y="2111"/>
                    <a:pt x="2851" y="2111"/>
                    <a:pt x="2851" y="2111"/>
                  </a:cubicBezTo>
                  <a:cubicBezTo>
                    <a:pt x="2851" y="2111"/>
                    <a:pt x="2851" y="2111"/>
                    <a:pt x="2851" y="2111"/>
                  </a:cubicBezTo>
                  <a:cubicBezTo>
                    <a:pt x="2850" y="2111"/>
                    <a:pt x="2850" y="2111"/>
                    <a:pt x="2850" y="2111"/>
                  </a:cubicBezTo>
                  <a:cubicBezTo>
                    <a:pt x="2851" y="2111"/>
                    <a:pt x="2851" y="2111"/>
                    <a:pt x="2851" y="2111"/>
                  </a:cubicBezTo>
                  <a:cubicBezTo>
                    <a:pt x="2851" y="2110"/>
                    <a:pt x="2851" y="2110"/>
                    <a:pt x="2851" y="2110"/>
                  </a:cubicBezTo>
                  <a:cubicBezTo>
                    <a:pt x="2851" y="2110"/>
                    <a:pt x="2851" y="2110"/>
                    <a:pt x="2851" y="2110"/>
                  </a:cubicBezTo>
                  <a:cubicBezTo>
                    <a:pt x="2850" y="2107"/>
                    <a:pt x="2849" y="2105"/>
                    <a:pt x="2848" y="2103"/>
                  </a:cubicBezTo>
                  <a:cubicBezTo>
                    <a:pt x="2847" y="2101"/>
                    <a:pt x="2846" y="2100"/>
                    <a:pt x="2845" y="2099"/>
                  </a:cubicBezTo>
                  <a:cubicBezTo>
                    <a:pt x="2845" y="2099"/>
                    <a:pt x="2845" y="2099"/>
                    <a:pt x="2845" y="2099"/>
                  </a:cubicBezTo>
                  <a:cubicBezTo>
                    <a:pt x="2844" y="2097"/>
                    <a:pt x="2843" y="2096"/>
                    <a:pt x="2843" y="2095"/>
                  </a:cubicBezTo>
                  <a:cubicBezTo>
                    <a:pt x="2842" y="2094"/>
                    <a:pt x="2842" y="2094"/>
                    <a:pt x="2842" y="2094"/>
                  </a:cubicBezTo>
                  <a:cubicBezTo>
                    <a:pt x="2842" y="2093"/>
                    <a:pt x="2842" y="2093"/>
                    <a:pt x="2842" y="2093"/>
                  </a:cubicBezTo>
                  <a:cubicBezTo>
                    <a:pt x="2842" y="2093"/>
                    <a:pt x="2842" y="2093"/>
                    <a:pt x="2842" y="2092"/>
                  </a:cubicBezTo>
                  <a:cubicBezTo>
                    <a:pt x="2842" y="2090"/>
                    <a:pt x="2842" y="2088"/>
                    <a:pt x="2841" y="2087"/>
                  </a:cubicBezTo>
                  <a:cubicBezTo>
                    <a:pt x="2841" y="2085"/>
                    <a:pt x="2840" y="2083"/>
                    <a:pt x="2839" y="2081"/>
                  </a:cubicBezTo>
                  <a:cubicBezTo>
                    <a:pt x="2838" y="2080"/>
                    <a:pt x="2837" y="2079"/>
                    <a:pt x="2836" y="2078"/>
                  </a:cubicBezTo>
                  <a:cubicBezTo>
                    <a:pt x="2835" y="2077"/>
                    <a:pt x="2834" y="2076"/>
                    <a:pt x="2832" y="2076"/>
                  </a:cubicBezTo>
                  <a:cubicBezTo>
                    <a:pt x="2832" y="2076"/>
                    <a:pt x="2832" y="2076"/>
                    <a:pt x="2832" y="2076"/>
                  </a:cubicBezTo>
                  <a:cubicBezTo>
                    <a:pt x="2832" y="2075"/>
                    <a:pt x="2832" y="2075"/>
                    <a:pt x="2832" y="2075"/>
                  </a:cubicBezTo>
                  <a:cubicBezTo>
                    <a:pt x="2831" y="2075"/>
                    <a:pt x="2831" y="2075"/>
                    <a:pt x="2831" y="2075"/>
                  </a:cubicBezTo>
                  <a:cubicBezTo>
                    <a:pt x="2831" y="2075"/>
                    <a:pt x="2831" y="2075"/>
                    <a:pt x="2831" y="2075"/>
                  </a:cubicBezTo>
                  <a:cubicBezTo>
                    <a:pt x="2831" y="2075"/>
                    <a:pt x="2831" y="2075"/>
                    <a:pt x="2831" y="2075"/>
                  </a:cubicBezTo>
                  <a:cubicBezTo>
                    <a:pt x="2831" y="2075"/>
                    <a:pt x="2831" y="2075"/>
                    <a:pt x="2831" y="2075"/>
                  </a:cubicBezTo>
                  <a:cubicBezTo>
                    <a:pt x="2831" y="2075"/>
                    <a:pt x="2831" y="2075"/>
                    <a:pt x="2831" y="2075"/>
                  </a:cubicBezTo>
                  <a:cubicBezTo>
                    <a:pt x="2831" y="2075"/>
                    <a:pt x="2831" y="2075"/>
                    <a:pt x="2831" y="2075"/>
                  </a:cubicBezTo>
                  <a:cubicBezTo>
                    <a:pt x="2831" y="2075"/>
                    <a:pt x="2831" y="2075"/>
                    <a:pt x="2831" y="2075"/>
                  </a:cubicBezTo>
                  <a:cubicBezTo>
                    <a:pt x="2831" y="2075"/>
                    <a:pt x="2831" y="2075"/>
                    <a:pt x="2831" y="2075"/>
                  </a:cubicBezTo>
                  <a:cubicBezTo>
                    <a:pt x="2831" y="2075"/>
                    <a:pt x="2831" y="2074"/>
                    <a:pt x="2831" y="2074"/>
                  </a:cubicBezTo>
                  <a:cubicBezTo>
                    <a:pt x="2831" y="2073"/>
                    <a:pt x="2831" y="2073"/>
                    <a:pt x="2832" y="2072"/>
                  </a:cubicBezTo>
                  <a:cubicBezTo>
                    <a:pt x="2832" y="2065"/>
                    <a:pt x="2833" y="2060"/>
                    <a:pt x="2835" y="2056"/>
                  </a:cubicBezTo>
                  <a:cubicBezTo>
                    <a:pt x="2837" y="2047"/>
                    <a:pt x="2841" y="2038"/>
                    <a:pt x="2844" y="2029"/>
                  </a:cubicBezTo>
                  <a:cubicBezTo>
                    <a:pt x="2844" y="2028"/>
                    <a:pt x="2844" y="2028"/>
                    <a:pt x="2844" y="2028"/>
                  </a:cubicBezTo>
                  <a:cubicBezTo>
                    <a:pt x="2846" y="2026"/>
                    <a:pt x="2846" y="2023"/>
                    <a:pt x="2846" y="2020"/>
                  </a:cubicBezTo>
                  <a:cubicBezTo>
                    <a:pt x="2846" y="2017"/>
                    <a:pt x="2846" y="2015"/>
                    <a:pt x="2845" y="2013"/>
                  </a:cubicBezTo>
                  <a:cubicBezTo>
                    <a:pt x="2844" y="2011"/>
                    <a:pt x="2844" y="2009"/>
                    <a:pt x="2843" y="2008"/>
                  </a:cubicBezTo>
                  <a:cubicBezTo>
                    <a:pt x="2843" y="2008"/>
                    <a:pt x="2843" y="2008"/>
                    <a:pt x="2843" y="2008"/>
                  </a:cubicBezTo>
                  <a:cubicBezTo>
                    <a:pt x="2843" y="2008"/>
                    <a:pt x="2843" y="2008"/>
                    <a:pt x="2843" y="2008"/>
                  </a:cubicBezTo>
                  <a:cubicBezTo>
                    <a:pt x="2842" y="2007"/>
                    <a:pt x="2842" y="2006"/>
                    <a:pt x="2842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1" y="2006"/>
                    <a:pt x="2841" y="2006"/>
                    <a:pt x="2841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1" y="2006"/>
                    <a:pt x="2841" y="2006"/>
                    <a:pt x="2841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0" y="2006"/>
                    <a:pt x="2840" y="2006"/>
                    <a:pt x="2840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0" y="2006"/>
                    <a:pt x="2840" y="2006"/>
                    <a:pt x="2840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2" y="2006"/>
                    <a:pt x="2842" y="2006"/>
                    <a:pt x="2842" y="2006"/>
                  </a:cubicBezTo>
                  <a:cubicBezTo>
                    <a:pt x="2845" y="2001"/>
                    <a:pt x="2847" y="1996"/>
                    <a:pt x="2846" y="1991"/>
                  </a:cubicBezTo>
                  <a:cubicBezTo>
                    <a:pt x="2846" y="1987"/>
                    <a:pt x="2845" y="1983"/>
                    <a:pt x="2844" y="1979"/>
                  </a:cubicBezTo>
                  <a:cubicBezTo>
                    <a:pt x="2842" y="1976"/>
                    <a:pt x="2840" y="1973"/>
                    <a:pt x="2838" y="1970"/>
                  </a:cubicBezTo>
                  <a:cubicBezTo>
                    <a:pt x="2838" y="1970"/>
                    <a:pt x="2838" y="1970"/>
                    <a:pt x="2838" y="1970"/>
                  </a:cubicBezTo>
                  <a:cubicBezTo>
                    <a:pt x="2837" y="1968"/>
                    <a:pt x="2836" y="1967"/>
                    <a:pt x="2836" y="1967"/>
                  </a:cubicBezTo>
                  <a:cubicBezTo>
                    <a:pt x="2836" y="1966"/>
                    <a:pt x="2836" y="1967"/>
                    <a:pt x="2836" y="1966"/>
                  </a:cubicBezTo>
                  <a:cubicBezTo>
                    <a:pt x="2836" y="1966"/>
                    <a:pt x="2836" y="1966"/>
                    <a:pt x="2836" y="1966"/>
                  </a:cubicBezTo>
                  <a:cubicBezTo>
                    <a:pt x="2836" y="1965"/>
                    <a:pt x="2836" y="1965"/>
                    <a:pt x="2836" y="1964"/>
                  </a:cubicBezTo>
                  <a:cubicBezTo>
                    <a:pt x="2836" y="1962"/>
                    <a:pt x="2835" y="1960"/>
                    <a:pt x="2835" y="1959"/>
                  </a:cubicBezTo>
                  <a:cubicBezTo>
                    <a:pt x="2834" y="1956"/>
                    <a:pt x="2833" y="1954"/>
                    <a:pt x="2831" y="1953"/>
                  </a:cubicBezTo>
                  <a:cubicBezTo>
                    <a:pt x="2830" y="1951"/>
                    <a:pt x="2829" y="1950"/>
                    <a:pt x="2827" y="1948"/>
                  </a:cubicBezTo>
                  <a:cubicBezTo>
                    <a:pt x="2827" y="1948"/>
                    <a:pt x="2827" y="1948"/>
                    <a:pt x="2827" y="1948"/>
                  </a:cubicBezTo>
                  <a:cubicBezTo>
                    <a:pt x="2824" y="1946"/>
                    <a:pt x="2822" y="1945"/>
                    <a:pt x="2820" y="1944"/>
                  </a:cubicBezTo>
                  <a:cubicBezTo>
                    <a:pt x="2818" y="1944"/>
                    <a:pt x="2816" y="1943"/>
                    <a:pt x="2815" y="1943"/>
                  </a:cubicBezTo>
                  <a:cubicBezTo>
                    <a:pt x="2810" y="1954"/>
                    <a:pt x="2810" y="1954"/>
                    <a:pt x="2810" y="1954"/>
                  </a:cubicBezTo>
                  <a:cubicBezTo>
                    <a:pt x="2821" y="1959"/>
                    <a:pt x="2821" y="1959"/>
                    <a:pt x="2821" y="1959"/>
                  </a:cubicBezTo>
                  <a:cubicBezTo>
                    <a:pt x="2823" y="1956"/>
                    <a:pt x="2824" y="1952"/>
                    <a:pt x="2826" y="1949"/>
                  </a:cubicBezTo>
                  <a:cubicBezTo>
                    <a:pt x="2815" y="1944"/>
                    <a:pt x="2815" y="1944"/>
                    <a:pt x="2815" y="1944"/>
                  </a:cubicBezTo>
                  <a:cubicBezTo>
                    <a:pt x="2826" y="1949"/>
                    <a:pt x="2826" y="1949"/>
                    <a:pt x="2826" y="1949"/>
                  </a:cubicBezTo>
                  <a:cubicBezTo>
                    <a:pt x="2827" y="1947"/>
                    <a:pt x="2827" y="1945"/>
                    <a:pt x="2827" y="1944"/>
                  </a:cubicBezTo>
                  <a:cubicBezTo>
                    <a:pt x="2827" y="1944"/>
                    <a:pt x="2827" y="1943"/>
                    <a:pt x="2827" y="1943"/>
                  </a:cubicBezTo>
                  <a:cubicBezTo>
                    <a:pt x="2827" y="1943"/>
                    <a:pt x="2827" y="1943"/>
                    <a:pt x="2827" y="1943"/>
                  </a:cubicBezTo>
                  <a:cubicBezTo>
                    <a:pt x="2821" y="1943"/>
                    <a:pt x="2821" y="1943"/>
                    <a:pt x="2821" y="1943"/>
                  </a:cubicBezTo>
                  <a:cubicBezTo>
                    <a:pt x="2827" y="1944"/>
                    <a:pt x="2827" y="1944"/>
                    <a:pt x="2827" y="1944"/>
                  </a:cubicBezTo>
                  <a:cubicBezTo>
                    <a:pt x="2827" y="1943"/>
                    <a:pt x="2827" y="1943"/>
                    <a:pt x="2827" y="1943"/>
                  </a:cubicBezTo>
                  <a:cubicBezTo>
                    <a:pt x="2821" y="1943"/>
                    <a:pt x="2821" y="1943"/>
                    <a:pt x="2821" y="1943"/>
                  </a:cubicBezTo>
                  <a:cubicBezTo>
                    <a:pt x="2827" y="1944"/>
                    <a:pt x="2827" y="1944"/>
                    <a:pt x="2827" y="1944"/>
                  </a:cubicBezTo>
                  <a:cubicBezTo>
                    <a:pt x="2815" y="1942"/>
                    <a:pt x="2815" y="1942"/>
                    <a:pt x="2815" y="1942"/>
                  </a:cubicBezTo>
                  <a:cubicBezTo>
                    <a:pt x="2827" y="1944"/>
                    <a:pt x="2827" y="1944"/>
                    <a:pt x="2827" y="1944"/>
                  </a:cubicBezTo>
                  <a:cubicBezTo>
                    <a:pt x="2828" y="1939"/>
                    <a:pt x="2829" y="1934"/>
                    <a:pt x="2830" y="1931"/>
                  </a:cubicBezTo>
                  <a:cubicBezTo>
                    <a:pt x="2831" y="1927"/>
                    <a:pt x="2833" y="1924"/>
                    <a:pt x="2835" y="1921"/>
                  </a:cubicBezTo>
                  <a:cubicBezTo>
                    <a:pt x="2835" y="1921"/>
                    <a:pt x="2835" y="1921"/>
                    <a:pt x="2835" y="1921"/>
                  </a:cubicBezTo>
                  <a:cubicBezTo>
                    <a:pt x="2835" y="1921"/>
                    <a:pt x="2835" y="1921"/>
                    <a:pt x="2835" y="1921"/>
                  </a:cubicBezTo>
                  <a:cubicBezTo>
                    <a:pt x="2837" y="1919"/>
                    <a:pt x="2838" y="1917"/>
                    <a:pt x="2838" y="1915"/>
                  </a:cubicBezTo>
                  <a:cubicBezTo>
                    <a:pt x="2839" y="1913"/>
                    <a:pt x="2840" y="1911"/>
                    <a:pt x="2840" y="1910"/>
                  </a:cubicBezTo>
                  <a:cubicBezTo>
                    <a:pt x="2840" y="1910"/>
                    <a:pt x="2840" y="1910"/>
                    <a:pt x="2840" y="1910"/>
                  </a:cubicBezTo>
                  <a:cubicBezTo>
                    <a:pt x="2840" y="1910"/>
                    <a:pt x="2840" y="1910"/>
                    <a:pt x="2840" y="1910"/>
                  </a:cubicBezTo>
                  <a:cubicBezTo>
                    <a:pt x="2840" y="1909"/>
                    <a:pt x="2840" y="1909"/>
                    <a:pt x="2840" y="1909"/>
                  </a:cubicBezTo>
                  <a:cubicBezTo>
                    <a:pt x="2838" y="1908"/>
                    <a:pt x="2838" y="1908"/>
                    <a:pt x="2838" y="1908"/>
                  </a:cubicBezTo>
                  <a:cubicBezTo>
                    <a:pt x="2840" y="1909"/>
                    <a:pt x="2840" y="1909"/>
                    <a:pt x="2840" y="1909"/>
                  </a:cubicBezTo>
                  <a:cubicBezTo>
                    <a:pt x="2840" y="1909"/>
                    <a:pt x="2840" y="1909"/>
                    <a:pt x="2840" y="1909"/>
                  </a:cubicBezTo>
                  <a:cubicBezTo>
                    <a:pt x="2838" y="1908"/>
                    <a:pt x="2838" y="1908"/>
                    <a:pt x="2838" y="1908"/>
                  </a:cubicBezTo>
                  <a:cubicBezTo>
                    <a:pt x="2840" y="1909"/>
                    <a:pt x="2840" y="1909"/>
                    <a:pt x="2840" y="1909"/>
                  </a:cubicBezTo>
                  <a:cubicBezTo>
                    <a:pt x="2837" y="1906"/>
                    <a:pt x="2837" y="1906"/>
                    <a:pt x="2837" y="1906"/>
                  </a:cubicBezTo>
                  <a:cubicBezTo>
                    <a:pt x="2838" y="1910"/>
                    <a:pt x="2838" y="1910"/>
                    <a:pt x="2838" y="1910"/>
                  </a:cubicBezTo>
                  <a:cubicBezTo>
                    <a:pt x="2839" y="1910"/>
                    <a:pt x="2839" y="1910"/>
                    <a:pt x="2840" y="1909"/>
                  </a:cubicBezTo>
                  <a:cubicBezTo>
                    <a:pt x="2837" y="1906"/>
                    <a:pt x="2837" y="1906"/>
                    <a:pt x="2837" y="1906"/>
                  </a:cubicBezTo>
                  <a:cubicBezTo>
                    <a:pt x="2838" y="1910"/>
                    <a:pt x="2838" y="1910"/>
                    <a:pt x="2838" y="1910"/>
                  </a:cubicBezTo>
                  <a:cubicBezTo>
                    <a:pt x="2837" y="1908"/>
                    <a:pt x="2837" y="1908"/>
                    <a:pt x="2837" y="1908"/>
                  </a:cubicBezTo>
                  <a:cubicBezTo>
                    <a:pt x="2838" y="1911"/>
                    <a:pt x="2838" y="1911"/>
                    <a:pt x="2838" y="1911"/>
                  </a:cubicBezTo>
                  <a:cubicBezTo>
                    <a:pt x="2838" y="1910"/>
                    <a:pt x="2838" y="1910"/>
                    <a:pt x="2838" y="1910"/>
                  </a:cubicBezTo>
                  <a:cubicBezTo>
                    <a:pt x="2837" y="1908"/>
                    <a:pt x="2837" y="1908"/>
                    <a:pt x="2837" y="1908"/>
                  </a:cubicBezTo>
                  <a:cubicBezTo>
                    <a:pt x="2838" y="1911"/>
                    <a:pt x="2838" y="1911"/>
                    <a:pt x="2838" y="1911"/>
                  </a:cubicBezTo>
                  <a:cubicBezTo>
                    <a:pt x="2838" y="1910"/>
                    <a:pt x="2838" y="1910"/>
                    <a:pt x="2838" y="1910"/>
                  </a:cubicBezTo>
                  <a:cubicBezTo>
                    <a:pt x="2838" y="1911"/>
                    <a:pt x="2838" y="1911"/>
                    <a:pt x="2838" y="1911"/>
                  </a:cubicBezTo>
                  <a:cubicBezTo>
                    <a:pt x="2838" y="1911"/>
                    <a:pt x="2838" y="1911"/>
                    <a:pt x="2838" y="1911"/>
                  </a:cubicBezTo>
                  <a:cubicBezTo>
                    <a:pt x="2838" y="1910"/>
                    <a:pt x="2838" y="1910"/>
                    <a:pt x="2838" y="1910"/>
                  </a:cubicBezTo>
                  <a:cubicBezTo>
                    <a:pt x="2838" y="1911"/>
                    <a:pt x="2838" y="1911"/>
                    <a:pt x="2838" y="1911"/>
                  </a:cubicBezTo>
                  <a:cubicBezTo>
                    <a:pt x="2838" y="1911"/>
                    <a:pt x="2838" y="1911"/>
                    <a:pt x="2838" y="1911"/>
                  </a:cubicBezTo>
                  <a:cubicBezTo>
                    <a:pt x="2838" y="1911"/>
                    <a:pt x="2838" y="1911"/>
                    <a:pt x="2839" y="1911"/>
                  </a:cubicBezTo>
                  <a:cubicBezTo>
                    <a:pt x="2840" y="1911"/>
                    <a:pt x="2841" y="1911"/>
                    <a:pt x="2842" y="1911"/>
                  </a:cubicBezTo>
                  <a:cubicBezTo>
                    <a:pt x="2846" y="1911"/>
                    <a:pt x="2850" y="1910"/>
                    <a:pt x="2853" y="1908"/>
                  </a:cubicBezTo>
                  <a:cubicBezTo>
                    <a:pt x="2858" y="1906"/>
                    <a:pt x="2861" y="1902"/>
                    <a:pt x="2863" y="1898"/>
                  </a:cubicBezTo>
                  <a:cubicBezTo>
                    <a:pt x="2865" y="1894"/>
                    <a:pt x="2866" y="1889"/>
                    <a:pt x="2866" y="1885"/>
                  </a:cubicBezTo>
                  <a:cubicBezTo>
                    <a:pt x="2866" y="1883"/>
                    <a:pt x="2866" y="1881"/>
                    <a:pt x="2866" y="1879"/>
                  </a:cubicBezTo>
                  <a:cubicBezTo>
                    <a:pt x="2866" y="1879"/>
                    <a:pt x="2866" y="1879"/>
                    <a:pt x="2866" y="1879"/>
                  </a:cubicBezTo>
                  <a:cubicBezTo>
                    <a:pt x="2865" y="1875"/>
                    <a:pt x="2863" y="1871"/>
                    <a:pt x="2861" y="1868"/>
                  </a:cubicBezTo>
                  <a:cubicBezTo>
                    <a:pt x="2859" y="1864"/>
                    <a:pt x="2855" y="1860"/>
                    <a:pt x="2851" y="1858"/>
                  </a:cubicBezTo>
                  <a:cubicBezTo>
                    <a:pt x="2851" y="1858"/>
                    <a:pt x="2851" y="1858"/>
                    <a:pt x="2851" y="1858"/>
                  </a:cubicBezTo>
                  <a:cubicBezTo>
                    <a:pt x="2848" y="1856"/>
                    <a:pt x="2846" y="1855"/>
                    <a:pt x="2843" y="1853"/>
                  </a:cubicBezTo>
                  <a:cubicBezTo>
                    <a:pt x="2841" y="1855"/>
                    <a:pt x="2841" y="1855"/>
                    <a:pt x="2841" y="1855"/>
                  </a:cubicBezTo>
                  <a:cubicBezTo>
                    <a:pt x="2844" y="1853"/>
                    <a:pt x="2844" y="1853"/>
                    <a:pt x="2844" y="1853"/>
                  </a:cubicBezTo>
                  <a:cubicBezTo>
                    <a:pt x="2843" y="1853"/>
                    <a:pt x="2843" y="1853"/>
                    <a:pt x="2843" y="1853"/>
                  </a:cubicBezTo>
                  <a:cubicBezTo>
                    <a:pt x="2841" y="1855"/>
                    <a:pt x="2841" y="1855"/>
                    <a:pt x="2841" y="1855"/>
                  </a:cubicBezTo>
                  <a:cubicBezTo>
                    <a:pt x="2844" y="1853"/>
                    <a:pt x="2844" y="1853"/>
                    <a:pt x="2844" y="1853"/>
                  </a:cubicBezTo>
                  <a:cubicBezTo>
                    <a:pt x="2842" y="1855"/>
                    <a:pt x="2842" y="1855"/>
                    <a:pt x="2842" y="1855"/>
                  </a:cubicBezTo>
                  <a:cubicBezTo>
                    <a:pt x="2844" y="1854"/>
                    <a:pt x="2844" y="1854"/>
                    <a:pt x="2844" y="1854"/>
                  </a:cubicBezTo>
                  <a:cubicBezTo>
                    <a:pt x="2844" y="1853"/>
                    <a:pt x="2844" y="1853"/>
                    <a:pt x="2844" y="1853"/>
                  </a:cubicBezTo>
                  <a:cubicBezTo>
                    <a:pt x="2842" y="1855"/>
                    <a:pt x="2842" y="1855"/>
                    <a:pt x="2842" y="1855"/>
                  </a:cubicBezTo>
                  <a:cubicBezTo>
                    <a:pt x="2844" y="1854"/>
                    <a:pt x="2844" y="1854"/>
                    <a:pt x="2844" y="1854"/>
                  </a:cubicBezTo>
                  <a:cubicBezTo>
                    <a:pt x="2843" y="1854"/>
                    <a:pt x="2843" y="1854"/>
                    <a:pt x="2843" y="1854"/>
                  </a:cubicBezTo>
                  <a:cubicBezTo>
                    <a:pt x="2844" y="1854"/>
                    <a:pt x="2844" y="1854"/>
                    <a:pt x="2844" y="1854"/>
                  </a:cubicBezTo>
                  <a:cubicBezTo>
                    <a:pt x="2844" y="1854"/>
                    <a:pt x="2844" y="1854"/>
                    <a:pt x="2844" y="1854"/>
                  </a:cubicBezTo>
                  <a:cubicBezTo>
                    <a:pt x="2843" y="1854"/>
                    <a:pt x="2843" y="1854"/>
                    <a:pt x="2843" y="1854"/>
                  </a:cubicBezTo>
                  <a:cubicBezTo>
                    <a:pt x="2844" y="1854"/>
                    <a:pt x="2844" y="1854"/>
                    <a:pt x="2844" y="1854"/>
                  </a:cubicBezTo>
                  <a:cubicBezTo>
                    <a:pt x="2844" y="1854"/>
                    <a:pt x="2844" y="1853"/>
                    <a:pt x="2844" y="1853"/>
                  </a:cubicBezTo>
                  <a:cubicBezTo>
                    <a:pt x="2844" y="1852"/>
                    <a:pt x="2844" y="1851"/>
                    <a:pt x="2843" y="1849"/>
                  </a:cubicBezTo>
                  <a:cubicBezTo>
                    <a:pt x="2843" y="1849"/>
                    <a:pt x="2843" y="1849"/>
                    <a:pt x="2843" y="1849"/>
                  </a:cubicBezTo>
                  <a:cubicBezTo>
                    <a:pt x="2841" y="1850"/>
                    <a:pt x="2841" y="1850"/>
                    <a:pt x="2841" y="1850"/>
                  </a:cubicBezTo>
                  <a:cubicBezTo>
                    <a:pt x="2843" y="1850"/>
                    <a:pt x="2843" y="1850"/>
                    <a:pt x="2843" y="1850"/>
                  </a:cubicBezTo>
                  <a:cubicBezTo>
                    <a:pt x="2843" y="1849"/>
                    <a:pt x="2843" y="1849"/>
                    <a:pt x="2843" y="1849"/>
                  </a:cubicBezTo>
                  <a:cubicBezTo>
                    <a:pt x="2841" y="1850"/>
                    <a:pt x="2841" y="1850"/>
                    <a:pt x="2841" y="1850"/>
                  </a:cubicBezTo>
                  <a:cubicBezTo>
                    <a:pt x="2843" y="1850"/>
                    <a:pt x="2843" y="1850"/>
                    <a:pt x="2843" y="1850"/>
                  </a:cubicBezTo>
                  <a:cubicBezTo>
                    <a:pt x="2841" y="1850"/>
                    <a:pt x="2841" y="1850"/>
                    <a:pt x="2841" y="1850"/>
                  </a:cubicBezTo>
                  <a:cubicBezTo>
                    <a:pt x="2843" y="1850"/>
                    <a:pt x="2843" y="1850"/>
                    <a:pt x="2843" y="1850"/>
                  </a:cubicBezTo>
                  <a:cubicBezTo>
                    <a:pt x="2843" y="1850"/>
                    <a:pt x="2843" y="1850"/>
                    <a:pt x="2843" y="1850"/>
                  </a:cubicBezTo>
                  <a:cubicBezTo>
                    <a:pt x="2841" y="1850"/>
                    <a:pt x="2841" y="1850"/>
                    <a:pt x="2841" y="1850"/>
                  </a:cubicBezTo>
                  <a:cubicBezTo>
                    <a:pt x="2843" y="1850"/>
                    <a:pt x="2843" y="1850"/>
                    <a:pt x="2843" y="1850"/>
                  </a:cubicBezTo>
                  <a:cubicBezTo>
                    <a:pt x="2843" y="1850"/>
                    <a:pt x="2843" y="1850"/>
                    <a:pt x="2843" y="1850"/>
                  </a:cubicBezTo>
                  <a:cubicBezTo>
                    <a:pt x="2843" y="1850"/>
                    <a:pt x="2843" y="1850"/>
                    <a:pt x="2843" y="1850"/>
                  </a:cubicBezTo>
                  <a:cubicBezTo>
                    <a:pt x="2843" y="1850"/>
                    <a:pt x="2843" y="1850"/>
                    <a:pt x="2843" y="1850"/>
                  </a:cubicBezTo>
                  <a:cubicBezTo>
                    <a:pt x="2843" y="1850"/>
                    <a:pt x="2843" y="1850"/>
                    <a:pt x="2843" y="1850"/>
                  </a:cubicBezTo>
                  <a:cubicBezTo>
                    <a:pt x="2843" y="1850"/>
                    <a:pt x="2843" y="1850"/>
                    <a:pt x="2843" y="1850"/>
                  </a:cubicBezTo>
                  <a:cubicBezTo>
                    <a:pt x="2843" y="1850"/>
                    <a:pt x="2844" y="1849"/>
                    <a:pt x="2844" y="1847"/>
                  </a:cubicBezTo>
                  <a:cubicBezTo>
                    <a:pt x="2845" y="1846"/>
                    <a:pt x="2845" y="1845"/>
                    <a:pt x="2846" y="1844"/>
                  </a:cubicBezTo>
                  <a:cubicBezTo>
                    <a:pt x="2846" y="1842"/>
                    <a:pt x="2847" y="1840"/>
                    <a:pt x="2847" y="1838"/>
                  </a:cubicBezTo>
                  <a:cubicBezTo>
                    <a:pt x="2847" y="1837"/>
                    <a:pt x="2846" y="1836"/>
                    <a:pt x="2846" y="1835"/>
                  </a:cubicBezTo>
                  <a:cubicBezTo>
                    <a:pt x="2846" y="1835"/>
                    <a:pt x="2846" y="1835"/>
                    <a:pt x="2846" y="1835"/>
                  </a:cubicBezTo>
                  <a:cubicBezTo>
                    <a:pt x="2846" y="1834"/>
                    <a:pt x="2846" y="1834"/>
                    <a:pt x="2846" y="1834"/>
                  </a:cubicBezTo>
                  <a:cubicBezTo>
                    <a:pt x="2845" y="1835"/>
                    <a:pt x="2845" y="1835"/>
                    <a:pt x="2845" y="1835"/>
                  </a:cubicBezTo>
                  <a:cubicBezTo>
                    <a:pt x="2846" y="1835"/>
                    <a:pt x="2846" y="1835"/>
                    <a:pt x="2846" y="1835"/>
                  </a:cubicBezTo>
                  <a:cubicBezTo>
                    <a:pt x="2846" y="1834"/>
                    <a:pt x="2846" y="1834"/>
                    <a:pt x="2846" y="1834"/>
                  </a:cubicBezTo>
                  <a:cubicBezTo>
                    <a:pt x="2845" y="1835"/>
                    <a:pt x="2845" y="1835"/>
                    <a:pt x="2845" y="1835"/>
                  </a:cubicBezTo>
                  <a:cubicBezTo>
                    <a:pt x="2846" y="1835"/>
                    <a:pt x="2846" y="1835"/>
                    <a:pt x="2846" y="1835"/>
                  </a:cubicBezTo>
                  <a:cubicBezTo>
                    <a:pt x="2843" y="1835"/>
                    <a:pt x="2843" y="1835"/>
                    <a:pt x="2843" y="1835"/>
                  </a:cubicBezTo>
                  <a:cubicBezTo>
                    <a:pt x="2846" y="1836"/>
                    <a:pt x="2846" y="1836"/>
                    <a:pt x="2846" y="1836"/>
                  </a:cubicBezTo>
                  <a:cubicBezTo>
                    <a:pt x="2846" y="1836"/>
                    <a:pt x="2846" y="1835"/>
                    <a:pt x="2846" y="1835"/>
                  </a:cubicBezTo>
                  <a:cubicBezTo>
                    <a:pt x="2843" y="1835"/>
                    <a:pt x="2843" y="1835"/>
                    <a:pt x="2843" y="1835"/>
                  </a:cubicBezTo>
                  <a:cubicBezTo>
                    <a:pt x="2846" y="1836"/>
                    <a:pt x="2846" y="1836"/>
                    <a:pt x="2846" y="1836"/>
                  </a:cubicBezTo>
                  <a:cubicBezTo>
                    <a:pt x="2846" y="1836"/>
                    <a:pt x="2846" y="1836"/>
                    <a:pt x="2846" y="1836"/>
                  </a:cubicBezTo>
                  <a:cubicBezTo>
                    <a:pt x="2846" y="1836"/>
                    <a:pt x="2847" y="1835"/>
                    <a:pt x="2847" y="1834"/>
                  </a:cubicBezTo>
                  <a:cubicBezTo>
                    <a:pt x="2847" y="1834"/>
                    <a:pt x="2847" y="1834"/>
                    <a:pt x="2847" y="1834"/>
                  </a:cubicBezTo>
                  <a:cubicBezTo>
                    <a:pt x="2850" y="1831"/>
                    <a:pt x="2853" y="1827"/>
                    <a:pt x="2856" y="1823"/>
                  </a:cubicBezTo>
                  <a:cubicBezTo>
                    <a:pt x="2858" y="1820"/>
                    <a:pt x="2859" y="1818"/>
                    <a:pt x="2860" y="1815"/>
                  </a:cubicBezTo>
                  <a:cubicBezTo>
                    <a:pt x="2861" y="1812"/>
                    <a:pt x="2862" y="1808"/>
                    <a:pt x="2862" y="1805"/>
                  </a:cubicBezTo>
                  <a:cubicBezTo>
                    <a:pt x="2862" y="1804"/>
                    <a:pt x="2862" y="1804"/>
                    <a:pt x="2862" y="1804"/>
                  </a:cubicBezTo>
                  <a:cubicBezTo>
                    <a:pt x="2862" y="1804"/>
                    <a:pt x="2862" y="1804"/>
                    <a:pt x="2862" y="1804"/>
                  </a:cubicBezTo>
                  <a:cubicBezTo>
                    <a:pt x="2862" y="1804"/>
                    <a:pt x="2862" y="1804"/>
                    <a:pt x="2862" y="1804"/>
                  </a:cubicBezTo>
                  <a:cubicBezTo>
                    <a:pt x="2854" y="1804"/>
                    <a:pt x="2854" y="1804"/>
                    <a:pt x="2854" y="1804"/>
                  </a:cubicBezTo>
                  <a:cubicBezTo>
                    <a:pt x="2862" y="1804"/>
                    <a:pt x="2862" y="1804"/>
                    <a:pt x="2862" y="1804"/>
                  </a:cubicBezTo>
                  <a:cubicBezTo>
                    <a:pt x="2862" y="1804"/>
                    <a:pt x="2862" y="1804"/>
                    <a:pt x="2862" y="1804"/>
                  </a:cubicBezTo>
                  <a:cubicBezTo>
                    <a:pt x="2854" y="1804"/>
                    <a:pt x="2854" y="1804"/>
                    <a:pt x="2854" y="1804"/>
                  </a:cubicBezTo>
                  <a:cubicBezTo>
                    <a:pt x="2862" y="1804"/>
                    <a:pt x="2862" y="1804"/>
                    <a:pt x="2862" y="1804"/>
                  </a:cubicBezTo>
                  <a:cubicBezTo>
                    <a:pt x="2860" y="1804"/>
                    <a:pt x="2860" y="1804"/>
                    <a:pt x="2860" y="1804"/>
                  </a:cubicBezTo>
                  <a:cubicBezTo>
                    <a:pt x="2862" y="1804"/>
                    <a:pt x="2862" y="1804"/>
                    <a:pt x="2862" y="1804"/>
                  </a:cubicBezTo>
                  <a:cubicBezTo>
                    <a:pt x="2862" y="1804"/>
                    <a:pt x="2862" y="1804"/>
                    <a:pt x="2862" y="1804"/>
                  </a:cubicBezTo>
                  <a:cubicBezTo>
                    <a:pt x="2860" y="1804"/>
                    <a:pt x="2860" y="1804"/>
                    <a:pt x="2860" y="1804"/>
                  </a:cubicBezTo>
                  <a:cubicBezTo>
                    <a:pt x="2862" y="1804"/>
                    <a:pt x="2862" y="1804"/>
                    <a:pt x="2862" y="1804"/>
                  </a:cubicBezTo>
                  <a:cubicBezTo>
                    <a:pt x="2862" y="1804"/>
                    <a:pt x="2862" y="1804"/>
                    <a:pt x="2862" y="1804"/>
                  </a:cubicBezTo>
                  <a:cubicBezTo>
                    <a:pt x="2862" y="1803"/>
                    <a:pt x="2862" y="1803"/>
                    <a:pt x="2863" y="1802"/>
                  </a:cubicBezTo>
                  <a:cubicBezTo>
                    <a:pt x="2863" y="1801"/>
                    <a:pt x="2863" y="1800"/>
                    <a:pt x="2865" y="1798"/>
                  </a:cubicBezTo>
                  <a:cubicBezTo>
                    <a:pt x="2866" y="1797"/>
                    <a:pt x="2868" y="1794"/>
                    <a:pt x="2870" y="1791"/>
                  </a:cubicBezTo>
                  <a:cubicBezTo>
                    <a:pt x="2870" y="1791"/>
                    <a:pt x="2870" y="1791"/>
                    <a:pt x="2870" y="1791"/>
                  </a:cubicBezTo>
                  <a:cubicBezTo>
                    <a:pt x="2868" y="1790"/>
                    <a:pt x="2868" y="1790"/>
                    <a:pt x="2868" y="1790"/>
                  </a:cubicBezTo>
                  <a:cubicBezTo>
                    <a:pt x="2870" y="1791"/>
                    <a:pt x="2870" y="1791"/>
                    <a:pt x="2870" y="1791"/>
                  </a:cubicBezTo>
                  <a:cubicBezTo>
                    <a:pt x="2870" y="1791"/>
                    <a:pt x="2870" y="1791"/>
                    <a:pt x="2870" y="1791"/>
                  </a:cubicBezTo>
                  <a:cubicBezTo>
                    <a:pt x="2868" y="1790"/>
                    <a:pt x="2868" y="1790"/>
                    <a:pt x="2868" y="1790"/>
                  </a:cubicBezTo>
                  <a:cubicBezTo>
                    <a:pt x="2870" y="1791"/>
                    <a:pt x="2870" y="1791"/>
                    <a:pt x="2870" y="1791"/>
                  </a:cubicBezTo>
                  <a:cubicBezTo>
                    <a:pt x="2863" y="1787"/>
                    <a:pt x="2863" y="1787"/>
                    <a:pt x="2863" y="1787"/>
                  </a:cubicBezTo>
                  <a:cubicBezTo>
                    <a:pt x="2868" y="1793"/>
                    <a:pt x="2868" y="1793"/>
                    <a:pt x="2868" y="1793"/>
                  </a:cubicBezTo>
                  <a:cubicBezTo>
                    <a:pt x="2869" y="1792"/>
                    <a:pt x="2870" y="1792"/>
                    <a:pt x="2870" y="1791"/>
                  </a:cubicBezTo>
                  <a:cubicBezTo>
                    <a:pt x="2863" y="1787"/>
                    <a:pt x="2863" y="1787"/>
                    <a:pt x="2863" y="1787"/>
                  </a:cubicBezTo>
                  <a:cubicBezTo>
                    <a:pt x="2868" y="1793"/>
                    <a:pt x="2868" y="1793"/>
                    <a:pt x="2868" y="1793"/>
                  </a:cubicBezTo>
                  <a:cubicBezTo>
                    <a:pt x="2862" y="1785"/>
                    <a:pt x="2862" y="1785"/>
                    <a:pt x="2862" y="1785"/>
                  </a:cubicBezTo>
                  <a:cubicBezTo>
                    <a:pt x="2865" y="1795"/>
                    <a:pt x="2865" y="1795"/>
                    <a:pt x="2865" y="1795"/>
                  </a:cubicBezTo>
                  <a:cubicBezTo>
                    <a:pt x="2866" y="1794"/>
                    <a:pt x="2867" y="1794"/>
                    <a:pt x="2868" y="1793"/>
                  </a:cubicBezTo>
                  <a:cubicBezTo>
                    <a:pt x="2862" y="1785"/>
                    <a:pt x="2862" y="1785"/>
                    <a:pt x="2862" y="1785"/>
                  </a:cubicBezTo>
                  <a:cubicBezTo>
                    <a:pt x="2865" y="1795"/>
                    <a:pt x="2865" y="1795"/>
                    <a:pt x="2865" y="1795"/>
                  </a:cubicBezTo>
                  <a:cubicBezTo>
                    <a:pt x="2862" y="1785"/>
                    <a:pt x="2862" y="1785"/>
                    <a:pt x="2862" y="1785"/>
                  </a:cubicBezTo>
                  <a:cubicBezTo>
                    <a:pt x="2862" y="1795"/>
                    <a:pt x="2862" y="1795"/>
                    <a:pt x="2862" y="1795"/>
                  </a:cubicBezTo>
                  <a:cubicBezTo>
                    <a:pt x="2863" y="1795"/>
                    <a:pt x="2864" y="1795"/>
                    <a:pt x="2865" y="1795"/>
                  </a:cubicBezTo>
                  <a:cubicBezTo>
                    <a:pt x="2862" y="1785"/>
                    <a:pt x="2862" y="1785"/>
                    <a:pt x="2862" y="1785"/>
                  </a:cubicBezTo>
                  <a:cubicBezTo>
                    <a:pt x="2862" y="1795"/>
                    <a:pt x="2862" y="1795"/>
                    <a:pt x="2862" y="1795"/>
                  </a:cubicBezTo>
                  <a:cubicBezTo>
                    <a:pt x="2862" y="1787"/>
                    <a:pt x="2862" y="1787"/>
                    <a:pt x="2862" y="1787"/>
                  </a:cubicBezTo>
                  <a:cubicBezTo>
                    <a:pt x="2859" y="1794"/>
                    <a:pt x="2859" y="1794"/>
                    <a:pt x="2859" y="1794"/>
                  </a:cubicBezTo>
                  <a:cubicBezTo>
                    <a:pt x="2860" y="1795"/>
                    <a:pt x="2860" y="1795"/>
                    <a:pt x="2862" y="1795"/>
                  </a:cubicBezTo>
                  <a:cubicBezTo>
                    <a:pt x="2862" y="1787"/>
                    <a:pt x="2862" y="1787"/>
                    <a:pt x="2862" y="1787"/>
                  </a:cubicBezTo>
                  <a:cubicBezTo>
                    <a:pt x="2859" y="1794"/>
                    <a:pt x="2859" y="1794"/>
                    <a:pt x="2859" y="1794"/>
                  </a:cubicBezTo>
                  <a:cubicBezTo>
                    <a:pt x="2860" y="1793"/>
                    <a:pt x="2860" y="1793"/>
                    <a:pt x="2860" y="1793"/>
                  </a:cubicBezTo>
                  <a:cubicBezTo>
                    <a:pt x="2859" y="1794"/>
                    <a:pt x="2859" y="1794"/>
                    <a:pt x="2859" y="1794"/>
                  </a:cubicBezTo>
                  <a:cubicBezTo>
                    <a:pt x="2859" y="1794"/>
                    <a:pt x="2859" y="1794"/>
                    <a:pt x="2859" y="1794"/>
                  </a:cubicBezTo>
                  <a:cubicBezTo>
                    <a:pt x="2860" y="1793"/>
                    <a:pt x="2860" y="1793"/>
                    <a:pt x="2860" y="1793"/>
                  </a:cubicBezTo>
                  <a:cubicBezTo>
                    <a:pt x="2859" y="1794"/>
                    <a:pt x="2859" y="1794"/>
                    <a:pt x="2859" y="1794"/>
                  </a:cubicBezTo>
                  <a:cubicBezTo>
                    <a:pt x="2859" y="1794"/>
                    <a:pt x="2860" y="1795"/>
                    <a:pt x="2860" y="1795"/>
                  </a:cubicBezTo>
                  <a:cubicBezTo>
                    <a:pt x="2860" y="1795"/>
                    <a:pt x="2860" y="1795"/>
                    <a:pt x="2860" y="1795"/>
                  </a:cubicBezTo>
                  <a:cubicBezTo>
                    <a:pt x="2863" y="1797"/>
                    <a:pt x="2867" y="1798"/>
                    <a:pt x="2872" y="1798"/>
                  </a:cubicBezTo>
                  <a:cubicBezTo>
                    <a:pt x="2874" y="1798"/>
                    <a:pt x="2877" y="1797"/>
                    <a:pt x="2880" y="1796"/>
                  </a:cubicBezTo>
                  <a:cubicBezTo>
                    <a:pt x="2884" y="1794"/>
                    <a:pt x="2887" y="1791"/>
                    <a:pt x="2889" y="1788"/>
                  </a:cubicBezTo>
                  <a:cubicBezTo>
                    <a:pt x="2891" y="1784"/>
                    <a:pt x="2892" y="1781"/>
                    <a:pt x="2892" y="1777"/>
                  </a:cubicBezTo>
                  <a:cubicBezTo>
                    <a:pt x="2892" y="1777"/>
                    <a:pt x="2892" y="1777"/>
                    <a:pt x="2892" y="1777"/>
                  </a:cubicBezTo>
                  <a:cubicBezTo>
                    <a:pt x="2892" y="1776"/>
                    <a:pt x="2892" y="1776"/>
                    <a:pt x="2892" y="1775"/>
                  </a:cubicBezTo>
                  <a:cubicBezTo>
                    <a:pt x="2893" y="1775"/>
                    <a:pt x="2893" y="1774"/>
                    <a:pt x="2893" y="1774"/>
                  </a:cubicBezTo>
                  <a:cubicBezTo>
                    <a:pt x="2892" y="1774"/>
                    <a:pt x="2892" y="1774"/>
                    <a:pt x="2892" y="1774"/>
                  </a:cubicBezTo>
                  <a:cubicBezTo>
                    <a:pt x="2893" y="1774"/>
                    <a:pt x="2893" y="1774"/>
                    <a:pt x="2893" y="1774"/>
                  </a:cubicBezTo>
                  <a:cubicBezTo>
                    <a:pt x="2893" y="1774"/>
                    <a:pt x="2893" y="1774"/>
                    <a:pt x="2893" y="1774"/>
                  </a:cubicBezTo>
                  <a:cubicBezTo>
                    <a:pt x="2892" y="1774"/>
                    <a:pt x="2892" y="1774"/>
                    <a:pt x="2892" y="1774"/>
                  </a:cubicBezTo>
                  <a:cubicBezTo>
                    <a:pt x="2893" y="1774"/>
                    <a:pt x="2893" y="1774"/>
                    <a:pt x="2893" y="1774"/>
                  </a:cubicBezTo>
                  <a:cubicBezTo>
                    <a:pt x="2887" y="1772"/>
                    <a:pt x="2887" y="1772"/>
                    <a:pt x="2887" y="1772"/>
                  </a:cubicBezTo>
                  <a:cubicBezTo>
                    <a:pt x="2891" y="1776"/>
                    <a:pt x="2891" y="1776"/>
                    <a:pt x="2891" y="1776"/>
                  </a:cubicBezTo>
                  <a:cubicBezTo>
                    <a:pt x="2892" y="1776"/>
                    <a:pt x="2893" y="1775"/>
                    <a:pt x="2893" y="1774"/>
                  </a:cubicBezTo>
                  <a:cubicBezTo>
                    <a:pt x="2887" y="1772"/>
                    <a:pt x="2887" y="1772"/>
                    <a:pt x="2887" y="1772"/>
                  </a:cubicBezTo>
                  <a:cubicBezTo>
                    <a:pt x="2891" y="1776"/>
                    <a:pt x="2891" y="1776"/>
                    <a:pt x="2891" y="1776"/>
                  </a:cubicBezTo>
                  <a:cubicBezTo>
                    <a:pt x="2886" y="1772"/>
                    <a:pt x="2886" y="1772"/>
                    <a:pt x="2886" y="1772"/>
                  </a:cubicBezTo>
                  <a:cubicBezTo>
                    <a:pt x="2889" y="1778"/>
                    <a:pt x="2889" y="1778"/>
                    <a:pt x="2889" y="1778"/>
                  </a:cubicBezTo>
                  <a:cubicBezTo>
                    <a:pt x="2890" y="1778"/>
                    <a:pt x="2891" y="1777"/>
                    <a:pt x="2891" y="1776"/>
                  </a:cubicBezTo>
                  <a:cubicBezTo>
                    <a:pt x="2886" y="1772"/>
                    <a:pt x="2886" y="1772"/>
                    <a:pt x="2886" y="1772"/>
                  </a:cubicBezTo>
                  <a:cubicBezTo>
                    <a:pt x="2889" y="1778"/>
                    <a:pt x="2889" y="1778"/>
                    <a:pt x="2889" y="1778"/>
                  </a:cubicBezTo>
                  <a:cubicBezTo>
                    <a:pt x="2887" y="1773"/>
                    <a:pt x="2887" y="1773"/>
                    <a:pt x="2887" y="1773"/>
                  </a:cubicBezTo>
                  <a:cubicBezTo>
                    <a:pt x="2889" y="1778"/>
                    <a:pt x="2889" y="1778"/>
                    <a:pt x="2889" y="1778"/>
                  </a:cubicBezTo>
                  <a:cubicBezTo>
                    <a:pt x="2889" y="1778"/>
                    <a:pt x="2889" y="1778"/>
                    <a:pt x="2889" y="1778"/>
                  </a:cubicBezTo>
                  <a:cubicBezTo>
                    <a:pt x="2887" y="1773"/>
                    <a:pt x="2887" y="1773"/>
                    <a:pt x="2887" y="1773"/>
                  </a:cubicBezTo>
                  <a:cubicBezTo>
                    <a:pt x="2889" y="1778"/>
                    <a:pt x="2889" y="1778"/>
                    <a:pt x="2889" y="1778"/>
                  </a:cubicBezTo>
                  <a:cubicBezTo>
                    <a:pt x="2888" y="1777"/>
                    <a:pt x="2888" y="1777"/>
                    <a:pt x="2888" y="1777"/>
                  </a:cubicBezTo>
                  <a:cubicBezTo>
                    <a:pt x="2888" y="1779"/>
                    <a:pt x="2888" y="1779"/>
                    <a:pt x="2888" y="1779"/>
                  </a:cubicBezTo>
                  <a:cubicBezTo>
                    <a:pt x="2889" y="1778"/>
                    <a:pt x="2889" y="1778"/>
                    <a:pt x="2889" y="1778"/>
                  </a:cubicBezTo>
                  <a:cubicBezTo>
                    <a:pt x="2888" y="1777"/>
                    <a:pt x="2888" y="1777"/>
                    <a:pt x="2888" y="1777"/>
                  </a:cubicBezTo>
                  <a:cubicBezTo>
                    <a:pt x="2888" y="1779"/>
                    <a:pt x="2888" y="1779"/>
                    <a:pt x="2888" y="1779"/>
                  </a:cubicBezTo>
                  <a:cubicBezTo>
                    <a:pt x="2889" y="1778"/>
                    <a:pt x="2889" y="1778"/>
                    <a:pt x="2889" y="1778"/>
                  </a:cubicBezTo>
                  <a:cubicBezTo>
                    <a:pt x="2889" y="1778"/>
                    <a:pt x="2890" y="1778"/>
                    <a:pt x="2891" y="1778"/>
                  </a:cubicBezTo>
                  <a:cubicBezTo>
                    <a:pt x="2891" y="1778"/>
                    <a:pt x="2891" y="1778"/>
                    <a:pt x="2891" y="1778"/>
                  </a:cubicBezTo>
                  <a:cubicBezTo>
                    <a:pt x="2892" y="1778"/>
                    <a:pt x="2894" y="1778"/>
                    <a:pt x="2897" y="1778"/>
                  </a:cubicBezTo>
                  <a:cubicBezTo>
                    <a:pt x="2899" y="1777"/>
                    <a:pt x="2900" y="1777"/>
                    <a:pt x="2902" y="1777"/>
                  </a:cubicBezTo>
                  <a:cubicBezTo>
                    <a:pt x="2904" y="1776"/>
                    <a:pt x="2906" y="1775"/>
                    <a:pt x="2908" y="1773"/>
                  </a:cubicBezTo>
                  <a:cubicBezTo>
                    <a:pt x="2908" y="1773"/>
                    <a:pt x="2908" y="1773"/>
                    <a:pt x="2908" y="1773"/>
                  </a:cubicBezTo>
                  <a:cubicBezTo>
                    <a:pt x="2913" y="1769"/>
                    <a:pt x="2917" y="1763"/>
                    <a:pt x="2920" y="1758"/>
                  </a:cubicBezTo>
                  <a:cubicBezTo>
                    <a:pt x="2924" y="1752"/>
                    <a:pt x="2926" y="1745"/>
                    <a:pt x="2926" y="1738"/>
                  </a:cubicBezTo>
                  <a:cubicBezTo>
                    <a:pt x="2926" y="1736"/>
                    <a:pt x="2925" y="1734"/>
                    <a:pt x="2925" y="1732"/>
                  </a:cubicBezTo>
                  <a:cubicBezTo>
                    <a:pt x="2925" y="1732"/>
                    <a:pt x="2925" y="1732"/>
                    <a:pt x="2925" y="1732"/>
                  </a:cubicBezTo>
                  <a:cubicBezTo>
                    <a:pt x="2925" y="1729"/>
                    <a:pt x="2924" y="1728"/>
                    <a:pt x="2924" y="1727"/>
                  </a:cubicBezTo>
                  <a:cubicBezTo>
                    <a:pt x="2924" y="1727"/>
                    <a:pt x="2924" y="1727"/>
                    <a:pt x="2924" y="1727"/>
                  </a:cubicBezTo>
                  <a:cubicBezTo>
                    <a:pt x="2921" y="1727"/>
                    <a:pt x="2921" y="1727"/>
                    <a:pt x="2921" y="1727"/>
                  </a:cubicBezTo>
                  <a:cubicBezTo>
                    <a:pt x="2924" y="1728"/>
                    <a:pt x="2924" y="1728"/>
                    <a:pt x="2924" y="1728"/>
                  </a:cubicBezTo>
                  <a:cubicBezTo>
                    <a:pt x="2924" y="1727"/>
                    <a:pt x="2924" y="1727"/>
                    <a:pt x="2924" y="1727"/>
                  </a:cubicBezTo>
                  <a:cubicBezTo>
                    <a:pt x="2921" y="1727"/>
                    <a:pt x="2921" y="1727"/>
                    <a:pt x="2921" y="1727"/>
                  </a:cubicBezTo>
                  <a:cubicBezTo>
                    <a:pt x="2924" y="1728"/>
                    <a:pt x="2924" y="1728"/>
                    <a:pt x="2924" y="1728"/>
                  </a:cubicBezTo>
                  <a:cubicBezTo>
                    <a:pt x="2920" y="1726"/>
                    <a:pt x="2920" y="1726"/>
                    <a:pt x="2920" y="1726"/>
                  </a:cubicBezTo>
                  <a:cubicBezTo>
                    <a:pt x="2923" y="1730"/>
                    <a:pt x="2923" y="1730"/>
                    <a:pt x="2923" y="1730"/>
                  </a:cubicBezTo>
                  <a:cubicBezTo>
                    <a:pt x="2923" y="1730"/>
                    <a:pt x="2924" y="1729"/>
                    <a:pt x="2924" y="1728"/>
                  </a:cubicBezTo>
                  <a:cubicBezTo>
                    <a:pt x="2920" y="1726"/>
                    <a:pt x="2920" y="1726"/>
                    <a:pt x="2920" y="1726"/>
                  </a:cubicBezTo>
                  <a:cubicBezTo>
                    <a:pt x="2923" y="1730"/>
                    <a:pt x="2923" y="1730"/>
                    <a:pt x="2923" y="1730"/>
                  </a:cubicBezTo>
                  <a:cubicBezTo>
                    <a:pt x="2922" y="1729"/>
                    <a:pt x="2922" y="1729"/>
                    <a:pt x="2922" y="1729"/>
                  </a:cubicBezTo>
                  <a:cubicBezTo>
                    <a:pt x="2923" y="1730"/>
                    <a:pt x="2923" y="1730"/>
                    <a:pt x="2923" y="1730"/>
                  </a:cubicBezTo>
                  <a:cubicBezTo>
                    <a:pt x="2923" y="1730"/>
                    <a:pt x="2923" y="1730"/>
                    <a:pt x="2923" y="1730"/>
                  </a:cubicBezTo>
                  <a:cubicBezTo>
                    <a:pt x="2922" y="1729"/>
                    <a:pt x="2922" y="1729"/>
                    <a:pt x="2922" y="1729"/>
                  </a:cubicBezTo>
                  <a:cubicBezTo>
                    <a:pt x="2923" y="1730"/>
                    <a:pt x="2923" y="1730"/>
                    <a:pt x="2923" y="1730"/>
                  </a:cubicBezTo>
                  <a:cubicBezTo>
                    <a:pt x="2923" y="1730"/>
                    <a:pt x="2923" y="1730"/>
                    <a:pt x="2923" y="1730"/>
                  </a:cubicBezTo>
                  <a:cubicBezTo>
                    <a:pt x="2923" y="1730"/>
                    <a:pt x="2923" y="1729"/>
                    <a:pt x="2924" y="1729"/>
                  </a:cubicBezTo>
                  <a:cubicBezTo>
                    <a:pt x="2924" y="1729"/>
                    <a:pt x="2924" y="1729"/>
                    <a:pt x="2924" y="1729"/>
                  </a:cubicBezTo>
                  <a:cubicBezTo>
                    <a:pt x="2927" y="1728"/>
                    <a:pt x="2928" y="1727"/>
                    <a:pt x="2929" y="1726"/>
                  </a:cubicBezTo>
                  <a:cubicBezTo>
                    <a:pt x="2931" y="1724"/>
                    <a:pt x="2932" y="1723"/>
                    <a:pt x="2932" y="1723"/>
                  </a:cubicBezTo>
                  <a:cubicBezTo>
                    <a:pt x="2932" y="1723"/>
                    <a:pt x="2932" y="1723"/>
                    <a:pt x="2932" y="1723"/>
                  </a:cubicBezTo>
                  <a:cubicBezTo>
                    <a:pt x="2926" y="1719"/>
                    <a:pt x="2926" y="1719"/>
                    <a:pt x="2926" y="1719"/>
                  </a:cubicBezTo>
                  <a:cubicBezTo>
                    <a:pt x="2931" y="1724"/>
                    <a:pt x="2931" y="1724"/>
                    <a:pt x="2931" y="1724"/>
                  </a:cubicBezTo>
                  <a:cubicBezTo>
                    <a:pt x="2932" y="1724"/>
                    <a:pt x="2932" y="1723"/>
                    <a:pt x="2932" y="1723"/>
                  </a:cubicBezTo>
                  <a:cubicBezTo>
                    <a:pt x="2926" y="1719"/>
                    <a:pt x="2926" y="1719"/>
                    <a:pt x="2926" y="1719"/>
                  </a:cubicBezTo>
                  <a:cubicBezTo>
                    <a:pt x="2931" y="1724"/>
                    <a:pt x="2931" y="1724"/>
                    <a:pt x="2931" y="1724"/>
                  </a:cubicBezTo>
                  <a:cubicBezTo>
                    <a:pt x="2931" y="1724"/>
                    <a:pt x="2931" y="1724"/>
                    <a:pt x="2931" y="1724"/>
                  </a:cubicBezTo>
                  <a:cubicBezTo>
                    <a:pt x="2931" y="1724"/>
                    <a:pt x="2931" y="1724"/>
                    <a:pt x="2932" y="1724"/>
                  </a:cubicBezTo>
                  <a:cubicBezTo>
                    <a:pt x="2932" y="1723"/>
                    <a:pt x="2932" y="1723"/>
                    <a:pt x="2932" y="1723"/>
                  </a:cubicBezTo>
                  <a:cubicBezTo>
                    <a:pt x="2932" y="1723"/>
                    <a:pt x="2932" y="1723"/>
                    <a:pt x="2932" y="1723"/>
                  </a:cubicBezTo>
                  <a:cubicBezTo>
                    <a:pt x="2932" y="1723"/>
                    <a:pt x="2932" y="1723"/>
                    <a:pt x="2932" y="1723"/>
                  </a:cubicBezTo>
                  <a:cubicBezTo>
                    <a:pt x="2932" y="1723"/>
                    <a:pt x="2932" y="1723"/>
                    <a:pt x="2932" y="1723"/>
                  </a:cubicBezTo>
                  <a:cubicBezTo>
                    <a:pt x="2932" y="1723"/>
                    <a:pt x="2932" y="1723"/>
                    <a:pt x="2932" y="1723"/>
                  </a:cubicBezTo>
                  <a:cubicBezTo>
                    <a:pt x="2932" y="1723"/>
                    <a:pt x="2932" y="1723"/>
                    <a:pt x="2932" y="1723"/>
                  </a:cubicBezTo>
                  <a:cubicBezTo>
                    <a:pt x="2929" y="1719"/>
                    <a:pt x="2929" y="1719"/>
                    <a:pt x="2929" y="1719"/>
                  </a:cubicBezTo>
                  <a:cubicBezTo>
                    <a:pt x="2931" y="1724"/>
                    <a:pt x="2931" y="1724"/>
                    <a:pt x="2931" y="1724"/>
                  </a:cubicBezTo>
                  <a:cubicBezTo>
                    <a:pt x="2932" y="1724"/>
                    <a:pt x="2932" y="1723"/>
                    <a:pt x="2932" y="1723"/>
                  </a:cubicBezTo>
                  <a:cubicBezTo>
                    <a:pt x="2929" y="1719"/>
                    <a:pt x="2929" y="1719"/>
                    <a:pt x="2929" y="1719"/>
                  </a:cubicBezTo>
                  <a:cubicBezTo>
                    <a:pt x="2931" y="1724"/>
                    <a:pt x="2931" y="1724"/>
                    <a:pt x="2931" y="1724"/>
                  </a:cubicBezTo>
                  <a:cubicBezTo>
                    <a:pt x="2927" y="1715"/>
                    <a:pt x="2927" y="1715"/>
                    <a:pt x="2927" y="1715"/>
                  </a:cubicBezTo>
                  <a:cubicBezTo>
                    <a:pt x="2927" y="1725"/>
                    <a:pt x="2927" y="1725"/>
                    <a:pt x="2927" y="1725"/>
                  </a:cubicBezTo>
                  <a:cubicBezTo>
                    <a:pt x="2929" y="1725"/>
                    <a:pt x="2930" y="1724"/>
                    <a:pt x="2931" y="1724"/>
                  </a:cubicBezTo>
                  <a:cubicBezTo>
                    <a:pt x="2927" y="1715"/>
                    <a:pt x="2927" y="1715"/>
                    <a:pt x="2927" y="1715"/>
                  </a:cubicBezTo>
                  <a:cubicBezTo>
                    <a:pt x="2927" y="1725"/>
                    <a:pt x="2927" y="1725"/>
                    <a:pt x="2927" y="1725"/>
                  </a:cubicBezTo>
                  <a:cubicBezTo>
                    <a:pt x="2927" y="1714"/>
                    <a:pt x="2927" y="1714"/>
                    <a:pt x="2927" y="1714"/>
                  </a:cubicBezTo>
                  <a:cubicBezTo>
                    <a:pt x="2925" y="1724"/>
                    <a:pt x="2925" y="1724"/>
                    <a:pt x="2925" y="1724"/>
                  </a:cubicBezTo>
                  <a:cubicBezTo>
                    <a:pt x="2926" y="1724"/>
                    <a:pt x="2926" y="1725"/>
                    <a:pt x="2927" y="1725"/>
                  </a:cubicBezTo>
                  <a:cubicBezTo>
                    <a:pt x="2927" y="1714"/>
                    <a:pt x="2927" y="1714"/>
                    <a:pt x="2927" y="1714"/>
                  </a:cubicBezTo>
                  <a:cubicBezTo>
                    <a:pt x="2925" y="1724"/>
                    <a:pt x="2925" y="1724"/>
                    <a:pt x="2925" y="1724"/>
                  </a:cubicBezTo>
                  <a:cubicBezTo>
                    <a:pt x="2925" y="1724"/>
                    <a:pt x="2925" y="1724"/>
                    <a:pt x="2925" y="1724"/>
                  </a:cubicBezTo>
                  <a:cubicBezTo>
                    <a:pt x="2927" y="1725"/>
                    <a:pt x="2928" y="1725"/>
                    <a:pt x="2930" y="1725"/>
                  </a:cubicBezTo>
                  <a:cubicBezTo>
                    <a:pt x="2933" y="1725"/>
                    <a:pt x="2935" y="1725"/>
                    <a:pt x="2937" y="1724"/>
                  </a:cubicBezTo>
                  <a:cubicBezTo>
                    <a:pt x="2941" y="1723"/>
                    <a:pt x="2943" y="1721"/>
                    <a:pt x="2945" y="1719"/>
                  </a:cubicBezTo>
                  <a:cubicBezTo>
                    <a:pt x="2947" y="1717"/>
                    <a:pt x="2948" y="1715"/>
                    <a:pt x="2950" y="1713"/>
                  </a:cubicBezTo>
                  <a:cubicBezTo>
                    <a:pt x="2950" y="1713"/>
                    <a:pt x="2950" y="1713"/>
                    <a:pt x="2950" y="1713"/>
                  </a:cubicBezTo>
                  <a:cubicBezTo>
                    <a:pt x="2950" y="1712"/>
                    <a:pt x="2951" y="1712"/>
                    <a:pt x="2951" y="1712"/>
                  </a:cubicBezTo>
                  <a:cubicBezTo>
                    <a:pt x="2951" y="1711"/>
                    <a:pt x="2951" y="1711"/>
                    <a:pt x="2951" y="1711"/>
                  </a:cubicBezTo>
                  <a:cubicBezTo>
                    <a:pt x="2951" y="1711"/>
                    <a:pt x="2951" y="1711"/>
                    <a:pt x="2951" y="1711"/>
                  </a:cubicBezTo>
                  <a:cubicBezTo>
                    <a:pt x="2949" y="1709"/>
                    <a:pt x="2949" y="1709"/>
                    <a:pt x="2949" y="1709"/>
                  </a:cubicBezTo>
                  <a:cubicBezTo>
                    <a:pt x="2951" y="1712"/>
                    <a:pt x="2951" y="1712"/>
                    <a:pt x="2951" y="1712"/>
                  </a:cubicBezTo>
                  <a:cubicBezTo>
                    <a:pt x="2951" y="1711"/>
                    <a:pt x="2951" y="1711"/>
                    <a:pt x="2951" y="1711"/>
                  </a:cubicBezTo>
                  <a:cubicBezTo>
                    <a:pt x="2949" y="1709"/>
                    <a:pt x="2949" y="1709"/>
                    <a:pt x="2949" y="1709"/>
                  </a:cubicBezTo>
                  <a:cubicBezTo>
                    <a:pt x="2951" y="1712"/>
                    <a:pt x="2951" y="1712"/>
                    <a:pt x="2951" y="1712"/>
                  </a:cubicBezTo>
                  <a:cubicBezTo>
                    <a:pt x="2947" y="1706"/>
                    <a:pt x="2947" y="1706"/>
                    <a:pt x="2947" y="1706"/>
                  </a:cubicBezTo>
                  <a:cubicBezTo>
                    <a:pt x="2949" y="1713"/>
                    <a:pt x="2949" y="1713"/>
                    <a:pt x="2949" y="1713"/>
                  </a:cubicBezTo>
                  <a:cubicBezTo>
                    <a:pt x="2950" y="1712"/>
                    <a:pt x="2950" y="1712"/>
                    <a:pt x="2951" y="1712"/>
                  </a:cubicBezTo>
                  <a:cubicBezTo>
                    <a:pt x="2947" y="1706"/>
                    <a:pt x="2947" y="1706"/>
                    <a:pt x="2947" y="1706"/>
                  </a:cubicBezTo>
                  <a:cubicBezTo>
                    <a:pt x="2949" y="1713"/>
                    <a:pt x="2949" y="1713"/>
                    <a:pt x="2949" y="1713"/>
                  </a:cubicBezTo>
                  <a:cubicBezTo>
                    <a:pt x="2946" y="1705"/>
                    <a:pt x="2946" y="1705"/>
                    <a:pt x="2946" y="1705"/>
                  </a:cubicBezTo>
                  <a:cubicBezTo>
                    <a:pt x="2946" y="1713"/>
                    <a:pt x="2946" y="1713"/>
                    <a:pt x="2946" y="1713"/>
                  </a:cubicBezTo>
                  <a:cubicBezTo>
                    <a:pt x="2947" y="1713"/>
                    <a:pt x="2948" y="1713"/>
                    <a:pt x="2949" y="1713"/>
                  </a:cubicBezTo>
                  <a:cubicBezTo>
                    <a:pt x="2946" y="1705"/>
                    <a:pt x="2946" y="1705"/>
                    <a:pt x="2946" y="1705"/>
                  </a:cubicBezTo>
                  <a:cubicBezTo>
                    <a:pt x="2946" y="1713"/>
                    <a:pt x="2946" y="1713"/>
                    <a:pt x="2946" y="1713"/>
                  </a:cubicBezTo>
                  <a:cubicBezTo>
                    <a:pt x="2946" y="1707"/>
                    <a:pt x="2946" y="1707"/>
                    <a:pt x="2946" y="1707"/>
                  </a:cubicBezTo>
                  <a:cubicBezTo>
                    <a:pt x="2945" y="1713"/>
                    <a:pt x="2945" y="1713"/>
                    <a:pt x="2945" y="1713"/>
                  </a:cubicBezTo>
                  <a:cubicBezTo>
                    <a:pt x="2945" y="1713"/>
                    <a:pt x="2945" y="1713"/>
                    <a:pt x="2946" y="1713"/>
                  </a:cubicBezTo>
                  <a:cubicBezTo>
                    <a:pt x="2946" y="1707"/>
                    <a:pt x="2946" y="1707"/>
                    <a:pt x="2946" y="1707"/>
                  </a:cubicBezTo>
                  <a:cubicBezTo>
                    <a:pt x="2945" y="1713"/>
                    <a:pt x="2945" y="1713"/>
                    <a:pt x="2945" y="1713"/>
                  </a:cubicBezTo>
                  <a:cubicBezTo>
                    <a:pt x="2945" y="1710"/>
                    <a:pt x="2945" y="1710"/>
                    <a:pt x="2945" y="1710"/>
                  </a:cubicBezTo>
                  <a:cubicBezTo>
                    <a:pt x="2944" y="1713"/>
                    <a:pt x="2944" y="1713"/>
                    <a:pt x="2944" y="1713"/>
                  </a:cubicBezTo>
                  <a:cubicBezTo>
                    <a:pt x="2945" y="1713"/>
                    <a:pt x="2945" y="1713"/>
                    <a:pt x="2945" y="1713"/>
                  </a:cubicBezTo>
                  <a:cubicBezTo>
                    <a:pt x="2945" y="1710"/>
                    <a:pt x="2945" y="1710"/>
                    <a:pt x="2945" y="1710"/>
                  </a:cubicBezTo>
                  <a:cubicBezTo>
                    <a:pt x="2944" y="1713"/>
                    <a:pt x="2944" y="1713"/>
                    <a:pt x="2944" y="1713"/>
                  </a:cubicBezTo>
                  <a:cubicBezTo>
                    <a:pt x="2944" y="1713"/>
                    <a:pt x="2944" y="1713"/>
                    <a:pt x="2944" y="1713"/>
                  </a:cubicBezTo>
                  <a:cubicBezTo>
                    <a:pt x="2944" y="1713"/>
                    <a:pt x="2945" y="1713"/>
                    <a:pt x="2946" y="1714"/>
                  </a:cubicBezTo>
                  <a:cubicBezTo>
                    <a:pt x="2946" y="1714"/>
                    <a:pt x="2946" y="1714"/>
                    <a:pt x="2946" y="1714"/>
                  </a:cubicBezTo>
                  <a:cubicBezTo>
                    <a:pt x="2949" y="1715"/>
                    <a:pt x="2952" y="1717"/>
                    <a:pt x="2955" y="1718"/>
                  </a:cubicBezTo>
                  <a:cubicBezTo>
                    <a:pt x="2959" y="1720"/>
                    <a:pt x="2963" y="1720"/>
                    <a:pt x="2967" y="1720"/>
                  </a:cubicBezTo>
                  <a:cubicBezTo>
                    <a:pt x="2969" y="1720"/>
                    <a:pt x="2972" y="1720"/>
                    <a:pt x="2974" y="1720"/>
                  </a:cubicBezTo>
                  <a:cubicBezTo>
                    <a:pt x="2974" y="1720"/>
                    <a:pt x="2974" y="1720"/>
                    <a:pt x="2974" y="1720"/>
                  </a:cubicBezTo>
                  <a:cubicBezTo>
                    <a:pt x="2974" y="1720"/>
                    <a:pt x="2974" y="1720"/>
                    <a:pt x="2974" y="1720"/>
                  </a:cubicBezTo>
                  <a:cubicBezTo>
                    <a:pt x="2973" y="1714"/>
                    <a:pt x="2973" y="1714"/>
                    <a:pt x="2973" y="1714"/>
                  </a:cubicBezTo>
                  <a:cubicBezTo>
                    <a:pt x="2973" y="1720"/>
                    <a:pt x="2973" y="1720"/>
                    <a:pt x="2973" y="1720"/>
                  </a:cubicBezTo>
                  <a:cubicBezTo>
                    <a:pt x="2973" y="1720"/>
                    <a:pt x="2974" y="1720"/>
                    <a:pt x="2974" y="1720"/>
                  </a:cubicBezTo>
                  <a:cubicBezTo>
                    <a:pt x="2973" y="1714"/>
                    <a:pt x="2973" y="1714"/>
                    <a:pt x="2973" y="1714"/>
                  </a:cubicBezTo>
                  <a:cubicBezTo>
                    <a:pt x="2973" y="1720"/>
                    <a:pt x="2973" y="1720"/>
                    <a:pt x="2973" y="1720"/>
                  </a:cubicBezTo>
                  <a:cubicBezTo>
                    <a:pt x="2973" y="1711"/>
                    <a:pt x="2973" y="1711"/>
                    <a:pt x="2973" y="1711"/>
                  </a:cubicBezTo>
                  <a:cubicBezTo>
                    <a:pt x="2969" y="1719"/>
                    <a:pt x="2969" y="1719"/>
                    <a:pt x="2969" y="1719"/>
                  </a:cubicBezTo>
                  <a:cubicBezTo>
                    <a:pt x="2970" y="1720"/>
                    <a:pt x="2972" y="1720"/>
                    <a:pt x="2973" y="1720"/>
                  </a:cubicBezTo>
                  <a:cubicBezTo>
                    <a:pt x="2973" y="1711"/>
                    <a:pt x="2973" y="1711"/>
                    <a:pt x="2973" y="1711"/>
                  </a:cubicBezTo>
                  <a:cubicBezTo>
                    <a:pt x="2969" y="1719"/>
                    <a:pt x="2969" y="1719"/>
                    <a:pt x="2969" y="1719"/>
                  </a:cubicBezTo>
                  <a:cubicBezTo>
                    <a:pt x="2973" y="1711"/>
                    <a:pt x="2973" y="1711"/>
                    <a:pt x="2973" y="1711"/>
                  </a:cubicBezTo>
                  <a:cubicBezTo>
                    <a:pt x="2966" y="1717"/>
                    <a:pt x="2966" y="1717"/>
                    <a:pt x="2966" y="1717"/>
                  </a:cubicBezTo>
                  <a:cubicBezTo>
                    <a:pt x="2967" y="1718"/>
                    <a:pt x="2968" y="1718"/>
                    <a:pt x="2969" y="1719"/>
                  </a:cubicBezTo>
                  <a:cubicBezTo>
                    <a:pt x="2973" y="1711"/>
                    <a:pt x="2973" y="1711"/>
                    <a:pt x="2973" y="1711"/>
                  </a:cubicBezTo>
                  <a:cubicBezTo>
                    <a:pt x="2966" y="1717"/>
                    <a:pt x="2966" y="1717"/>
                    <a:pt x="2966" y="1717"/>
                  </a:cubicBezTo>
                  <a:cubicBezTo>
                    <a:pt x="2972" y="1712"/>
                    <a:pt x="2972" y="1712"/>
                    <a:pt x="2972" y="1712"/>
                  </a:cubicBezTo>
                  <a:cubicBezTo>
                    <a:pt x="2964" y="1714"/>
                    <a:pt x="2964" y="1714"/>
                    <a:pt x="2964" y="1714"/>
                  </a:cubicBezTo>
                  <a:cubicBezTo>
                    <a:pt x="2965" y="1714"/>
                    <a:pt x="2965" y="1716"/>
                    <a:pt x="2966" y="1717"/>
                  </a:cubicBezTo>
                  <a:cubicBezTo>
                    <a:pt x="2972" y="1712"/>
                    <a:pt x="2972" y="1712"/>
                    <a:pt x="2972" y="1712"/>
                  </a:cubicBezTo>
                  <a:cubicBezTo>
                    <a:pt x="2964" y="1714"/>
                    <a:pt x="2964" y="1714"/>
                    <a:pt x="2964" y="1714"/>
                  </a:cubicBezTo>
                  <a:cubicBezTo>
                    <a:pt x="2969" y="1712"/>
                    <a:pt x="2969" y="1712"/>
                    <a:pt x="2969" y="1712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4" y="1713"/>
                    <a:pt x="2964" y="1713"/>
                    <a:pt x="2964" y="1714"/>
                  </a:cubicBezTo>
                  <a:cubicBezTo>
                    <a:pt x="2969" y="1712"/>
                    <a:pt x="2969" y="1712"/>
                    <a:pt x="2969" y="1712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6" y="1712"/>
                    <a:pt x="2966" y="1712"/>
                    <a:pt x="2966" y="1712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6" y="1712"/>
                    <a:pt x="2966" y="1712"/>
                    <a:pt x="2966" y="1712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9" y="1713"/>
                    <a:pt x="2969" y="1713"/>
                    <a:pt x="2969" y="1713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9" y="1713"/>
                    <a:pt x="2969" y="1713"/>
                    <a:pt x="2969" y="1713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6" y="1712"/>
                    <a:pt x="2966" y="1712"/>
                    <a:pt x="2966" y="1712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6" y="1712"/>
                    <a:pt x="2966" y="1712"/>
                    <a:pt x="2966" y="1712"/>
                  </a:cubicBezTo>
                  <a:cubicBezTo>
                    <a:pt x="2964" y="1712"/>
                    <a:pt x="2964" y="1712"/>
                    <a:pt x="2964" y="1712"/>
                  </a:cubicBezTo>
                  <a:cubicBezTo>
                    <a:pt x="2964" y="1712"/>
                    <a:pt x="2964" y="1712"/>
                    <a:pt x="2964" y="1713"/>
                  </a:cubicBezTo>
                  <a:cubicBezTo>
                    <a:pt x="2963" y="1714"/>
                    <a:pt x="2963" y="1716"/>
                    <a:pt x="2963" y="1718"/>
                  </a:cubicBezTo>
                  <a:cubicBezTo>
                    <a:pt x="2963" y="1718"/>
                    <a:pt x="2963" y="1718"/>
                    <a:pt x="2963" y="1718"/>
                  </a:cubicBezTo>
                  <a:cubicBezTo>
                    <a:pt x="2962" y="1720"/>
                    <a:pt x="2962" y="1721"/>
                    <a:pt x="2962" y="1723"/>
                  </a:cubicBezTo>
                  <a:cubicBezTo>
                    <a:pt x="2962" y="1726"/>
                    <a:pt x="2963" y="1730"/>
                    <a:pt x="2964" y="1734"/>
                  </a:cubicBezTo>
                  <a:cubicBezTo>
                    <a:pt x="2966" y="1738"/>
                    <a:pt x="2969" y="1742"/>
                    <a:pt x="2973" y="1745"/>
                  </a:cubicBezTo>
                  <a:cubicBezTo>
                    <a:pt x="2974" y="1746"/>
                    <a:pt x="2975" y="1747"/>
                    <a:pt x="2977" y="1749"/>
                  </a:cubicBezTo>
                  <a:cubicBezTo>
                    <a:pt x="2979" y="1752"/>
                    <a:pt x="2981" y="1756"/>
                    <a:pt x="2985" y="1760"/>
                  </a:cubicBezTo>
                  <a:cubicBezTo>
                    <a:pt x="2987" y="1762"/>
                    <a:pt x="2989" y="1765"/>
                    <a:pt x="2992" y="1767"/>
                  </a:cubicBezTo>
                  <a:cubicBezTo>
                    <a:pt x="2994" y="1769"/>
                    <a:pt x="2998" y="1771"/>
                    <a:pt x="3002" y="1772"/>
                  </a:cubicBezTo>
                  <a:cubicBezTo>
                    <a:pt x="3002" y="1772"/>
                    <a:pt x="3002" y="1772"/>
                    <a:pt x="3002" y="1772"/>
                  </a:cubicBezTo>
                  <a:cubicBezTo>
                    <a:pt x="3005" y="1761"/>
                    <a:pt x="3005" y="1761"/>
                    <a:pt x="3005" y="1761"/>
                  </a:cubicBezTo>
                  <a:cubicBezTo>
                    <a:pt x="2996" y="1768"/>
                    <a:pt x="2996" y="1768"/>
                    <a:pt x="2996" y="1768"/>
                  </a:cubicBezTo>
                  <a:cubicBezTo>
                    <a:pt x="2997" y="1769"/>
                    <a:pt x="2999" y="1771"/>
                    <a:pt x="3002" y="1772"/>
                  </a:cubicBezTo>
                  <a:cubicBezTo>
                    <a:pt x="3005" y="1761"/>
                    <a:pt x="3005" y="1761"/>
                    <a:pt x="3005" y="1761"/>
                  </a:cubicBezTo>
                  <a:cubicBezTo>
                    <a:pt x="2996" y="1768"/>
                    <a:pt x="2996" y="1768"/>
                    <a:pt x="2996" y="1768"/>
                  </a:cubicBezTo>
                  <a:cubicBezTo>
                    <a:pt x="3004" y="1762"/>
                    <a:pt x="3004" y="1762"/>
                    <a:pt x="3004" y="1762"/>
                  </a:cubicBezTo>
                  <a:cubicBezTo>
                    <a:pt x="2995" y="1766"/>
                    <a:pt x="2995" y="1766"/>
                    <a:pt x="2995" y="1766"/>
                  </a:cubicBezTo>
                  <a:cubicBezTo>
                    <a:pt x="2995" y="1767"/>
                    <a:pt x="2996" y="1767"/>
                    <a:pt x="2996" y="1768"/>
                  </a:cubicBezTo>
                  <a:cubicBezTo>
                    <a:pt x="3004" y="1762"/>
                    <a:pt x="3004" y="1762"/>
                    <a:pt x="3004" y="1762"/>
                  </a:cubicBezTo>
                  <a:cubicBezTo>
                    <a:pt x="2995" y="1766"/>
                    <a:pt x="2995" y="1766"/>
                    <a:pt x="2995" y="1766"/>
                  </a:cubicBezTo>
                  <a:cubicBezTo>
                    <a:pt x="3001" y="1763"/>
                    <a:pt x="3001" y="1763"/>
                    <a:pt x="3001" y="1763"/>
                  </a:cubicBezTo>
                  <a:cubicBezTo>
                    <a:pt x="2994" y="1765"/>
                    <a:pt x="2994" y="1765"/>
                    <a:pt x="2994" y="1765"/>
                  </a:cubicBezTo>
                  <a:cubicBezTo>
                    <a:pt x="2994" y="1765"/>
                    <a:pt x="2994" y="1765"/>
                    <a:pt x="2995" y="1766"/>
                  </a:cubicBezTo>
                  <a:cubicBezTo>
                    <a:pt x="3001" y="1763"/>
                    <a:pt x="3001" y="1763"/>
                    <a:pt x="3001" y="1763"/>
                  </a:cubicBezTo>
                  <a:cubicBezTo>
                    <a:pt x="2994" y="1765"/>
                    <a:pt x="2994" y="1765"/>
                    <a:pt x="2994" y="1765"/>
                  </a:cubicBezTo>
                  <a:cubicBezTo>
                    <a:pt x="2994" y="1765"/>
                    <a:pt x="2994" y="1765"/>
                    <a:pt x="2994" y="1765"/>
                  </a:cubicBezTo>
                  <a:cubicBezTo>
                    <a:pt x="2994" y="1765"/>
                    <a:pt x="2995" y="1766"/>
                    <a:pt x="2995" y="1767"/>
                  </a:cubicBezTo>
                  <a:cubicBezTo>
                    <a:pt x="2995" y="1767"/>
                    <a:pt x="2995" y="1768"/>
                    <a:pt x="2996" y="1770"/>
                  </a:cubicBezTo>
                  <a:cubicBezTo>
                    <a:pt x="2996" y="1770"/>
                    <a:pt x="2996" y="1770"/>
                    <a:pt x="2996" y="1770"/>
                  </a:cubicBezTo>
                  <a:cubicBezTo>
                    <a:pt x="2997" y="1772"/>
                    <a:pt x="2998" y="1774"/>
                    <a:pt x="2999" y="1776"/>
                  </a:cubicBezTo>
                  <a:cubicBezTo>
                    <a:pt x="3000" y="1777"/>
                    <a:pt x="3001" y="1779"/>
                    <a:pt x="3002" y="1780"/>
                  </a:cubicBezTo>
                  <a:cubicBezTo>
                    <a:pt x="3004" y="1782"/>
                    <a:pt x="3007" y="1784"/>
                    <a:pt x="3010" y="1785"/>
                  </a:cubicBezTo>
                  <a:cubicBezTo>
                    <a:pt x="3012" y="1786"/>
                    <a:pt x="3015" y="1787"/>
                    <a:pt x="3018" y="1787"/>
                  </a:cubicBezTo>
                  <a:cubicBezTo>
                    <a:pt x="3021" y="1787"/>
                    <a:pt x="3024" y="1786"/>
                    <a:pt x="3027" y="1786"/>
                  </a:cubicBezTo>
                  <a:cubicBezTo>
                    <a:pt x="3027" y="1786"/>
                    <a:pt x="3027" y="1786"/>
                    <a:pt x="3027" y="1786"/>
                  </a:cubicBezTo>
                  <a:cubicBezTo>
                    <a:pt x="3030" y="1785"/>
                    <a:pt x="3032" y="1785"/>
                    <a:pt x="3034" y="1785"/>
                  </a:cubicBezTo>
                  <a:cubicBezTo>
                    <a:pt x="3034" y="1785"/>
                    <a:pt x="3034" y="1785"/>
                    <a:pt x="3034" y="1785"/>
                  </a:cubicBezTo>
                  <a:cubicBezTo>
                    <a:pt x="3034" y="1785"/>
                    <a:pt x="3034" y="1785"/>
                    <a:pt x="3034" y="1785"/>
                  </a:cubicBezTo>
                  <a:cubicBezTo>
                    <a:pt x="3035" y="1785"/>
                    <a:pt x="3035" y="1785"/>
                    <a:pt x="3035" y="1785"/>
                  </a:cubicBezTo>
                  <a:cubicBezTo>
                    <a:pt x="3038" y="1785"/>
                    <a:pt x="3041" y="1785"/>
                    <a:pt x="3044" y="1784"/>
                  </a:cubicBezTo>
                  <a:cubicBezTo>
                    <a:pt x="3049" y="1782"/>
                    <a:pt x="3053" y="1780"/>
                    <a:pt x="3056" y="1776"/>
                  </a:cubicBezTo>
                  <a:cubicBezTo>
                    <a:pt x="3060" y="1772"/>
                    <a:pt x="3062" y="1768"/>
                    <a:pt x="3063" y="1763"/>
                  </a:cubicBezTo>
                  <a:cubicBezTo>
                    <a:pt x="3063" y="1763"/>
                    <a:pt x="3063" y="1763"/>
                    <a:pt x="3063" y="1763"/>
                  </a:cubicBezTo>
                  <a:cubicBezTo>
                    <a:pt x="3063" y="1763"/>
                    <a:pt x="3063" y="1763"/>
                    <a:pt x="3063" y="1763"/>
                  </a:cubicBezTo>
                  <a:cubicBezTo>
                    <a:pt x="3064" y="1756"/>
                    <a:pt x="3065" y="1751"/>
                    <a:pt x="3065" y="1747"/>
                  </a:cubicBezTo>
                  <a:cubicBezTo>
                    <a:pt x="3065" y="1746"/>
                    <a:pt x="3065" y="1746"/>
                    <a:pt x="3065" y="1746"/>
                  </a:cubicBezTo>
                  <a:cubicBezTo>
                    <a:pt x="3066" y="1744"/>
                    <a:pt x="3066" y="1742"/>
                    <a:pt x="3067" y="1741"/>
                  </a:cubicBezTo>
                  <a:cubicBezTo>
                    <a:pt x="3067" y="1740"/>
                    <a:pt x="3068" y="1739"/>
                    <a:pt x="3068" y="1739"/>
                  </a:cubicBezTo>
                  <a:cubicBezTo>
                    <a:pt x="3068" y="1739"/>
                    <a:pt x="3068" y="1739"/>
                    <a:pt x="3068" y="1739"/>
                  </a:cubicBezTo>
                  <a:cubicBezTo>
                    <a:pt x="3066" y="1737"/>
                    <a:pt x="3066" y="1737"/>
                    <a:pt x="3066" y="1737"/>
                  </a:cubicBezTo>
                  <a:cubicBezTo>
                    <a:pt x="3067" y="1739"/>
                    <a:pt x="3067" y="1739"/>
                    <a:pt x="3067" y="1739"/>
                  </a:cubicBezTo>
                  <a:cubicBezTo>
                    <a:pt x="3067" y="1739"/>
                    <a:pt x="3068" y="1739"/>
                    <a:pt x="3068" y="1739"/>
                  </a:cubicBezTo>
                  <a:cubicBezTo>
                    <a:pt x="3066" y="1737"/>
                    <a:pt x="3066" y="1737"/>
                    <a:pt x="3066" y="1737"/>
                  </a:cubicBezTo>
                  <a:cubicBezTo>
                    <a:pt x="3067" y="1739"/>
                    <a:pt x="3067" y="1739"/>
                    <a:pt x="3067" y="1739"/>
                  </a:cubicBezTo>
                  <a:cubicBezTo>
                    <a:pt x="3066" y="1738"/>
                    <a:pt x="3066" y="1738"/>
                    <a:pt x="3066" y="1738"/>
                  </a:cubicBezTo>
                  <a:cubicBezTo>
                    <a:pt x="3066" y="1740"/>
                    <a:pt x="3066" y="1740"/>
                    <a:pt x="3066" y="1740"/>
                  </a:cubicBezTo>
                  <a:cubicBezTo>
                    <a:pt x="3067" y="1739"/>
                    <a:pt x="3067" y="1739"/>
                    <a:pt x="3067" y="1739"/>
                  </a:cubicBezTo>
                  <a:cubicBezTo>
                    <a:pt x="3066" y="1738"/>
                    <a:pt x="3066" y="1738"/>
                    <a:pt x="3066" y="1738"/>
                  </a:cubicBezTo>
                  <a:cubicBezTo>
                    <a:pt x="3066" y="1740"/>
                    <a:pt x="3066" y="1740"/>
                    <a:pt x="3066" y="1740"/>
                  </a:cubicBezTo>
                  <a:cubicBezTo>
                    <a:pt x="3067" y="1740"/>
                    <a:pt x="3067" y="1740"/>
                    <a:pt x="3067" y="1740"/>
                  </a:cubicBezTo>
                  <a:cubicBezTo>
                    <a:pt x="3068" y="1739"/>
                    <a:pt x="3070" y="1740"/>
                    <a:pt x="3074" y="1741"/>
                  </a:cubicBezTo>
                  <a:cubicBezTo>
                    <a:pt x="3074" y="1741"/>
                    <a:pt x="3074" y="1741"/>
                    <a:pt x="3074" y="1741"/>
                  </a:cubicBezTo>
                  <a:cubicBezTo>
                    <a:pt x="3076" y="1741"/>
                    <a:pt x="3077" y="1742"/>
                    <a:pt x="3078" y="1742"/>
                  </a:cubicBezTo>
                  <a:cubicBezTo>
                    <a:pt x="3080" y="1742"/>
                    <a:pt x="3081" y="1743"/>
                    <a:pt x="3083" y="1743"/>
                  </a:cubicBezTo>
                  <a:cubicBezTo>
                    <a:pt x="3086" y="1743"/>
                    <a:pt x="3088" y="1742"/>
                    <a:pt x="3091" y="1741"/>
                  </a:cubicBezTo>
                  <a:cubicBezTo>
                    <a:pt x="3092" y="1740"/>
                    <a:pt x="3094" y="1739"/>
                    <a:pt x="3095" y="1738"/>
                  </a:cubicBezTo>
                  <a:cubicBezTo>
                    <a:pt x="3096" y="1737"/>
                    <a:pt x="3097" y="1735"/>
                    <a:pt x="3098" y="1734"/>
                  </a:cubicBezTo>
                  <a:cubicBezTo>
                    <a:pt x="3099" y="1733"/>
                    <a:pt x="3100" y="1732"/>
                    <a:pt x="3101" y="1730"/>
                  </a:cubicBezTo>
                  <a:cubicBezTo>
                    <a:pt x="3101" y="1730"/>
                    <a:pt x="3101" y="1730"/>
                    <a:pt x="3101" y="1730"/>
                  </a:cubicBezTo>
                  <a:cubicBezTo>
                    <a:pt x="3102" y="1728"/>
                    <a:pt x="3104" y="1725"/>
                    <a:pt x="3105" y="1723"/>
                  </a:cubicBezTo>
                  <a:cubicBezTo>
                    <a:pt x="3106" y="1719"/>
                    <a:pt x="3107" y="1717"/>
                    <a:pt x="3108" y="1715"/>
                  </a:cubicBezTo>
                  <a:cubicBezTo>
                    <a:pt x="3108" y="1715"/>
                    <a:pt x="3109" y="1714"/>
                    <a:pt x="3109" y="1714"/>
                  </a:cubicBezTo>
                  <a:cubicBezTo>
                    <a:pt x="3109" y="1714"/>
                    <a:pt x="3110" y="1714"/>
                    <a:pt x="3110" y="1713"/>
                  </a:cubicBezTo>
                  <a:cubicBezTo>
                    <a:pt x="3114" y="1712"/>
                    <a:pt x="3117" y="1710"/>
                    <a:pt x="3119" y="1708"/>
                  </a:cubicBezTo>
                  <a:cubicBezTo>
                    <a:pt x="3123" y="1704"/>
                    <a:pt x="3126" y="1699"/>
                    <a:pt x="3127" y="1695"/>
                  </a:cubicBezTo>
                  <a:cubicBezTo>
                    <a:pt x="3129" y="1691"/>
                    <a:pt x="3129" y="1687"/>
                    <a:pt x="3130" y="1684"/>
                  </a:cubicBezTo>
                  <a:cubicBezTo>
                    <a:pt x="3130" y="1682"/>
                    <a:pt x="3130" y="1681"/>
                    <a:pt x="3130" y="1680"/>
                  </a:cubicBezTo>
                  <a:cubicBezTo>
                    <a:pt x="3130" y="1678"/>
                    <a:pt x="3130" y="1677"/>
                    <a:pt x="3130" y="1676"/>
                  </a:cubicBezTo>
                  <a:cubicBezTo>
                    <a:pt x="3130" y="1675"/>
                    <a:pt x="3130" y="1674"/>
                    <a:pt x="3130" y="1674"/>
                  </a:cubicBezTo>
                  <a:cubicBezTo>
                    <a:pt x="3130" y="1674"/>
                    <a:pt x="3130" y="1674"/>
                    <a:pt x="3130" y="1674"/>
                  </a:cubicBezTo>
                  <a:cubicBezTo>
                    <a:pt x="3130" y="1673"/>
                    <a:pt x="3130" y="1671"/>
                    <a:pt x="3130" y="1671"/>
                  </a:cubicBezTo>
                  <a:cubicBezTo>
                    <a:pt x="3130" y="1670"/>
                    <a:pt x="3130" y="1669"/>
                    <a:pt x="3130" y="1669"/>
                  </a:cubicBezTo>
                  <a:cubicBezTo>
                    <a:pt x="3130" y="1669"/>
                    <a:pt x="3130" y="1669"/>
                    <a:pt x="3130" y="1669"/>
                  </a:cubicBezTo>
                  <a:cubicBezTo>
                    <a:pt x="3130" y="1669"/>
                    <a:pt x="3130" y="1669"/>
                    <a:pt x="3130" y="1669"/>
                  </a:cubicBezTo>
                  <a:cubicBezTo>
                    <a:pt x="3125" y="1668"/>
                    <a:pt x="3125" y="1668"/>
                    <a:pt x="3125" y="1668"/>
                  </a:cubicBezTo>
                  <a:cubicBezTo>
                    <a:pt x="3129" y="1670"/>
                    <a:pt x="3129" y="1670"/>
                    <a:pt x="3129" y="1670"/>
                  </a:cubicBezTo>
                  <a:cubicBezTo>
                    <a:pt x="3130" y="1670"/>
                    <a:pt x="3130" y="1669"/>
                    <a:pt x="3130" y="1669"/>
                  </a:cubicBezTo>
                  <a:cubicBezTo>
                    <a:pt x="3125" y="1668"/>
                    <a:pt x="3125" y="1668"/>
                    <a:pt x="3125" y="1668"/>
                  </a:cubicBezTo>
                  <a:cubicBezTo>
                    <a:pt x="3129" y="1670"/>
                    <a:pt x="3129" y="1670"/>
                    <a:pt x="3129" y="1670"/>
                  </a:cubicBezTo>
                  <a:cubicBezTo>
                    <a:pt x="3125" y="1668"/>
                    <a:pt x="3125" y="1668"/>
                    <a:pt x="3125" y="1668"/>
                  </a:cubicBezTo>
                  <a:cubicBezTo>
                    <a:pt x="3128" y="1672"/>
                    <a:pt x="3128" y="1672"/>
                    <a:pt x="3128" y="1672"/>
                  </a:cubicBezTo>
                  <a:cubicBezTo>
                    <a:pt x="3128" y="1671"/>
                    <a:pt x="3129" y="1671"/>
                    <a:pt x="3129" y="1670"/>
                  </a:cubicBezTo>
                  <a:cubicBezTo>
                    <a:pt x="3125" y="1668"/>
                    <a:pt x="3125" y="1668"/>
                    <a:pt x="3125" y="1668"/>
                  </a:cubicBezTo>
                  <a:cubicBezTo>
                    <a:pt x="3128" y="1672"/>
                    <a:pt x="3128" y="1672"/>
                    <a:pt x="3128" y="1672"/>
                  </a:cubicBezTo>
                  <a:cubicBezTo>
                    <a:pt x="3127" y="1670"/>
                    <a:pt x="3127" y="1670"/>
                    <a:pt x="3127" y="1670"/>
                  </a:cubicBezTo>
                  <a:cubicBezTo>
                    <a:pt x="3128" y="1672"/>
                    <a:pt x="3128" y="1672"/>
                    <a:pt x="3128" y="1672"/>
                  </a:cubicBezTo>
                  <a:cubicBezTo>
                    <a:pt x="3128" y="1672"/>
                    <a:pt x="3128" y="1672"/>
                    <a:pt x="3128" y="1672"/>
                  </a:cubicBezTo>
                  <a:cubicBezTo>
                    <a:pt x="3127" y="1670"/>
                    <a:pt x="3127" y="1670"/>
                    <a:pt x="3127" y="1670"/>
                  </a:cubicBezTo>
                  <a:cubicBezTo>
                    <a:pt x="3128" y="1672"/>
                    <a:pt x="3128" y="1672"/>
                    <a:pt x="3128" y="1672"/>
                  </a:cubicBezTo>
                  <a:cubicBezTo>
                    <a:pt x="3128" y="1671"/>
                    <a:pt x="3128" y="1671"/>
                    <a:pt x="3128" y="1671"/>
                  </a:cubicBezTo>
                  <a:cubicBezTo>
                    <a:pt x="3129" y="1671"/>
                    <a:pt x="3131" y="1670"/>
                    <a:pt x="3134" y="1669"/>
                  </a:cubicBezTo>
                  <a:cubicBezTo>
                    <a:pt x="3134" y="1669"/>
                    <a:pt x="3134" y="1669"/>
                    <a:pt x="3134" y="1669"/>
                  </a:cubicBezTo>
                  <a:cubicBezTo>
                    <a:pt x="3134" y="1669"/>
                    <a:pt x="3134" y="1669"/>
                    <a:pt x="3134" y="1669"/>
                  </a:cubicBezTo>
                  <a:cubicBezTo>
                    <a:pt x="3134" y="1669"/>
                    <a:pt x="3134" y="1669"/>
                    <a:pt x="3134" y="1669"/>
                  </a:cubicBezTo>
                  <a:cubicBezTo>
                    <a:pt x="3134" y="1669"/>
                    <a:pt x="3134" y="1669"/>
                    <a:pt x="3134" y="1669"/>
                  </a:cubicBezTo>
                  <a:cubicBezTo>
                    <a:pt x="3134" y="1669"/>
                    <a:pt x="3134" y="1669"/>
                    <a:pt x="3134" y="1669"/>
                  </a:cubicBezTo>
                  <a:cubicBezTo>
                    <a:pt x="3134" y="1669"/>
                    <a:pt x="3134" y="1669"/>
                    <a:pt x="3134" y="1669"/>
                  </a:cubicBezTo>
                  <a:cubicBezTo>
                    <a:pt x="3134" y="1669"/>
                    <a:pt x="3134" y="1669"/>
                    <a:pt x="3134" y="1669"/>
                  </a:cubicBezTo>
                  <a:cubicBezTo>
                    <a:pt x="3134" y="1669"/>
                    <a:pt x="3134" y="1669"/>
                    <a:pt x="3134" y="1669"/>
                  </a:cubicBezTo>
                  <a:cubicBezTo>
                    <a:pt x="3134" y="1669"/>
                    <a:pt x="3135" y="1669"/>
                    <a:pt x="3136" y="1669"/>
                  </a:cubicBezTo>
                  <a:cubicBezTo>
                    <a:pt x="3137" y="1670"/>
                    <a:pt x="3138" y="1670"/>
                    <a:pt x="3140" y="1670"/>
                  </a:cubicBezTo>
                  <a:cubicBezTo>
                    <a:pt x="3142" y="1670"/>
                    <a:pt x="3144" y="1670"/>
                    <a:pt x="3145" y="1670"/>
                  </a:cubicBezTo>
                  <a:cubicBezTo>
                    <a:pt x="3148" y="1670"/>
                    <a:pt x="3151" y="1670"/>
                    <a:pt x="3154" y="1669"/>
                  </a:cubicBezTo>
                  <a:cubicBezTo>
                    <a:pt x="3156" y="1668"/>
                    <a:pt x="3159" y="1667"/>
                    <a:pt x="3161" y="1665"/>
                  </a:cubicBezTo>
                  <a:cubicBezTo>
                    <a:pt x="3164" y="1663"/>
                    <a:pt x="3167" y="1659"/>
                    <a:pt x="3168" y="1656"/>
                  </a:cubicBezTo>
                  <a:cubicBezTo>
                    <a:pt x="3169" y="1652"/>
                    <a:pt x="3170" y="1648"/>
                    <a:pt x="3170" y="1644"/>
                  </a:cubicBezTo>
                  <a:cubicBezTo>
                    <a:pt x="3170" y="1643"/>
                    <a:pt x="3170" y="1642"/>
                    <a:pt x="3170" y="1642"/>
                  </a:cubicBezTo>
                  <a:cubicBezTo>
                    <a:pt x="3170" y="1641"/>
                    <a:pt x="3170" y="1641"/>
                    <a:pt x="3171" y="1641"/>
                  </a:cubicBezTo>
                  <a:cubicBezTo>
                    <a:pt x="3171" y="1640"/>
                    <a:pt x="3171" y="1640"/>
                    <a:pt x="3171" y="1640"/>
                  </a:cubicBezTo>
                  <a:cubicBezTo>
                    <a:pt x="3171" y="1641"/>
                    <a:pt x="3171" y="1641"/>
                    <a:pt x="3171" y="1641"/>
                  </a:cubicBezTo>
                  <a:cubicBezTo>
                    <a:pt x="3175" y="1636"/>
                    <a:pt x="3178" y="1631"/>
                    <a:pt x="3180" y="1625"/>
                  </a:cubicBezTo>
                  <a:cubicBezTo>
                    <a:pt x="3182" y="1620"/>
                    <a:pt x="3183" y="1614"/>
                    <a:pt x="3183" y="1608"/>
                  </a:cubicBezTo>
                  <a:cubicBezTo>
                    <a:pt x="3183" y="1605"/>
                    <a:pt x="3183" y="1602"/>
                    <a:pt x="3183" y="1600"/>
                  </a:cubicBezTo>
                  <a:cubicBezTo>
                    <a:pt x="3183" y="1600"/>
                    <a:pt x="3183" y="1600"/>
                    <a:pt x="3183" y="1600"/>
                  </a:cubicBezTo>
                  <a:cubicBezTo>
                    <a:pt x="3182" y="1596"/>
                    <a:pt x="3181" y="1592"/>
                    <a:pt x="3178" y="1588"/>
                  </a:cubicBezTo>
                  <a:cubicBezTo>
                    <a:pt x="3177" y="1586"/>
                    <a:pt x="3175" y="1584"/>
                    <a:pt x="3172" y="1583"/>
                  </a:cubicBezTo>
                  <a:cubicBezTo>
                    <a:pt x="3170" y="1581"/>
                    <a:pt x="3167" y="1580"/>
                    <a:pt x="3164" y="1580"/>
                  </a:cubicBezTo>
                  <a:cubicBezTo>
                    <a:pt x="3163" y="1580"/>
                    <a:pt x="3163" y="1580"/>
                    <a:pt x="3162" y="1580"/>
                  </a:cubicBezTo>
                  <a:cubicBezTo>
                    <a:pt x="3162" y="1580"/>
                    <a:pt x="3162" y="1580"/>
                    <a:pt x="3162" y="1580"/>
                  </a:cubicBezTo>
                  <a:cubicBezTo>
                    <a:pt x="3162" y="1581"/>
                    <a:pt x="3162" y="1581"/>
                    <a:pt x="3162" y="1581"/>
                  </a:cubicBezTo>
                  <a:cubicBezTo>
                    <a:pt x="3162" y="1581"/>
                    <a:pt x="3162" y="1581"/>
                    <a:pt x="3162" y="1581"/>
                  </a:cubicBezTo>
                  <a:cubicBezTo>
                    <a:pt x="3162" y="1583"/>
                    <a:pt x="3162" y="1583"/>
                    <a:pt x="3162" y="1583"/>
                  </a:cubicBezTo>
                  <a:cubicBezTo>
                    <a:pt x="3162" y="1581"/>
                    <a:pt x="3162" y="1581"/>
                    <a:pt x="3162" y="1581"/>
                  </a:cubicBezTo>
                  <a:cubicBezTo>
                    <a:pt x="3162" y="1581"/>
                    <a:pt x="3162" y="1581"/>
                    <a:pt x="3162" y="1581"/>
                  </a:cubicBezTo>
                  <a:cubicBezTo>
                    <a:pt x="3162" y="1583"/>
                    <a:pt x="3162" y="1583"/>
                    <a:pt x="3162" y="1583"/>
                  </a:cubicBezTo>
                  <a:cubicBezTo>
                    <a:pt x="3162" y="1581"/>
                    <a:pt x="3162" y="1581"/>
                    <a:pt x="3162" y="1581"/>
                  </a:cubicBezTo>
                  <a:cubicBezTo>
                    <a:pt x="3161" y="1587"/>
                    <a:pt x="3161" y="1587"/>
                    <a:pt x="3161" y="1587"/>
                  </a:cubicBezTo>
                  <a:cubicBezTo>
                    <a:pt x="3165" y="1581"/>
                    <a:pt x="3165" y="1581"/>
                    <a:pt x="3165" y="1581"/>
                  </a:cubicBezTo>
                  <a:cubicBezTo>
                    <a:pt x="3164" y="1581"/>
                    <a:pt x="3163" y="1581"/>
                    <a:pt x="3162" y="1581"/>
                  </a:cubicBezTo>
                  <a:cubicBezTo>
                    <a:pt x="3161" y="1587"/>
                    <a:pt x="3161" y="1587"/>
                    <a:pt x="3161" y="1587"/>
                  </a:cubicBezTo>
                  <a:cubicBezTo>
                    <a:pt x="3165" y="1581"/>
                    <a:pt x="3165" y="1581"/>
                    <a:pt x="3165" y="1581"/>
                  </a:cubicBezTo>
                  <a:cubicBezTo>
                    <a:pt x="3160" y="1589"/>
                    <a:pt x="3160" y="1589"/>
                    <a:pt x="3160" y="1589"/>
                  </a:cubicBezTo>
                  <a:cubicBezTo>
                    <a:pt x="3167" y="1583"/>
                    <a:pt x="3167" y="1583"/>
                    <a:pt x="3167" y="1583"/>
                  </a:cubicBezTo>
                  <a:cubicBezTo>
                    <a:pt x="3166" y="1582"/>
                    <a:pt x="3165" y="1582"/>
                    <a:pt x="3165" y="1581"/>
                  </a:cubicBezTo>
                  <a:cubicBezTo>
                    <a:pt x="3160" y="1589"/>
                    <a:pt x="3160" y="1589"/>
                    <a:pt x="3160" y="1589"/>
                  </a:cubicBezTo>
                  <a:cubicBezTo>
                    <a:pt x="3167" y="1583"/>
                    <a:pt x="3167" y="1583"/>
                    <a:pt x="3167" y="1583"/>
                  </a:cubicBezTo>
                  <a:cubicBezTo>
                    <a:pt x="3160" y="1589"/>
                    <a:pt x="3160" y="1589"/>
                    <a:pt x="3160" y="1589"/>
                  </a:cubicBezTo>
                  <a:cubicBezTo>
                    <a:pt x="3169" y="1587"/>
                    <a:pt x="3169" y="1587"/>
                    <a:pt x="3169" y="1587"/>
                  </a:cubicBezTo>
                  <a:cubicBezTo>
                    <a:pt x="3169" y="1586"/>
                    <a:pt x="3168" y="1584"/>
                    <a:pt x="3167" y="1583"/>
                  </a:cubicBezTo>
                  <a:cubicBezTo>
                    <a:pt x="3160" y="1589"/>
                    <a:pt x="3160" y="1589"/>
                    <a:pt x="3160" y="1589"/>
                  </a:cubicBezTo>
                  <a:cubicBezTo>
                    <a:pt x="3169" y="1587"/>
                    <a:pt x="3169" y="1587"/>
                    <a:pt x="3169" y="1587"/>
                  </a:cubicBezTo>
                  <a:cubicBezTo>
                    <a:pt x="3163" y="1589"/>
                    <a:pt x="3163" y="1589"/>
                    <a:pt x="3163" y="1589"/>
                  </a:cubicBezTo>
                  <a:cubicBezTo>
                    <a:pt x="3169" y="1589"/>
                    <a:pt x="3169" y="1589"/>
                    <a:pt x="3169" y="1589"/>
                  </a:cubicBezTo>
                  <a:cubicBezTo>
                    <a:pt x="3169" y="1588"/>
                    <a:pt x="3169" y="1588"/>
                    <a:pt x="3169" y="1587"/>
                  </a:cubicBezTo>
                  <a:cubicBezTo>
                    <a:pt x="3163" y="1589"/>
                    <a:pt x="3163" y="1589"/>
                    <a:pt x="3163" y="1589"/>
                  </a:cubicBezTo>
                  <a:cubicBezTo>
                    <a:pt x="3169" y="1589"/>
                    <a:pt x="3169" y="1589"/>
                    <a:pt x="3169" y="1589"/>
                  </a:cubicBezTo>
                  <a:cubicBezTo>
                    <a:pt x="3167" y="1589"/>
                    <a:pt x="3167" y="1589"/>
                    <a:pt x="3167" y="1589"/>
                  </a:cubicBezTo>
                  <a:cubicBezTo>
                    <a:pt x="3169" y="1589"/>
                    <a:pt x="3169" y="1589"/>
                    <a:pt x="3169" y="1589"/>
                  </a:cubicBezTo>
                  <a:cubicBezTo>
                    <a:pt x="3169" y="1589"/>
                    <a:pt x="3169" y="1589"/>
                    <a:pt x="3169" y="1589"/>
                  </a:cubicBezTo>
                  <a:cubicBezTo>
                    <a:pt x="3167" y="1589"/>
                    <a:pt x="3167" y="1589"/>
                    <a:pt x="3167" y="1589"/>
                  </a:cubicBezTo>
                  <a:cubicBezTo>
                    <a:pt x="3169" y="1589"/>
                    <a:pt x="3169" y="1589"/>
                    <a:pt x="3169" y="1589"/>
                  </a:cubicBezTo>
                  <a:cubicBezTo>
                    <a:pt x="3169" y="1589"/>
                    <a:pt x="3169" y="1589"/>
                    <a:pt x="3169" y="1589"/>
                  </a:cubicBezTo>
                  <a:cubicBezTo>
                    <a:pt x="3169" y="1589"/>
                    <a:pt x="3169" y="1588"/>
                    <a:pt x="3170" y="1586"/>
                  </a:cubicBezTo>
                  <a:cubicBezTo>
                    <a:pt x="3170" y="1586"/>
                    <a:pt x="3170" y="1586"/>
                    <a:pt x="3170" y="1586"/>
                  </a:cubicBezTo>
                  <a:cubicBezTo>
                    <a:pt x="3168" y="1586"/>
                    <a:pt x="3168" y="1586"/>
                    <a:pt x="3168" y="1586"/>
                  </a:cubicBezTo>
                  <a:cubicBezTo>
                    <a:pt x="3170" y="1587"/>
                    <a:pt x="3170" y="1587"/>
                    <a:pt x="3170" y="1587"/>
                  </a:cubicBezTo>
                  <a:cubicBezTo>
                    <a:pt x="3170" y="1586"/>
                    <a:pt x="3170" y="1586"/>
                    <a:pt x="3170" y="1586"/>
                  </a:cubicBezTo>
                  <a:cubicBezTo>
                    <a:pt x="3168" y="1586"/>
                    <a:pt x="3168" y="1586"/>
                    <a:pt x="3168" y="1586"/>
                  </a:cubicBezTo>
                  <a:cubicBezTo>
                    <a:pt x="3170" y="1587"/>
                    <a:pt x="3170" y="1587"/>
                    <a:pt x="3170" y="1587"/>
                  </a:cubicBezTo>
                  <a:cubicBezTo>
                    <a:pt x="3170" y="1586"/>
                    <a:pt x="3170" y="1586"/>
                    <a:pt x="3170" y="1586"/>
                  </a:cubicBezTo>
                  <a:cubicBezTo>
                    <a:pt x="3170" y="1586"/>
                    <a:pt x="3170" y="1586"/>
                    <a:pt x="3170" y="1586"/>
                  </a:cubicBezTo>
                  <a:cubicBezTo>
                    <a:pt x="3170" y="1586"/>
                    <a:pt x="3170" y="1586"/>
                    <a:pt x="3170" y="1586"/>
                  </a:cubicBezTo>
                  <a:cubicBezTo>
                    <a:pt x="3170" y="1586"/>
                    <a:pt x="3170" y="1586"/>
                    <a:pt x="3170" y="1586"/>
                  </a:cubicBezTo>
                  <a:cubicBezTo>
                    <a:pt x="3174" y="1581"/>
                    <a:pt x="3179" y="1576"/>
                    <a:pt x="3184" y="1569"/>
                  </a:cubicBezTo>
                  <a:cubicBezTo>
                    <a:pt x="3184" y="1569"/>
                    <a:pt x="3184" y="1569"/>
                    <a:pt x="3184" y="1569"/>
                  </a:cubicBezTo>
                  <a:cubicBezTo>
                    <a:pt x="3189" y="1562"/>
                    <a:pt x="3192" y="1556"/>
                    <a:pt x="3196" y="1549"/>
                  </a:cubicBezTo>
                  <a:cubicBezTo>
                    <a:pt x="3196" y="1549"/>
                    <a:pt x="3196" y="1549"/>
                    <a:pt x="3196" y="1549"/>
                  </a:cubicBezTo>
                  <a:cubicBezTo>
                    <a:pt x="3196" y="1549"/>
                    <a:pt x="3196" y="1549"/>
                    <a:pt x="3196" y="1549"/>
                  </a:cubicBezTo>
                  <a:cubicBezTo>
                    <a:pt x="3198" y="1544"/>
                    <a:pt x="3199" y="1539"/>
                    <a:pt x="3201" y="1535"/>
                  </a:cubicBezTo>
                  <a:cubicBezTo>
                    <a:pt x="3201" y="1534"/>
                    <a:pt x="3202" y="1532"/>
                    <a:pt x="3202" y="1531"/>
                  </a:cubicBezTo>
                  <a:cubicBezTo>
                    <a:pt x="3203" y="1530"/>
                    <a:pt x="3204" y="1529"/>
                    <a:pt x="3204" y="1529"/>
                  </a:cubicBezTo>
                  <a:cubicBezTo>
                    <a:pt x="3204" y="1529"/>
                    <a:pt x="3204" y="1529"/>
                    <a:pt x="3204" y="1529"/>
                  </a:cubicBezTo>
                  <a:cubicBezTo>
                    <a:pt x="3206" y="1528"/>
                    <a:pt x="3207" y="1526"/>
                    <a:pt x="3208" y="1525"/>
                  </a:cubicBezTo>
                  <a:cubicBezTo>
                    <a:pt x="3209" y="1523"/>
                    <a:pt x="3209" y="1522"/>
                    <a:pt x="3210" y="1520"/>
                  </a:cubicBezTo>
                  <a:cubicBezTo>
                    <a:pt x="3210" y="1519"/>
                    <a:pt x="3210" y="1518"/>
                    <a:pt x="3210" y="1518"/>
                  </a:cubicBezTo>
                  <a:cubicBezTo>
                    <a:pt x="3210" y="1518"/>
                    <a:pt x="3210" y="1518"/>
                    <a:pt x="3210" y="1518"/>
                  </a:cubicBezTo>
                  <a:cubicBezTo>
                    <a:pt x="3212" y="1512"/>
                    <a:pt x="3214" y="1507"/>
                    <a:pt x="3217" y="1502"/>
                  </a:cubicBezTo>
                  <a:cubicBezTo>
                    <a:pt x="3221" y="1497"/>
                    <a:pt x="3225" y="1491"/>
                    <a:pt x="3228" y="1484"/>
                  </a:cubicBezTo>
                  <a:cubicBezTo>
                    <a:pt x="3228" y="1484"/>
                    <a:pt x="3228" y="1484"/>
                    <a:pt x="3228" y="1484"/>
                  </a:cubicBezTo>
                  <a:cubicBezTo>
                    <a:pt x="3228" y="1484"/>
                    <a:pt x="3228" y="1484"/>
                    <a:pt x="3228" y="1484"/>
                  </a:cubicBezTo>
                  <a:cubicBezTo>
                    <a:pt x="3227" y="1483"/>
                    <a:pt x="3227" y="1483"/>
                    <a:pt x="3227" y="1483"/>
                  </a:cubicBezTo>
                  <a:cubicBezTo>
                    <a:pt x="3228" y="1484"/>
                    <a:pt x="3228" y="1484"/>
                    <a:pt x="3228" y="1484"/>
                  </a:cubicBezTo>
                  <a:cubicBezTo>
                    <a:pt x="3228" y="1484"/>
                    <a:pt x="3228" y="1484"/>
                    <a:pt x="3228" y="1484"/>
                  </a:cubicBezTo>
                  <a:cubicBezTo>
                    <a:pt x="3227" y="1483"/>
                    <a:pt x="3227" y="1483"/>
                    <a:pt x="3227" y="1483"/>
                  </a:cubicBezTo>
                  <a:cubicBezTo>
                    <a:pt x="3228" y="1484"/>
                    <a:pt x="3228" y="1484"/>
                    <a:pt x="3228" y="1484"/>
                  </a:cubicBezTo>
                  <a:cubicBezTo>
                    <a:pt x="3225" y="1481"/>
                    <a:pt x="3225" y="1481"/>
                    <a:pt x="3225" y="1481"/>
                  </a:cubicBezTo>
                  <a:cubicBezTo>
                    <a:pt x="3227" y="1486"/>
                    <a:pt x="3227" y="1486"/>
                    <a:pt x="3227" y="1486"/>
                  </a:cubicBezTo>
                  <a:cubicBezTo>
                    <a:pt x="3227" y="1485"/>
                    <a:pt x="3228" y="1485"/>
                    <a:pt x="3228" y="1484"/>
                  </a:cubicBezTo>
                  <a:cubicBezTo>
                    <a:pt x="3225" y="1481"/>
                    <a:pt x="3225" y="1481"/>
                    <a:pt x="3225" y="1481"/>
                  </a:cubicBezTo>
                  <a:cubicBezTo>
                    <a:pt x="3227" y="1486"/>
                    <a:pt x="3227" y="1486"/>
                    <a:pt x="3227" y="1486"/>
                  </a:cubicBezTo>
                  <a:cubicBezTo>
                    <a:pt x="3225" y="1483"/>
                    <a:pt x="3225" y="1483"/>
                    <a:pt x="3225" y="1483"/>
                  </a:cubicBezTo>
                  <a:cubicBezTo>
                    <a:pt x="3227" y="1486"/>
                    <a:pt x="3227" y="1486"/>
                    <a:pt x="3227" y="1486"/>
                  </a:cubicBezTo>
                  <a:cubicBezTo>
                    <a:pt x="3227" y="1486"/>
                    <a:pt x="3227" y="1486"/>
                    <a:pt x="3227" y="1486"/>
                  </a:cubicBezTo>
                  <a:cubicBezTo>
                    <a:pt x="3225" y="1483"/>
                    <a:pt x="3225" y="1483"/>
                    <a:pt x="3225" y="1483"/>
                  </a:cubicBezTo>
                  <a:cubicBezTo>
                    <a:pt x="3227" y="1486"/>
                    <a:pt x="3227" y="1486"/>
                    <a:pt x="3227" y="1486"/>
                  </a:cubicBezTo>
                  <a:cubicBezTo>
                    <a:pt x="3226" y="1485"/>
                    <a:pt x="3226" y="1485"/>
                    <a:pt x="3226" y="1485"/>
                  </a:cubicBezTo>
                  <a:cubicBezTo>
                    <a:pt x="3226" y="1486"/>
                    <a:pt x="3226" y="1486"/>
                    <a:pt x="3226" y="1486"/>
                  </a:cubicBezTo>
                  <a:cubicBezTo>
                    <a:pt x="3227" y="1486"/>
                    <a:pt x="3227" y="1486"/>
                    <a:pt x="3227" y="1486"/>
                  </a:cubicBezTo>
                  <a:cubicBezTo>
                    <a:pt x="3226" y="1485"/>
                    <a:pt x="3226" y="1485"/>
                    <a:pt x="3226" y="1485"/>
                  </a:cubicBezTo>
                  <a:cubicBezTo>
                    <a:pt x="3226" y="1486"/>
                    <a:pt x="3226" y="1486"/>
                    <a:pt x="3226" y="1486"/>
                  </a:cubicBezTo>
                  <a:cubicBezTo>
                    <a:pt x="3226" y="1486"/>
                    <a:pt x="3227" y="1485"/>
                    <a:pt x="3228" y="1485"/>
                  </a:cubicBezTo>
                  <a:cubicBezTo>
                    <a:pt x="3231" y="1484"/>
                    <a:pt x="3234" y="1483"/>
                    <a:pt x="3237" y="1481"/>
                  </a:cubicBezTo>
                  <a:cubicBezTo>
                    <a:pt x="3241" y="1478"/>
                    <a:pt x="3245" y="1475"/>
                    <a:pt x="3247" y="1472"/>
                  </a:cubicBezTo>
                  <a:cubicBezTo>
                    <a:pt x="3250" y="1469"/>
                    <a:pt x="3252" y="1467"/>
                    <a:pt x="3254" y="1465"/>
                  </a:cubicBezTo>
                  <a:cubicBezTo>
                    <a:pt x="3254" y="1465"/>
                    <a:pt x="3254" y="1465"/>
                    <a:pt x="3254" y="1465"/>
                  </a:cubicBezTo>
                  <a:cubicBezTo>
                    <a:pt x="3255" y="1464"/>
                    <a:pt x="3256" y="1462"/>
                    <a:pt x="3257" y="1461"/>
                  </a:cubicBezTo>
                  <a:cubicBezTo>
                    <a:pt x="3258" y="1460"/>
                    <a:pt x="3258" y="1458"/>
                    <a:pt x="3258" y="1457"/>
                  </a:cubicBezTo>
                  <a:cubicBezTo>
                    <a:pt x="3258" y="1456"/>
                    <a:pt x="3258" y="1455"/>
                    <a:pt x="3258" y="1454"/>
                  </a:cubicBezTo>
                  <a:cubicBezTo>
                    <a:pt x="3258" y="1452"/>
                    <a:pt x="3258" y="1451"/>
                    <a:pt x="3258" y="1449"/>
                  </a:cubicBezTo>
                  <a:cubicBezTo>
                    <a:pt x="3258" y="1448"/>
                    <a:pt x="3257" y="1446"/>
                    <a:pt x="3256" y="1444"/>
                  </a:cubicBezTo>
                  <a:cubicBezTo>
                    <a:pt x="3256" y="1444"/>
                    <a:pt x="3256" y="1444"/>
                    <a:pt x="3256" y="1444"/>
                  </a:cubicBezTo>
                  <a:cubicBezTo>
                    <a:pt x="3256" y="1444"/>
                    <a:pt x="3256" y="1444"/>
                    <a:pt x="3256" y="1444"/>
                  </a:cubicBezTo>
                  <a:cubicBezTo>
                    <a:pt x="3256" y="1444"/>
                    <a:pt x="3256" y="1444"/>
                    <a:pt x="3256" y="1444"/>
                  </a:cubicBezTo>
                  <a:cubicBezTo>
                    <a:pt x="3256" y="1444"/>
                    <a:pt x="3256" y="1444"/>
                    <a:pt x="3256" y="1444"/>
                  </a:cubicBezTo>
                  <a:cubicBezTo>
                    <a:pt x="3250" y="1447"/>
                    <a:pt x="3250" y="1447"/>
                    <a:pt x="3250" y="1447"/>
                  </a:cubicBezTo>
                  <a:cubicBezTo>
                    <a:pt x="3256" y="1447"/>
                    <a:pt x="3256" y="1447"/>
                    <a:pt x="3256" y="1447"/>
                  </a:cubicBezTo>
                  <a:cubicBezTo>
                    <a:pt x="3256" y="1445"/>
                    <a:pt x="3256" y="1444"/>
                    <a:pt x="3256" y="1444"/>
                  </a:cubicBezTo>
                  <a:cubicBezTo>
                    <a:pt x="3250" y="1447"/>
                    <a:pt x="3250" y="1447"/>
                    <a:pt x="3250" y="1447"/>
                  </a:cubicBezTo>
                  <a:cubicBezTo>
                    <a:pt x="3256" y="1447"/>
                    <a:pt x="3256" y="1447"/>
                    <a:pt x="3256" y="1447"/>
                  </a:cubicBezTo>
                  <a:cubicBezTo>
                    <a:pt x="3247" y="1447"/>
                    <a:pt x="3247" y="1447"/>
                    <a:pt x="3247" y="1447"/>
                  </a:cubicBezTo>
                  <a:cubicBezTo>
                    <a:pt x="3255" y="1452"/>
                    <a:pt x="3255" y="1452"/>
                    <a:pt x="3255" y="1452"/>
                  </a:cubicBezTo>
                  <a:cubicBezTo>
                    <a:pt x="3256" y="1450"/>
                    <a:pt x="3256" y="1448"/>
                    <a:pt x="3256" y="1447"/>
                  </a:cubicBezTo>
                  <a:cubicBezTo>
                    <a:pt x="3247" y="1447"/>
                    <a:pt x="3247" y="1447"/>
                    <a:pt x="3247" y="1447"/>
                  </a:cubicBezTo>
                  <a:cubicBezTo>
                    <a:pt x="3255" y="1452"/>
                    <a:pt x="3255" y="1452"/>
                    <a:pt x="3255" y="1452"/>
                  </a:cubicBezTo>
                  <a:cubicBezTo>
                    <a:pt x="3248" y="1447"/>
                    <a:pt x="3248" y="1447"/>
                    <a:pt x="3248" y="1447"/>
                  </a:cubicBezTo>
                  <a:cubicBezTo>
                    <a:pt x="3253" y="1454"/>
                    <a:pt x="3253" y="1454"/>
                    <a:pt x="3253" y="1454"/>
                  </a:cubicBezTo>
                  <a:cubicBezTo>
                    <a:pt x="3254" y="1453"/>
                    <a:pt x="3254" y="1453"/>
                    <a:pt x="3255" y="1452"/>
                  </a:cubicBezTo>
                  <a:cubicBezTo>
                    <a:pt x="3248" y="1447"/>
                    <a:pt x="3248" y="1447"/>
                    <a:pt x="3248" y="1447"/>
                  </a:cubicBezTo>
                  <a:cubicBezTo>
                    <a:pt x="3253" y="1454"/>
                    <a:pt x="3253" y="1454"/>
                    <a:pt x="3253" y="1454"/>
                  </a:cubicBezTo>
                  <a:cubicBezTo>
                    <a:pt x="3249" y="1449"/>
                    <a:pt x="3249" y="1449"/>
                    <a:pt x="3249" y="1449"/>
                  </a:cubicBezTo>
                  <a:cubicBezTo>
                    <a:pt x="3252" y="1454"/>
                    <a:pt x="3252" y="1454"/>
                    <a:pt x="3252" y="1454"/>
                  </a:cubicBezTo>
                  <a:cubicBezTo>
                    <a:pt x="3253" y="1454"/>
                    <a:pt x="3253" y="1454"/>
                    <a:pt x="3253" y="1454"/>
                  </a:cubicBezTo>
                  <a:cubicBezTo>
                    <a:pt x="3249" y="1449"/>
                    <a:pt x="3249" y="1449"/>
                    <a:pt x="3249" y="1449"/>
                  </a:cubicBezTo>
                  <a:cubicBezTo>
                    <a:pt x="3252" y="1454"/>
                    <a:pt x="3252" y="1454"/>
                    <a:pt x="3252" y="1454"/>
                  </a:cubicBezTo>
                  <a:cubicBezTo>
                    <a:pt x="3251" y="1452"/>
                    <a:pt x="3251" y="1452"/>
                    <a:pt x="3251" y="1452"/>
                  </a:cubicBezTo>
                  <a:cubicBezTo>
                    <a:pt x="3252" y="1454"/>
                    <a:pt x="3252" y="1454"/>
                    <a:pt x="3252" y="1454"/>
                  </a:cubicBezTo>
                  <a:cubicBezTo>
                    <a:pt x="3252" y="1454"/>
                    <a:pt x="3252" y="1454"/>
                    <a:pt x="3252" y="1454"/>
                  </a:cubicBezTo>
                  <a:cubicBezTo>
                    <a:pt x="3251" y="1452"/>
                    <a:pt x="3251" y="1452"/>
                    <a:pt x="3251" y="1452"/>
                  </a:cubicBezTo>
                  <a:cubicBezTo>
                    <a:pt x="3252" y="1454"/>
                    <a:pt x="3252" y="1454"/>
                    <a:pt x="3252" y="1454"/>
                  </a:cubicBezTo>
                  <a:cubicBezTo>
                    <a:pt x="3252" y="1454"/>
                    <a:pt x="3253" y="1454"/>
                    <a:pt x="3254" y="1454"/>
                  </a:cubicBezTo>
                  <a:cubicBezTo>
                    <a:pt x="3254" y="1454"/>
                    <a:pt x="3254" y="1454"/>
                    <a:pt x="3254" y="1454"/>
                  </a:cubicBezTo>
                  <a:cubicBezTo>
                    <a:pt x="3254" y="1454"/>
                    <a:pt x="3254" y="1454"/>
                    <a:pt x="3254" y="1454"/>
                  </a:cubicBezTo>
                  <a:cubicBezTo>
                    <a:pt x="3258" y="1452"/>
                    <a:pt x="3262" y="1450"/>
                    <a:pt x="3266" y="1446"/>
                  </a:cubicBezTo>
                  <a:cubicBezTo>
                    <a:pt x="3270" y="1442"/>
                    <a:pt x="3272" y="1437"/>
                    <a:pt x="3274" y="1432"/>
                  </a:cubicBezTo>
                  <a:cubicBezTo>
                    <a:pt x="3274" y="1432"/>
                    <a:pt x="3274" y="1432"/>
                    <a:pt x="3274" y="1432"/>
                  </a:cubicBezTo>
                  <a:cubicBezTo>
                    <a:pt x="3274" y="1432"/>
                    <a:pt x="3274" y="1432"/>
                    <a:pt x="3274" y="1432"/>
                  </a:cubicBezTo>
                  <a:cubicBezTo>
                    <a:pt x="3266" y="1430"/>
                    <a:pt x="3266" y="1430"/>
                    <a:pt x="3266" y="1430"/>
                  </a:cubicBezTo>
                  <a:cubicBezTo>
                    <a:pt x="3273" y="1434"/>
                    <a:pt x="3273" y="1434"/>
                    <a:pt x="3273" y="1434"/>
                  </a:cubicBezTo>
                  <a:cubicBezTo>
                    <a:pt x="3273" y="1434"/>
                    <a:pt x="3273" y="1433"/>
                    <a:pt x="3274" y="1432"/>
                  </a:cubicBezTo>
                  <a:cubicBezTo>
                    <a:pt x="3266" y="1430"/>
                    <a:pt x="3266" y="1430"/>
                    <a:pt x="3266" y="1430"/>
                  </a:cubicBezTo>
                  <a:cubicBezTo>
                    <a:pt x="3273" y="1434"/>
                    <a:pt x="3273" y="1434"/>
                    <a:pt x="3273" y="1434"/>
                  </a:cubicBezTo>
                  <a:cubicBezTo>
                    <a:pt x="3269" y="1432"/>
                    <a:pt x="3269" y="1432"/>
                    <a:pt x="3269" y="1432"/>
                  </a:cubicBezTo>
                  <a:cubicBezTo>
                    <a:pt x="3272" y="1435"/>
                    <a:pt x="3272" y="1435"/>
                    <a:pt x="3272" y="1435"/>
                  </a:cubicBezTo>
                  <a:cubicBezTo>
                    <a:pt x="3273" y="1434"/>
                    <a:pt x="3273" y="1434"/>
                    <a:pt x="3273" y="1434"/>
                  </a:cubicBezTo>
                  <a:cubicBezTo>
                    <a:pt x="3269" y="1432"/>
                    <a:pt x="3269" y="1432"/>
                    <a:pt x="3269" y="1432"/>
                  </a:cubicBezTo>
                  <a:cubicBezTo>
                    <a:pt x="3272" y="1435"/>
                    <a:pt x="3272" y="1435"/>
                    <a:pt x="3272" y="1435"/>
                  </a:cubicBezTo>
                  <a:cubicBezTo>
                    <a:pt x="3272" y="1434"/>
                    <a:pt x="3272" y="1434"/>
                    <a:pt x="3272" y="1434"/>
                  </a:cubicBezTo>
                  <a:cubicBezTo>
                    <a:pt x="3272" y="1435"/>
                    <a:pt x="3272" y="1435"/>
                    <a:pt x="3272" y="1435"/>
                  </a:cubicBezTo>
                  <a:cubicBezTo>
                    <a:pt x="3272" y="1435"/>
                    <a:pt x="3272" y="1435"/>
                    <a:pt x="3272" y="1435"/>
                  </a:cubicBezTo>
                  <a:cubicBezTo>
                    <a:pt x="3272" y="1434"/>
                    <a:pt x="3272" y="1434"/>
                    <a:pt x="3272" y="1434"/>
                  </a:cubicBezTo>
                  <a:cubicBezTo>
                    <a:pt x="3272" y="1435"/>
                    <a:pt x="3272" y="1435"/>
                    <a:pt x="3272" y="1435"/>
                  </a:cubicBezTo>
                  <a:cubicBezTo>
                    <a:pt x="3272" y="1435"/>
                    <a:pt x="3273" y="1434"/>
                    <a:pt x="3273" y="1434"/>
                  </a:cubicBezTo>
                  <a:cubicBezTo>
                    <a:pt x="3273" y="1434"/>
                    <a:pt x="3273" y="1434"/>
                    <a:pt x="3273" y="1434"/>
                  </a:cubicBezTo>
                  <a:cubicBezTo>
                    <a:pt x="3277" y="1431"/>
                    <a:pt x="3280" y="1428"/>
                    <a:pt x="3281" y="1425"/>
                  </a:cubicBezTo>
                  <a:cubicBezTo>
                    <a:pt x="3283" y="1422"/>
                    <a:pt x="3284" y="1420"/>
                    <a:pt x="3285" y="1419"/>
                  </a:cubicBezTo>
                  <a:cubicBezTo>
                    <a:pt x="3285" y="1419"/>
                    <a:pt x="3285" y="1419"/>
                    <a:pt x="3285" y="1419"/>
                  </a:cubicBezTo>
                  <a:cubicBezTo>
                    <a:pt x="3281" y="1417"/>
                    <a:pt x="3281" y="1417"/>
                    <a:pt x="3281" y="1417"/>
                  </a:cubicBezTo>
                  <a:cubicBezTo>
                    <a:pt x="3283" y="1421"/>
                    <a:pt x="3283" y="1421"/>
                    <a:pt x="3283" y="1421"/>
                  </a:cubicBezTo>
                  <a:cubicBezTo>
                    <a:pt x="3283" y="1421"/>
                    <a:pt x="3284" y="1420"/>
                    <a:pt x="3285" y="1419"/>
                  </a:cubicBezTo>
                  <a:cubicBezTo>
                    <a:pt x="3281" y="1417"/>
                    <a:pt x="3281" y="1417"/>
                    <a:pt x="3281" y="1417"/>
                  </a:cubicBezTo>
                  <a:cubicBezTo>
                    <a:pt x="3283" y="1421"/>
                    <a:pt x="3283" y="1421"/>
                    <a:pt x="3283" y="1421"/>
                  </a:cubicBezTo>
                  <a:cubicBezTo>
                    <a:pt x="3283" y="1421"/>
                    <a:pt x="3283" y="1421"/>
                    <a:pt x="3283" y="1421"/>
                  </a:cubicBezTo>
                  <a:cubicBezTo>
                    <a:pt x="3283" y="1421"/>
                    <a:pt x="3285" y="1420"/>
                    <a:pt x="3286" y="1419"/>
                  </a:cubicBezTo>
                  <a:cubicBezTo>
                    <a:pt x="3288" y="1419"/>
                    <a:pt x="3290" y="1418"/>
                    <a:pt x="3293" y="1416"/>
                  </a:cubicBezTo>
                  <a:cubicBezTo>
                    <a:pt x="3293" y="1416"/>
                    <a:pt x="3293" y="1416"/>
                    <a:pt x="3293" y="1416"/>
                  </a:cubicBezTo>
                  <a:cubicBezTo>
                    <a:pt x="3295" y="1415"/>
                    <a:pt x="3296" y="1414"/>
                    <a:pt x="3297" y="1412"/>
                  </a:cubicBezTo>
                  <a:cubicBezTo>
                    <a:pt x="3299" y="1411"/>
                    <a:pt x="3299" y="1410"/>
                    <a:pt x="3299" y="1409"/>
                  </a:cubicBezTo>
                  <a:cubicBezTo>
                    <a:pt x="3299" y="1409"/>
                    <a:pt x="3299" y="1409"/>
                    <a:pt x="3299" y="1409"/>
                  </a:cubicBezTo>
                  <a:cubicBezTo>
                    <a:pt x="3296" y="1407"/>
                    <a:pt x="3296" y="1407"/>
                    <a:pt x="3296" y="1407"/>
                  </a:cubicBezTo>
                  <a:cubicBezTo>
                    <a:pt x="3299" y="1409"/>
                    <a:pt x="3299" y="1409"/>
                    <a:pt x="3299" y="1409"/>
                  </a:cubicBezTo>
                  <a:cubicBezTo>
                    <a:pt x="3299" y="1409"/>
                    <a:pt x="3299" y="1409"/>
                    <a:pt x="3299" y="1409"/>
                  </a:cubicBezTo>
                  <a:cubicBezTo>
                    <a:pt x="3296" y="1407"/>
                    <a:pt x="3296" y="1407"/>
                    <a:pt x="3296" y="1407"/>
                  </a:cubicBezTo>
                  <a:cubicBezTo>
                    <a:pt x="3299" y="1409"/>
                    <a:pt x="3299" y="1409"/>
                    <a:pt x="3299" y="1409"/>
                  </a:cubicBezTo>
                  <a:cubicBezTo>
                    <a:pt x="3293" y="1405"/>
                    <a:pt x="3293" y="1405"/>
                    <a:pt x="3293" y="1405"/>
                  </a:cubicBezTo>
                  <a:cubicBezTo>
                    <a:pt x="3298" y="1410"/>
                    <a:pt x="3298" y="1410"/>
                    <a:pt x="3298" y="1410"/>
                  </a:cubicBezTo>
                  <a:cubicBezTo>
                    <a:pt x="3299" y="1410"/>
                    <a:pt x="3299" y="1410"/>
                    <a:pt x="3299" y="1409"/>
                  </a:cubicBezTo>
                  <a:cubicBezTo>
                    <a:pt x="3293" y="1405"/>
                    <a:pt x="3293" y="1405"/>
                    <a:pt x="3293" y="1405"/>
                  </a:cubicBezTo>
                  <a:cubicBezTo>
                    <a:pt x="3298" y="1410"/>
                    <a:pt x="3298" y="1410"/>
                    <a:pt x="3298" y="1410"/>
                  </a:cubicBezTo>
                  <a:cubicBezTo>
                    <a:pt x="3298" y="1410"/>
                    <a:pt x="3298" y="1410"/>
                    <a:pt x="3298" y="1410"/>
                  </a:cubicBezTo>
                  <a:cubicBezTo>
                    <a:pt x="3299" y="1410"/>
                    <a:pt x="3299" y="1410"/>
                    <a:pt x="3299" y="1410"/>
                  </a:cubicBezTo>
                  <a:cubicBezTo>
                    <a:pt x="3300" y="1409"/>
                    <a:pt x="3301" y="1407"/>
                    <a:pt x="3301" y="1407"/>
                  </a:cubicBezTo>
                  <a:cubicBezTo>
                    <a:pt x="3301" y="1407"/>
                    <a:pt x="3301" y="1407"/>
                    <a:pt x="3301" y="1407"/>
                  </a:cubicBezTo>
                  <a:cubicBezTo>
                    <a:pt x="3299" y="1405"/>
                    <a:pt x="3299" y="1405"/>
                    <a:pt x="3299" y="1405"/>
                  </a:cubicBezTo>
                  <a:cubicBezTo>
                    <a:pt x="3301" y="1407"/>
                    <a:pt x="3301" y="1407"/>
                    <a:pt x="3301" y="1407"/>
                  </a:cubicBezTo>
                  <a:cubicBezTo>
                    <a:pt x="3301" y="1407"/>
                    <a:pt x="3301" y="1407"/>
                    <a:pt x="3301" y="1407"/>
                  </a:cubicBezTo>
                  <a:cubicBezTo>
                    <a:pt x="3299" y="1405"/>
                    <a:pt x="3299" y="1405"/>
                    <a:pt x="3299" y="1405"/>
                  </a:cubicBezTo>
                  <a:cubicBezTo>
                    <a:pt x="3301" y="1407"/>
                    <a:pt x="3301" y="1407"/>
                    <a:pt x="3301" y="1407"/>
                  </a:cubicBezTo>
                  <a:cubicBezTo>
                    <a:pt x="3297" y="1402"/>
                    <a:pt x="3297" y="1402"/>
                    <a:pt x="3297" y="1402"/>
                  </a:cubicBezTo>
                  <a:cubicBezTo>
                    <a:pt x="3299" y="1408"/>
                    <a:pt x="3299" y="1408"/>
                    <a:pt x="3299" y="1408"/>
                  </a:cubicBezTo>
                  <a:cubicBezTo>
                    <a:pt x="3300" y="1408"/>
                    <a:pt x="3300" y="1407"/>
                    <a:pt x="3301" y="1407"/>
                  </a:cubicBezTo>
                  <a:cubicBezTo>
                    <a:pt x="3297" y="1402"/>
                    <a:pt x="3297" y="1402"/>
                    <a:pt x="3297" y="1402"/>
                  </a:cubicBezTo>
                  <a:cubicBezTo>
                    <a:pt x="3299" y="1408"/>
                    <a:pt x="3299" y="1408"/>
                    <a:pt x="3299" y="1408"/>
                  </a:cubicBezTo>
                  <a:cubicBezTo>
                    <a:pt x="3299" y="1408"/>
                    <a:pt x="3299" y="1408"/>
                    <a:pt x="3299" y="1408"/>
                  </a:cubicBezTo>
                  <a:cubicBezTo>
                    <a:pt x="3303" y="1406"/>
                    <a:pt x="3307" y="1405"/>
                    <a:pt x="3312" y="1402"/>
                  </a:cubicBezTo>
                  <a:cubicBezTo>
                    <a:pt x="3316" y="1400"/>
                    <a:pt x="3321" y="1396"/>
                    <a:pt x="3325" y="1392"/>
                  </a:cubicBezTo>
                  <a:cubicBezTo>
                    <a:pt x="3325" y="1392"/>
                    <a:pt x="3325" y="1392"/>
                    <a:pt x="3325" y="1392"/>
                  </a:cubicBezTo>
                  <a:cubicBezTo>
                    <a:pt x="3325" y="1392"/>
                    <a:pt x="3325" y="1392"/>
                    <a:pt x="3325" y="1392"/>
                  </a:cubicBezTo>
                  <a:cubicBezTo>
                    <a:pt x="3318" y="1385"/>
                    <a:pt x="3318" y="1385"/>
                    <a:pt x="3318" y="1385"/>
                  </a:cubicBezTo>
                  <a:cubicBezTo>
                    <a:pt x="3322" y="1394"/>
                    <a:pt x="3322" y="1394"/>
                    <a:pt x="3322" y="1394"/>
                  </a:cubicBezTo>
                  <a:cubicBezTo>
                    <a:pt x="3323" y="1394"/>
                    <a:pt x="3324" y="1393"/>
                    <a:pt x="3325" y="1392"/>
                  </a:cubicBezTo>
                  <a:cubicBezTo>
                    <a:pt x="3318" y="1385"/>
                    <a:pt x="3318" y="1385"/>
                    <a:pt x="3318" y="1385"/>
                  </a:cubicBezTo>
                  <a:cubicBezTo>
                    <a:pt x="3322" y="1394"/>
                    <a:pt x="3322" y="1394"/>
                    <a:pt x="3322" y="1394"/>
                  </a:cubicBezTo>
                  <a:cubicBezTo>
                    <a:pt x="3318" y="1387"/>
                    <a:pt x="3318" y="1387"/>
                    <a:pt x="3318" y="1387"/>
                  </a:cubicBezTo>
                  <a:cubicBezTo>
                    <a:pt x="3319" y="1395"/>
                    <a:pt x="3319" y="1395"/>
                    <a:pt x="3319" y="1395"/>
                  </a:cubicBezTo>
                  <a:cubicBezTo>
                    <a:pt x="3320" y="1395"/>
                    <a:pt x="3321" y="1395"/>
                    <a:pt x="3322" y="1394"/>
                  </a:cubicBezTo>
                  <a:cubicBezTo>
                    <a:pt x="3318" y="1387"/>
                    <a:pt x="3318" y="1387"/>
                    <a:pt x="3318" y="1387"/>
                  </a:cubicBezTo>
                  <a:cubicBezTo>
                    <a:pt x="3319" y="1395"/>
                    <a:pt x="3319" y="1395"/>
                    <a:pt x="3319" y="1395"/>
                  </a:cubicBezTo>
                  <a:cubicBezTo>
                    <a:pt x="3319" y="1392"/>
                    <a:pt x="3319" y="1392"/>
                    <a:pt x="3319" y="1392"/>
                  </a:cubicBezTo>
                  <a:cubicBezTo>
                    <a:pt x="3319" y="1395"/>
                    <a:pt x="3319" y="1395"/>
                    <a:pt x="3319" y="1395"/>
                  </a:cubicBezTo>
                  <a:cubicBezTo>
                    <a:pt x="3319" y="1395"/>
                    <a:pt x="3319" y="1395"/>
                    <a:pt x="3319" y="1395"/>
                  </a:cubicBezTo>
                  <a:cubicBezTo>
                    <a:pt x="3319" y="1392"/>
                    <a:pt x="3319" y="1392"/>
                    <a:pt x="3319" y="1392"/>
                  </a:cubicBezTo>
                  <a:cubicBezTo>
                    <a:pt x="3319" y="1395"/>
                    <a:pt x="3319" y="1395"/>
                    <a:pt x="3319" y="1395"/>
                  </a:cubicBezTo>
                  <a:cubicBezTo>
                    <a:pt x="3319" y="1395"/>
                    <a:pt x="3320" y="1395"/>
                    <a:pt x="3321" y="1395"/>
                  </a:cubicBezTo>
                  <a:cubicBezTo>
                    <a:pt x="3322" y="1395"/>
                    <a:pt x="3324" y="1395"/>
                    <a:pt x="3326" y="1394"/>
                  </a:cubicBezTo>
                  <a:cubicBezTo>
                    <a:pt x="3326" y="1394"/>
                    <a:pt x="3326" y="1394"/>
                    <a:pt x="3326" y="1394"/>
                  </a:cubicBezTo>
                  <a:cubicBezTo>
                    <a:pt x="3328" y="1394"/>
                    <a:pt x="3331" y="1393"/>
                    <a:pt x="3335" y="1392"/>
                  </a:cubicBezTo>
                  <a:cubicBezTo>
                    <a:pt x="3338" y="1391"/>
                    <a:pt x="3343" y="1390"/>
                    <a:pt x="3347" y="1386"/>
                  </a:cubicBezTo>
                  <a:cubicBezTo>
                    <a:pt x="3347" y="1386"/>
                    <a:pt x="3347" y="1386"/>
                    <a:pt x="3347" y="1386"/>
                  </a:cubicBezTo>
                  <a:cubicBezTo>
                    <a:pt x="3349" y="1384"/>
                    <a:pt x="3351" y="1382"/>
                    <a:pt x="3352" y="1381"/>
                  </a:cubicBezTo>
                  <a:cubicBezTo>
                    <a:pt x="3354" y="1378"/>
                    <a:pt x="3355" y="1377"/>
                    <a:pt x="3356" y="1377"/>
                  </a:cubicBezTo>
                  <a:cubicBezTo>
                    <a:pt x="3356" y="1377"/>
                    <a:pt x="3356" y="1377"/>
                    <a:pt x="3356" y="1377"/>
                  </a:cubicBezTo>
                  <a:cubicBezTo>
                    <a:pt x="3356" y="1376"/>
                    <a:pt x="3356" y="1376"/>
                    <a:pt x="3356" y="1376"/>
                  </a:cubicBezTo>
                  <a:cubicBezTo>
                    <a:pt x="3356" y="1377"/>
                    <a:pt x="3356" y="1377"/>
                    <a:pt x="3356" y="1377"/>
                  </a:cubicBezTo>
                  <a:cubicBezTo>
                    <a:pt x="3356" y="1377"/>
                    <a:pt x="3356" y="1377"/>
                    <a:pt x="3356" y="1377"/>
                  </a:cubicBezTo>
                  <a:cubicBezTo>
                    <a:pt x="3356" y="1376"/>
                    <a:pt x="3356" y="1376"/>
                    <a:pt x="3356" y="1376"/>
                  </a:cubicBezTo>
                  <a:cubicBezTo>
                    <a:pt x="3356" y="1377"/>
                    <a:pt x="3356" y="1377"/>
                    <a:pt x="3356" y="1377"/>
                  </a:cubicBezTo>
                  <a:cubicBezTo>
                    <a:pt x="3356" y="1376"/>
                    <a:pt x="3356" y="1376"/>
                    <a:pt x="3356" y="1376"/>
                  </a:cubicBezTo>
                  <a:cubicBezTo>
                    <a:pt x="3356" y="1377"/>
                    <a:pt x="3356" y="1377"/>
                    <a:pt x="3356" y="1377"/>
                  </a:cubicBezTo>
                  <a:cubicBezTo>
                    <a:pt x="3356" y="1377"/>
                    <a:pt x="3356" y="1377"/>
                    <a:pt x="3356" y="1377"/>
                  </a:cubicBezTo>
                  <a:cubicBezTo>
                    <a:pt x="3356" y="1376"/>
                    <a:pt x="3356" y="1376"/>
                    <a:pt x="3356" y="1376"/>
                  </a:cubicBezTo>
                  <a:cubicBezTo>
                    <a:pt x="3356" y="1377"/>
                    <a:pt x="3356" y="1377"/>
                    <a:pt x="3356" y="1377"/>
                  </a:cubicBezTo>
                  <a:cubicBezTo>
                    <a:pt x="3356" y="1377"/>
                    <a:pt x="3356" y="1377"/>
                    <a:pt x="3356" y="1377"/>
                  </a:cubicBezTo>
                  <a:cubicBezTo>
                    <a:pt x="3363" y="1377"/>
                    <a:pt x="3363" y="1377"/>
                    <a:pt x="3363" y="1377"/>
                  </a:cubicBezTo>
                  <a:cubicBezTo>
                    <a:pt x="3367" y="1370"/>
                    <a:pt x="3367" y="1370"/>
                    <a:pt x="3367" y="1370"/>
                  </a:cubicBezTo>
                  <a:cubicBezTo>
                    <a:pt x="3367" y="1369"/>
                    <a:pt x="3367" y="1369"/>
                    <a:pt x="3367" y="1368"/>
                  </a:cubicBezTo>
                  <a:cubicBezTo>
                    <a:pt x="3368" y="1368"/>
                    <a:pt x="3369" y="1367"/>
                    <a:pt x="3371" y="1367"/>
                  </a:cubicBezTo>
                  <a:cubicBezTo>
                    <a:pt x="3373" y="1366"/>
                    <a:pt x="3376" y="1365"/>
                    <a:pt x="3380" y="1364"/>
                  </a:cubicBezTo>
                  <a:cubicBezTo>
                    <a:pt x="3380" y="1364"/>
                    <a:pt x="3380" y="1364"/>
                    <a:pt x="3380" y="1364"/>
                  </a:cubicBezTo>
                  <a:cubicBezTo>
                    <a:pt x="3380" y="1364"/>
                    <a:pt x="3380" y="1364"/>
                    <a:pt x="3380" y="1364"/>
                  </a:cubicBezTo>
                  <a:cubicBezTo>
                    <a:pt x="3383" y="1363"/>
                    <a:pt x="3386" y="1361"/>
                    <a:pt x="3390" y="1358"/>
                  </a:cubicBezTo>
                  <a:cubicBezTo>
                    <a:pt x="3383" y="1349"/>
                    <a:pt x="3383" y="1349"/>
                    <a:pt x="3383" y="1349"/>
                  </a:cubicBezTo>
                  <a:cubicBezTo>
                    <a:pt x="3390" y="1358"/>
                    <a:pt x="3390" y="1358"/>
                    <a:pt x="3390" y="1358"/>
                  </a:cubicBezTo>
                  <a:cubicBezTo>
                    <a:pt x="3392" y="1357"/>
                    <a:pt x="3393" y="1356"/>
                    <a:pt x="3394" y="1354"/>
                  </a:cubicBezTo>
                  <a:cubicBezTo>
                    <a:pt x="3396" y="1353"/>
                    <a:pt x="3398" y="1351"/>
                    <a:pt x="3398" y="1351"/>
                  </a:cubicBezTo>
                  <a:cubicBezTo>
                    <a:pt x="3399" y="1351"/>
                    <a:pt x="3399" y="1351"/>
                    <a:pt x="3399" y="1351"/>
                  </a:cubicBezTo>
                  <a:cubicBezTo>
                    <a:pt x="3399" y="1351"/>
                    <a:pt x="3399" y="1351"/>
                    <a:pt x="3399" y="1351"/>
                  </a:cubicBezTo>
                  <a:cubicBezTo>
                    <a:pt x="3398" y="1350"/>
                    <a:pt x="3398" y="1350"/>
                    <a:pt x="3398" y="1350"/>
                  </a:cubicBezTo>
                  <a:cubicBezTo>
                    <a:pt x="3399" y="1351"/>
                    <a:pt x="3399" y="1351"/>
                    <a:pt x="3399" y="1351"/>
                  </a:cubicBezTo>
                  <a:cubicBezTo>
                    <a:pt x="3399" y="1351"/>
                    <a:pt x="3399" y="1351"/>
                    <a:pt x="3399" y="1351"/>
                  </a:cubicBezTo>
                  <a:cubicBezTo>
                    <a:pt x="3398" y="1350"/>
                    <a:pt x="3398" y="1350"/>
                    <a:pt x="3398" y="1350"/>
                  </a:cubicBezTo>
                  <a:cubicBezTo>
                    <a:pt x="3399" y="1351"/>
                    <a:pt x="3399" y="1351"/>
                    <a:pt x="3399" y="1351"/>
                  </a:cubicBezTo>
                  <a:cubicBezTo>
                    <a:pt x="3398" y="1350"/>
                    <a:pt x="3398" y="1350"/>
                    <a:pt x="3398" y="1350"/>
                  </a:cubicBezTo>
                  <a:cubicBezTo>
                    <a:pt x="3398" y="1351"/>
                    <a:pt x="3398" y="1351"/>
                    <a:pt x="3398" y="1351"/>
                  </a:cubicBezTo>
                  <a:cubicBezTo>
                    <a:pt x="3399" y="1351"/>
                    <a:pt x="3399" y="1351"/>
                    <a:pt x="3399" y="1351"/>
                  </a:cubicBezTo>
                  <a:cubicBezTo>
                    <a:pt x="3398" y="1350"/>
                    <a:pt x="3398" y="1350"/>
                    <a:pt x="3398" y="1350"/>
                  </a:cubicBezTo>
                  <a:cubicBezTo>
                    <a:pt x="3398" y="1351"/>
                    <a:pt x="3398" y="1351"/>
                    <a:pt x="3398" y="1351"/>
                  </a:cubicBezTo>
                  <a:cubicBezTo>
                    <a:pt x="3398" y="1351"/>
                    <a:pt x="3399" y="1351"/>
                    <a:pt x="3399" y="1351"/>
                  </a:cubicBezTo>
                  <a:cubicBezTo>
                    <a:pt x="3399" y="1351"/>
                    <a:pt x="3399" y="1351"/>
                    <a:pt x="3399" y="1351"/>
                  </a:cubicBezTo>
                  <a:cubicBezTo>
                    <a:pt x="3399" y="1351"/>
                    <a:pt x="3399" y="1351"/>
                    <a:pt x="3399" y="1351"/>
                  </a:cubicBezTo>
                  <a:cubicBezTo>
                    <a:pt x="3400" y="1351"/>
                    <a:pt x="3401" y="1351"/>
                    <a:pt x="3402" y="1351"/>
                  </a:cubicBezTo>
                  <a:cubicBezTo>
                    <a:pt x="3405" y="1351"/>
                    <a:pt x="3406" y="1351"/>
                    <a:pt x="3407" y="1351"/>
                  </a:cubicBezTo>
                  <a:cubicBezTo>
                    <a:pt x="3408" y="1350"/>
                    <a:pt x="3409" y="1350"/>
                    <a:pt x="3410" y="1349"/>
                  </a:cubicBezTo>
                  <a:cubicBezTo>
                    <a:pt x="3411" y="1349"/>
                    <a:pt x="3411" y="1348"/>
                    <a:pt x="3412" y="1348"/>
                  </a:cubicBezTo>
                  <a:cubicBezTo>
                    <a:pt x="3404" y="1339"/>
                    <a:pt x="3404" y="1339"/>
                    <a:pt x="3404" y="1339"/>
                  </a:cubicBezTo>
                  <a:cubicBezTo>
                    <a:pt x="3411" y="1348"/>
                    <a:pt x="3411" y="1348"/>
                    <a:pt x="3411" y="1348"/>
                  </a:cubicBezTo>
                  <a:cubicBezTo>
                    <a:pt x="3412" y="1347"/>
                    <a:pt x="3413" y="1347"/>
                    <a:pt x="3414" y="1347"/>
                  </a:cubicBezTo>
                  <a:cubicBezTo>
                    <a:pt x="3414" y="1346"/>
                    <a:pt x="3415" y="1346"/>
                    <a:pt x="3415" y="1346"/>
                  </a:cubicBezTo>
                  <a:cubicBezTo>
                    <a:pt x="3415" y="1346"/>
                    <a:pt x="3416" y="1346"/>
                    <a:pt x="3417" y="1347"/>
                  </a:cubicBezTo>
                  <a:cubicBezTo>
                    <a:pt x="3417" y="1347"/>
                    <a:pt x="3417" y="1347"/>
                    <a:pt x="3417" y="1347"/>
                  </a:cubicBezTo>
                  <a:cubicBezTo>
                    <a:pt x="3419" y="1348"/>
                    <a:pt x="3420" y="1348"/>
                    <a:pt x="3422" y="1349"/>
                  </a:cubicBezTo>
                  <a:cubicBezTo>
                    <a:pt x="3423" y="1349"/>
                    <a:pt x="3424" y="1349"/>
                    <a:pt x="3425" y="1349"/>
                  </a:cubicBezTo>
                  <a:cubicBezTo>
                    <a:pt x="3427" y="1349"/>
                    <a:pt x="3428" y="1349"/>
                    <a:pt x="3430" y="1348"/>
                  </a:cubicBezTo>
                  <a:cubicBezTo>
                    <a:pt x="3431" y="1348"/>
                    <a:pt x="3432" y="1348"/>
                    <a:pt x="3433" y="1347"/>
                  </a:cubicBezTo>
                  <a:cubicBezTo>
                    <a:pt x="3434" y="1346"/>
                    <a:pt x="3436" y="1346"/>
                    <a:pt x="3437" y="1344"/>
                  </a:cubicBezTo>
                  <a:cubicBezTo>
                    <a:pt x="3437" y="1344"/>
                    <a:pt x="3437" y="1344"/>
                    <a:pt x="3437" y="1344"/>
                  </a:cubicBezTo>
                  <a:cubicBezTo>
                    <a:pt x="3437" y="1344"/>
                    <a:pt x="3437" y="1344"/>
                    <a:pt x="3437" y="1344"/>
                  </a:cubicBezTo>
                  <a:cubicBezTo>
                    <a:pt x="3437" y="1344"/>
                    <a:pt x="3438" y="1343"/>
                    <a:pt x="3440" y="1343"/>
                  </a:cubicBezTo>
                  <a:cubicBezTo>
                    <a:pt x="3441" y="1343"/>
                    <a:pt x="3444" y="1343"/>
                    <a:pt x="3447" y="1343"/>
                  </a:cubicBezTo>
                  <a:cubicBezTo>
                    <a:pt x="3447" y="1343"/>
                    <a:pt x="3447" y="1343"/>
                    <a:pt x="3447" y="1343"/>
                  </a:cubicBezTo>
                  <a:cubicBezTo>
                    <a:pt x="3453" y="1342"/>
                    <a:pt x="3459" y="1339"/>
                    <a:pt x="3463" y="1335"/>
                  </a:cubicBezTo>
                  <a:cubicBezTo>
                    <a:pt x="3468" y="1332"/>
                    <a:pt x="3472" y="1327"/>
                    <a:pt x="3474" y="1320"/>
                  </a:cubicBezTo>
                  <a:cubicBezTo>
                    <a:pt x="3474" y="1320"/>
                    <a:pt x="3474" y="1320"/>
                    <a:pt x="3474" y="1320"/>
                  </a:cubicBezTo>
                  <a:cubicBezTo>
                    <a:pt x="3475" y="1318"/>
                    <a:pt x="3475" y="1315"/>
                    <a:pt x="3475" y="1313"/>
                  </a:cubicBezTo>
                  <a:cubicBezTo>
                    <a:pt x="3475" y="1308"/>
                    <a:pt x="3473" y="1303"/>
                    <a:pt x="3471" y="1300"/>
                  </a:cubicBezTo>
                  <a:cubicBezTo>
                    <a:pt x="3468" y="1296"/>
                    <a:pt x="3465" y="1294"/>
                    <a:pt x="3462" y="1292"/>
                  </a:cubicBezTo>
                  <a:cubicBezTo>
                    <a:pt x="3462" y="1292"/>
                    <a:pt x="3462" y="1292"/>
                    <a:pt x="3462" y="1292"/>
                  </a:cubicBezTo>
                  <a:cubicBezTo>
                    <a:pt x="3459" y="1297"/>
                    <a:pt x="3459" y="1297"/>
                    <a:pt x="3459" y="1297"/>
                  </a:cubicBezTo>
                  <a:cubicBezTo>
                    <a:pt x="3464" y="1294"/>
                    <a:pt x="3464" y="1294"/>
                    <a:pt x="3464" y="1294"/>
                  </a:cubicBezTo>
                  <a:cubicBezTo>
                    <a:pt x="3463" y="1292"/>
                    <a:pt x="3462" y="1292"/>
                    <a:pt x="3462" y="1292"/>
                  </a:cubicBezTo>
                  <a:cubicBezTo>
                    <a:pt x="3459" y="1297"/>
                    <a:pt x="3459" y="1297"/>
                    <a:pt x="3459" y="1297"/>
                  </a:cubicBezTo>
                  <a:cubicBezTo>
                    <a:pt x="3464" y="1294"/>
                    <a:pt x="3464" y="1294"/>
                    <a:pt x="3464" y="1294"/>
                  </a:cubicBezTo>
                  <a:cubicBezTo>
                    <a:pt x="3456" y="1299"/>
                    <a:pt x="3456" y="1299"/>
                    <a:pt x="3456" y="1299"/>
                  </a:cubicBezTo>
                  <a:cubicBezTo>
                    <a:pt x="3465" y="1296"/>
                    <a:pt x="3465" y="1296"/>
                    <a:pt x="3465" y="1296"/>
                  </a:cubicBezTo>
                  <a:cubicBezTo>
                    <a:pt x="3464" y="1295"/>
                    <a:pt x="3464" y="1294"/>
                    <a:pt x="3464" y="1294"/>
                  </a:cubicBezTo>
                  <a:cubicBezTo>
                    <a:pt x="3456" y="1299"/>
                    <a:pt x="3456" y="1299"/>
                    <a:pt x="3456" y="1299"/>
                  </a:cubicBezTo>
                  <a:cubicBezTo>
                    <a:pt x="3465" y="1296"/>
                    <a:pt x="3465" y="1296"/>
                    <a:pt x="3465" y="1296"/>
                  </a:cubicBezTo>
                  <a:cubicBezTo>
                    <a:pt x="3456" y="1299"/>
                    <a:pt x="3456" y="1299"/>
                    <a:pt x="3456" y="1299"/>
                  </a:cubicBezTo>
                  <a:cubicBezTo>
                    <a:pt x="3465" y="1299"/>
                    <a:pt x="3465" y="1299"/>
                    <a:pt x="3465" y="1299"/>
                  </a:cubicBezTo>
                  <a:cubicBezTo>
                    <a:pt x="3465" y="1298"/>
                    <a:pt x="3465" y="1297"/>
                    <a:pt x="3465" y="1296"/>
                  </a:cubicBezTo>
                  <a:cubicBezTo>
                    <a:pt x="3456" y="1299"/>
                    <a:pt x="3456" y="1299"/>
                    <a:pt x="3456" y="1299"/>
                  </a:cubicBezTo>
                  <a:cubicBezTo>
                    <a:pt x="3465" y="1299"/>
                    <a:pt x="3465" y="1299"/>
                    <a:pt x="3465" y="1299"/>
                  </a:cubicBezTo>
                  <a:cubicBezTo>
                    <a:pt x="3458" y="1299"/>
                    <a:pt x="3458" y="1299"/>
                    <a:pt x="3458" y="1299"/>
                  </a:cubicBezTo>
                  <a:cubicBezTo>
                    <a:pt x="3465" y="1302"/>
                    <a:pt x="3465" y="1302"/>
                    <a:pt x="3465" y="1302"/>
                  </a:cubicBezTo>
                  <a:cubicBezTo>
                    <a:pt x="3465" y="1302"/>
                    <a:pt x="3465" y="1301"/>
                    <a:pt x="3465" y="1299"/>
                  </a:cubicBezTo>
                  <a:cubicBezTo>
                    <a:pt x="3458" y="1299"/>
                    <a:pt x="3458" y="1299"/>
                    <a:pt x="3458" y="1299"/>
                  </a:cubicBezTo>
                  <a:cubicBezTo>
                    <a:pt x="3465" y="1302"/>
                    <a:pt x="3465" y="1302"/>
                    <a:pt x="3465" y="1302"/>
                  </a:cubicBezTo>
                  <a:cubicBezTo>
                    <a:pt x="3464" y="1301"/>
                    <a:pt x="3464" y="1301"/>
                    <a:pt x="3464" y="1301"/>
                  </a:cubicBezTo>
                  <a:cubicBezTo>
                    <a:pt x="3465" y="1302"/>
                    <a:pt x="3465" y="1302"/>
                    <a:pt x="3465" y="1302"/>
                  </a:cubicBezTo>
                  <a:cubicBezTo>
                    <a:pt x="3465" y="1302"/>
                    <a:pt x="3465" y="1302"/>
                    <a:pt x="3465" y="1302"/>
                  </a:cubicBezTo>
                  <a:cubicBezTo>
                    <a:pt x="3464" y="1301"/>
                    <a:pt x="3464" y="1301"/>
                    <a:pt x="3464" y="1301"/>
                  </a:cubicBezTo>
                  <a:cubicBezTo>
                    <a:pt x="3465" y="1302"/>
                    <a:pt x="3465" y="1302"/>
                    <a:pt x="3465" y="1302"/>
                  </a:cubicBezTo>
                  <a:cubicBezTo>
                    <a:pt x="3465" y="1302"/>
                    <a:pt x="3465" y="1301"/>
                    <a:pt x="3465" y="1300"/>
                  </a:cubicBezTo>
                  <a:cubicBezTo>
                    <a:pt x="3465" y="1300"/>
                    <a:pt x="3465" y="1300"/>
                    <a:pt x="3465" y="1300"/>
                  </a:cubicBezTo>
                  <a:cubicBezTo>
                    <a:pt x="3467" y="1298"/>
                    <a:pt x="3468" y="1296"/>
                    <a:pt x="3469" y="1294"/>
                  </a:cubicBezTo>
                  <a:cubicBezTo>
                    <a:pt x="3471" y="1293"/>
                    <a:pt x="3473" y="1291"/>
                    <a:pt x="3475" y="1290"/>
                  </a:cubicBezTo>
                  <a:cubicBezTo>
                    <a:pt x="3475" y="1290"/>
                    <a:pt x="3475" y="1290"/>
                    <a:pt x="3475" y="1290"/>
                  </a:cubicBezTo>
                  <a:cubicBezTo>
                    <a:pt x="3478" y="1289"/>
                    <a:pt x="3481" y="1287"/>
                    <a:pt x="3483" y="1284"/>
                  </a:cubicBezTo>
                  <a:cubicBezTo>
                    <a:pt x="3484" y="1282"/>
                    <a:pt x="3486" y="1281"/>
                    <a:pt x="3486" y="1279"/>
                  </a:cubicBezTo>
                  <a:cubicBezTo>
                    <a:pt x="3487" y="1277"/>
                    <a:pt x="3487" y="1274"/>
                    <a:pt x="3487" y="1272"/>
                  </a:cubicBezTo>
                  <a:cubicBezTo>
                    <a:pt x="3487" y="1269"/>
                    <a:pt x="3487" y="1267"/>
                    <a:pt x="3486" y="1265"/>
                  </a:cubicBezTo>
                  <a:cubicBezTo>
                    <a:pt x="3485" y="1262"/>
                    <a:pt x="3484" y="1260"/>
                    <a:pt x="3482" y="1259"/>
                  </a:cubicBezTo>
                  <a:cubicBezTo>
                    <a:pt x="3480" y="1256"/>
                    <a:pt x="3478" y="1254"/>
                    <a:pt x="3477" y="1252"/>
                  </a:cubicBezTo>
                  <a:cubicBezTo>
                    <a:pt x="3475" y="1251"/>
                    <a:pt x="3474" y="1250"/>
                    <a:pt x="3473" y="1249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0" y="1251"/>
                    <a:pt x="3470" y="1251"/>
                    <a:pt x="3470" y="1251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0" y="1251"/>
                    <a:pt x="3470" y="1251"/>
                    <a:pt x="3470" y="1251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1" y="1250"/>
                    <a:pt x="3471" y="1250"/>
                    <a:pt x="3471" y="1250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71" y="1250"/>
                    <a:pt x="3471" y="1250"/>
                    <a:pt x="3471" y="1250"/>
                  </a:cubicBezTo>
                  <a:cubicBezTo>
                    <a:pt x="3473" y="1249"/>
                    <a:pt x="3473" y="1249"/>
                    <a:pt x="3473" y="1249"/>
                  </a:cubicBezTo>
                  <a:cubicBezTo>
                    <a:pt x="3466" y="1252"/>
                    <a:pt x="3466" y="1252"/>
                    <a:pt x="3466" y="1252"/>
                  </a:cubicBezTo>
                  <a:cubicBezTo>
                    <a:pt x="3474" y="1252"/>
                    <a:pt x="3474" y="1252"/>
                    <a:pt x="3474" y="1252"/>
                  </a:cubicBezTo>
                  <a:cubicBezTo>
                    <a:pt x="3474" y="1250"/>
                    <a:pt x="3474" y="1250"/>
                    <a:pt x="3473" y="1249"/>
                  </a:cubicBezTo>
                  <a:cubicBezTo>
                    <a:pt x="3466" y="1252"/>
                    <a:pt x="3466" y="1252"/>
                    <a:pt x="3466" y="1252"/>
                  </a:cubicBezTo>
                  <a:cubicBezTo>
                    <a:pt x="3474" y="1252"/>
                    <a:pt x="3474" y="1252"/>
                    <a:pt x="3474" y="1252"/>
                  </a:cubicBezTo>
                  <a:cubicBezTo>
                    <a:pt x="3463" y="1252"/>
                    <a:pt x="3463" y="1252"/>
                    <a:pt x="3463" y="1252"/>
                  </a:cubicBezTo>
                  <a:cubicBezTo>
                    <a:pt x="3473" y="1254"/>
                    <a:pt x="3473" y="1254"/>
                    <a:pt x="3473" y="1254"/>
                  </a:cubicBezTo>
                  <a:cubicBezTo>
                    <a:pt x="3474" y="1253"/>
                    <a:pt x="3474" y="1252"/>
                    <a:pt x="3474" y="1252"/>
                  </a:cubicBezTo>
                  <a:cubicBezTo>
                    <a:pt x="3463" y="1252"/>
                    <a:pt x="3463" y="1252"/>
                    <a:pt x="3463" y="1252"/>
                  </a:cubicBezTo>
                  <a:cubicBezTo>
                    <a:pt x="3473" y="1254"/>
                    <a:pt x="3473" y="1254"/>
                    <a:pt x="3473" y="1254"/>
                  </a:cubicBezTo>
                  <a:cubicBezTo>
                    <a:pt x="3463" y="1251"/>
                    <a:pt x="3463" y="1251"/>
                    <a:pt x="3463" y="1251"/>
                  </a:cubicBezTo>
                  <a:cubicBezTo>
                    <a:pt x="3472" y="1258"/>
                    <a:pt x="3472" y="1258"/>
                    <a:pt x="3472" y="1258"/>
                  </a:cubicBezTo>
                  <a:cubicBezTo>
                    <a:pt x="3473" y="1256"/>
                    <a:pt x="3473" y="1255"/>
                    <a:pt x="3473" y="1254"/>
                  </a:cubicBezTo>
                  <a:cubicBezTo>
                    <a:pt x="3463" y="1251"/>
                    <a:pt x="3463" y="1251"/>
                    <a:pt x="3463" y="1251"/>
                  </a:cubicBezTo>
                  <a:cubicBezTo>
                    <a:pt x="3472" y="1258"/>
                    <a:pt x="3472" y="1258"/>
                    <a:pt x="3472" y="1258"/>
                  </a:cubicBezTo>
                  <a:cubicBezTo>
                    <a:pt x="3472" y="1258"/>
                    <a:pt x="3472" y="1258"/>
                    <a:pt x="3472" y="1258"/>
                  </a:cubicBezTo>
                  <a:cubicBezTo>
                    <a:pt x="3475" y="1254"/>
                    <a:pt x="3477" y="1249"/>
                    <a:pt x="3478" y="1245"/>
                  </a:cubicBezTo>
                  <a:cubicBezTo>
                    <a:pt x="3479" y="1240"/>
                    <a:pt x="3480" y="1236"/>
                    <a:pt x="3480" y="1231"/>
                  </a:cubicBezTo>
                  <a:cubicBezTo>
                    <a:pt x="3473" y="1231"/>
                    <a:pt x="3473" y="1231"/>
                    <a:pt x="3473" y="1231"/>
                  </a:cubicBezTo>
                  <a:cubicBezTo>
                    <a:pt x="3479" y="1235"/>
                    <a:pt x="3479" y="1235"/>
                    <a:pt x="3479" y="1235"/>
                  </a:cubicBezTo>
                  <a:cubicBezTo>
                    <a:pt x="3479" y="1234"/>
                    <a:pt x="3480" y="1233"/>
                    <a:pt x="3480" y="1231"/>
                  </a:cubicBezTo>
                  <a:cubicBezTo>
                    <a:pt x="3473" y="1231"/>
                    <a:pt x="3473" y="1231"/>
                    <a:pt x="3473" y="1231"/>
                  </a:cubicBezTo>
                  <a:cubicBezTo>
                    <a:pt x="3479" y="1235"/>
                    <a:pt x="3479" y="1235"/>
                    <a:pt x="3479" y="1235"/>
                  </a:cubicBezTo>
                  <a:cubicBezTo>
                    <a:pt x="3477" y="1233"/>
                    <a:pt x="3477" y="1233"/>
                    <a:pt x="3477" y="1233"/>
                  </a:cubicBezTo>
                  <a:cubicBezTo>
                    <a:pt x="3479" y="1235"/>
                    <a:pt x="3479" y="1235"/>
                    <a:pt x="3479" y="1235"/>
                  </a:cubicBezTo>
                  <a:cubicBezTo>
                    <a:pt x="3479" y="1235"/>
                    <a:pt x="3479" y="1235"/>
                    <a:pt x="3479" y="1235"/>
                  </a:cubicBezTo>
                  <a:cubicBezTo>
                    <a:pt x="3477" y="1233"/>
                    <a:pt x="3477" y="1233"/>
                    <a:pt x="3477" y="1233"/>
                  </a:cubicBezTo>
                  <a:cubicBezTo>
                    <a:pt x="3479" y="1235"/>
                    <a:pt x="3479" y="1235"/>
                    <a:pt x="3479" y="1235"/>
                  </a:cubicBezTo>
                  <a:cubicBezTo>
                    <a:pt x="3479" y="1235"/>
                    <a:pt x="3479" y="1235"/>
                    <a:pt x="3479" y="1235"/>
                  </a:cubicBezTo>
                  <a:cubicBezTo>
                    <a:pt x="3479" y="1235"/>
                    <a:pt x="3480" y="1234"/>
                    <a:pt x="3481" y="1233"/>
                  </a:cubicBezTo>
                  <a:cubicBezTo>
                    <a:pt x="3481" y="1232"/>
                    <a:pt x="3482" y="1232"/>
                    <a:pt x="3484" y="1230"/>
                  </a:cubicBezTo>
                  <a:cubicBezTo>
                    <a:pt x="3484" y="1230"/>
                    <a:pt x="3484" y="1230"/>
                    <a:pt x="3484" y="1230"/>
                  </a:cubicBezTo>
                  <a:cubicBezTo>
                    <a:pt x="3484" y="1230"/>
                    <a:pt x="3484" y="1230"/>
                    <a:pt x="3484" y="1230"/>
                  </a:cubicBezTo>
                  <a:cubicBezTo>
                    <a:pt x="3485" y="1229"/>
                    <a:pt x="3486" y="1227"/>
                    <a:pt x="3488" y="1225"/>
                  </a:cubicBezTo>
                  <a:cubicBezTo>
                    <a:pt x="3488" y="1225"/>
                    <a:pt x="3488" y="1225"/>
                    <a:pt x="3488" y="1225"/>
                  </a:cubicBezTo>
                  <a:cubicBezTo>
                    <a:pt x="3492" y="1222"/>
                    <a:pt x="3494" y="1218"/>
                    <a:pt x="3496" y="1214"/>
                  </a:cubicBezTo>
                  <a:cubicBezTo>
                    <a:pt x="3499" y="1208"/>
                    <a:pt x="3500" y="1202"/>
                    <a:pt x="3501" y="1196"/>
                  </a:cubicBezTo>
                  <a:cubicBezTo>
                    <a:pt x="3502" y="1191"/>
                    <a:pt x="3503" y="1187"/>
                    <a:pt x="3504" y="1183"/>
                  </a:cubicBezTo>
                  <a:cubicBezTo>
                    <a:pt x="3504" y="1183"/>
                    <a:pt x="3504" y="1183"/>
                    <a:pt x="3504" y="1183"/>
                  </a:cubicBezTo>
                  <a:cubicBezTo>
                    <a:pt x="3504" y="1183"/>
                    <a:pt x="3504" y="1183"/>
                    <a:pt x="3504" y="1183"/>
                  </a:cubicBezTo>
                  <a:cubicBezTo>
                    <a:pt x="3505" y="1181"/>
                    <a:pt x="3505" y="1180"/>
                    <a:pt x="3505" y="1180"/>
                  </a:cubicBezTo>
                  <a:cubicBezTo>
                    <a:pt x="3505" y="1179"/>
                    <a:pt x="3505" y="1179"/>
                    <a:pt x="3505" y="1179"/>
                  </a:cubicBezTo>
                  <a:cubicBezTo>
                    <a:pt x="3505" y="1179"/>
                    <a:pt x="3505" y="1179"/>
                    <a:pt x="3505" y="1179"/>
                  </a:cubicBezTo>
                  <a:cubicBezTo>
                    <a:pt x="3502" y="1177"/>
                    <a:pt x="3502" y="1177"/>
                    <a:pt x="3502" y="1177"/>
                  </a:cubicBezTo>
                  <a:cubicBezTo>
                    <a:pt x="3505" y="1180"/>
                    <a:pt x="3505" y="1180"/>
                    <a:pt x="3505" y="1180"/>
                  </a:cubicBezTo>
                  <a:cubicBezTo>
                    <a:pt x="3505" y="1179"/>
                    <a:pt x="3505" y="1179"/>
                    <a:pt x="3505" y="1179"/>
                  </a:cubicBezTo>
                  <a:cubicBezTo>
                    <a:pt x="3502" y="1177"/>
                    <a:pt x="3502" y="1177"/>
                    <a:pt x="3502" y="1177"/>
                  </a:cubicBezTo>
                  <a:cubicBezTo>
                    <a:pt x="3505" y="1180"/>
                    <a:pt x="3505" y="1180"/>
                    <a:pt x="3505" y="1180"/>
                  </a:cubicBezTo>
                  <a:cubicBezTo>
                    <a:pt x="3501" y="1177"/>
                    <a:pt x="3501" y="1177"/>
                    <a:pt x="3501" y="1177"/>
                  </a:cubicBezTo>
                  <a:cubicBezTo>
                    <a:pt x="3503" y="1181"/>
                    <a:pt x="3503" y="1181"/>
                    <a:pt x="3503" y="1181"/>
                  </a:cubicBezTo>
                  <a:cubicBezTo>
                    <a:pt x="3503" y="1181"/>
                    <a:pt x="3504" y="1181"/>
                    <a:pt x="3505" y="1180"/>
                  </a:cubicBezTo>
                  <a:cubicBezTo>
                    <a:pt x="3501" y="1177"/>
                    <a:pt x="3501" y="1177"/>
                    <a:pt x="3501" y="1177"/>
                  </a:cubicBezTo>
                  <a:cubicBezTo>
                    <a:pt x="3503" y="1181"/>
                    <a:pt x="3503" y="1181"/>
                    <a:pt x="3503" y="1181"/>
                  </a:cubicBezTo>
                  <a:cubicBezTo>
                    <a:pt x="3503" y="1181"/>
                    <a:pt x="3503" y="1181"/>
                    <a:pt x="3503" y="1181"/>
                  </a:cubicBezTo>
                  <a:cubicBezTo>
                    <a:pt x="3507" y="1180"/>
                    <a:pt x="3510" y="1178"/>
                    <a:pt x="3513" y="1175"/>
                  </a:cubicBezTo>
                  <a:cubicBezTo>
                    <a:pt x="3518" y="1171"/>
                    <a:pt x="3521" y="1166"/>
                    <a:pt x="3523" y="1161"/>
                  </a:cubicBezTo>
                  <a:cubicBezTo>
                    <a:pt x="3525" y="1156"/>
                    <a:pt x="3526" y="1151"/>
                    <a:pt x="3526" y="1146"/>
                  </a:cubicBezTo>
                  <a:cubicBezTo>
                    <a:pt x="3526" y="1146"/>
                    <a:pt x="3526" y="1146"/>
                    <a:pt x="3526" y="1146"/>
                  </a:cubicBezTo>
                  <a:cubicBezTo>
                    <a:pt x="3520" y="1146"/>
                    <a:pt x="3520" y="1146"/>
                    <a:pt x="3520" y="1146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7"/>
                    <a:pt x="3526" y="1146"/>
                  </a:cubicBezTo>
                  <a:cubicBezTo>
                    <a:pt x="3520" y="1146"/>
                    <a:pt x="3520" y="1146"/>
                    <a:pt x="3520" y="1146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4" y="1147"/>
                    <a:pt x="3524" y="1147"/>
                    <a:pt x="3524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4" y="1147"/>
                    <a:pt x="3524" y="1147"/>
                    <a:pt x="3524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7"/>
                    <a:pt x="3526" y="1147"/>
                  </a:cubicBezTo>
                  <a:cubicBezTo>
                    <a:pt x="3526" y="1147"/>
                    <a:pt x="3526" y="1146"/>
                    <a:pt x="3527" y="1145"/>
                  </a:cubicBezTo>
                  <a:cubicBezTo>
                    <a:pt x="3517" y="1139"/>
                    <a:pt x="3517" y="1139"/>
                    <a:pt x="3517" y="1139"/>
                  </a:cubicBezTo>
                  <a:cubicBezTo>
                    <a:pt x="3509" y="1149"/>
                    <a:pt x="3509" y="1149"/>
                    <a:pt x="3509" y="1149"/>
                  </a:cubicBezTo>
                  <a:cubicBezTo>
                    <a:pt x="3511" y="1149"/>
                    <a:pt x="3511" y="1150"/>
                    <a:pt x="3512" y="1151"/>
                  </a:cubicBezTo>
                  <a:cubicBezTo>
                    <a:pt x="3512" y="1151"/>
                    <a:pt x="3512" y="1151"/>
                    <a:pt x="3512" y="1151"/>
                  </a:cubicBezTo>
                  <a:cubicBezTo>
                    <a:pt x="3512" y="1151"/>
                    <a:pt x="3512" y="1151"/>
                    <a:pt x="3512" y="1151"/>
                  </a:cubicBezTo>
                  <a:cubicBezTo>
                    <a:pt x="3513" y="1152"/>
                    <a:pt x="3514" y="1153"/>
                    <a:pt x="3516" y="1154"/>
                  </a:cubicBezTo>
                  <a:cubicBezTo>
                    <a:pt x="3518" y="1156"/>
                    <a:pt x="3520" y="1157"/>
                    <a:pt x="3522" y="1159"/>
                  </a:cubicBezTo>
                  <a:cubicBezTo>
                    <a:pt x="3522" y="1159"/>
                    <a:pt x="3522" y="1159"/>
                    <a:pt x="3522" y="1159"/>
                  </a:cubicBezTo>
                  <a:cubicBezTo>
                    <a:pt x="3522" y="1159"/>
                    <a:pt x="3522" y="1159"/>
                    <a:pt x="3522" y="1159"/>
                  </a:cubicBezTo>
                  <a:cubicBezTo>
                    <a:pt x="3525" y="1161"/>
                    <a:pt x="3528" y="1163"/>
                    <a:pt x="3532" y="1164"/>
                  </a:cubicBezTo>
                  <a:cubicBezTo>
                    <a:pt x="3535" y="1165"/>
                    <a:pt x="3538" y="1166"/>
                    <a:pt x="3542" y="1166"/>
                  </a:cubicBezTo>
                  <a:cubicBezTo>
                    <a:pt x="3545" y="1166"/>
                    <a:pt x="3549" y="1165"/>
                    <a:pt x="3552" y="1164"/>
                  </a:cubicBezTo>
                  <a:cubicBezTo>
                    <a:pt x="3554" y="1163"/>
                    <a:pt x="3556" y="1161"/>
                    <a:pt x="3558" y="1160"/>
                  </a:cubicBezTo>
                  <a:cubicBezTo>
                    <a:pt x="3560" y="1157"/>
                    <a:pt x="3562" y="1154"/>
                    <a:pt x="3564" y="1151"/>
                  </a:cubicBezTo>
                  <a:cubicBezTo>
                    <a:pt x="3565" y="1148"/>
                    <a:pt x="3566" y="1145"/>
                    <a:pt x="3567" y="1141"/>
                  </a:cubicBezTo>
                  <a:cubicBezTo>
                    <a:pt x="3567" y="1141"/>
                    <a:pt x="3567" y="1141"/>
                    <a:pt x="3567" y="1141"/>
                  </a:cubicBezTo>
                  <a:cubicBezTo>
                    <a:pt x="3567" y="1139"/>
                    <a:pt x="3568" y="1137"/>
                    <a:pt x="3568" y="1136"/>
                  </a:cubicBezTo>
                  <a:cubicBezTo>
                    <a:pt x="3568" y="1134"/>
                    <a:pt x="3567" y="1132"/>
                    <a:pt x="3567" y="1130"/>
                  </a:cubicBezTo>
                  <a:cubicBezTo>
                    <a:pt x="3567" y="1129"/>
                    <a:pt x="3566" y="1128"/>
                    <a:pt x="3566" y="1127"/>
                  </a:cubicBezTo>
                  <a:cubicBezTo>
                    <a:pt x="3565" y="1126"/>
                    <a:pt x="3564" y="1124"/>
                    <a:pt x="3563" y="1123"/>
                  </a:cubicBezTo>
                  <a:cubicBezTo>
                    <a:pt x="3563" y="1123"/>
                    <a:pt x="3563" y="1123"/>
                    <a:pt x="3563" y="1123"/>
                  </a:cubicBezTo>
                  <a:cubicBezTo>
                    <a:pt x="3562" y="1122"/>
                    <a:pt x="3561" y="1120"/>
                    <a:pt x="3559" y="1117"/>
                  </a:cubicBezTo>
                  <a:cubicBezTo>
                    <a:pt x="3558" y="1114"/>
                    <a:pt x="3557" y="1110"/>
                    <a:pt x="3554" y="1106"/>
                  </a:cubicBezTo>
                  <a:cubicBezTo>
                    <a:pt x="3554" y="1106"/>
                    <a:pt x="3554" y="1106"/>
                    <a:pt x="3554" y="1106"/>
                  </a:cubicBezTo>
                  <a:cubicBezTo>
                    <a:pt x="3554" y="1105"/>
                    <a:pt x="3554" y="1105"/>
                    <a:pt x="3554" y="1105"/>
                  </a:cubicBezTo>
                  <a:cubicBezTo>
                    <a:pt x="3554" y="1105"/>
                    <a:pt x="3554" y="1105"/>
                    <a:pt x="3554" y="1105"/>
                  </a:cubicBezTo>
                  <a:cubicBezTo>
                    <a:pt x="3553" y="1105"/>
                    <a:pt x="3553" y="1105"/>
                    <a:pt x="3553" y="1105"/>
                  </a:cubicBezTo>
                  <a:cubicBezTo>
                    <a:pt x="3554" y="1105"/>
                    <a:pt x="3554" y="1105"/>
                    <a:pt x="3554" y="1105"/>
                  </a:cubicBezTo>
                  <a:cubicBezTo>
                    <a:pt x="3554" y="1105"/>
                    <a:pt x="3554" y="1105"/>
                    <a:pt x="3554" y="1105"/>
                  </a:cubicBezTo>
                  <a:cubicBezTo>
                    <a:pt x="3553" y="1105"/>
                    <a:pt x="3553" y="1105"/>
                    <a:pt x="3553" y="1105"/>
                  </a:cubicBezTo>
                  <a:cubicBezTo>
                    <a:pt x="3554" y="1105"/>
                    <a:pt x="3554" y="1105"/>
                    <a:pt x="3554" y="1105"/>
                  </a:cubicBezTo>
                  <a:cubicBezTo>
                    <a:pt x="3550" y="1106"/>
                    <a:pt x="3550" y="1106"/>
                    <a:pt x="3550" y="1106"/>
                  </a:cubicBezTo>
                  <a:cubicBezTo>
                    <a:pt x="3554" y="1106"/>
                    <a:pt x="3554" y="1106"/>
                    <a:pt x="3554" y="1106"/>
                  </a:cubicBezTo>
                  <a:cubicBezTo>
                    <a:pt x="3554" y="1105"/>
                    <a:pt x="3554" y="1105"/>
                    <a:pt x="3554" y="1105"/>
                  </a:cubicBezTo>
                  <a:cubicBezTo>
                    <a:pt x="3550" y="1106"/>
                    <a:pt x="3550" y="1106"/>
                    <a:pt x="3550" y="1106"/>
                  </a:cubicBezTo>
                  <a:cubicBezTo>
                    <a:pt x="3554" y="1106"/>
                    <a:pt x="3554" y="1106"/>
                    <a:pt x="3554" y="1106"/>
                  </a:cubicBezTo>
                  <a:cubicBezTo>
                    <a:pt x="3548" y="1106"/>
                    <a:pt x="3548" y="1106"/>
                    <a:pt x="3548" y="1106"/>
                  </a:cubicBezTo>
                  <a:cubicBezTo>
                    <a:pt x="3553" y="1109"/>
                    <a:pt x="3553" y="1109"/>
                    <a:pt x="3553" y="1109"/>
                  </a:cubicBezTo>
                  <a:cubicBezTo>
                    <a:pt x="3554" y="1108"/>
                    <a:pt x="3554" y="1107"/>
                    <a:pt x="3554" y="1106"/>
                  </a:cubicBezTo>
                  <a:cubicBezTo>
                    <a:pt x="3548" y="1106"/>
                    <a:pt x="3548" y="1106"/>
                    <a:pt x="3548" y="1106"/>
                  </a:cubicBezTo>
                  <a:cubicBezTo>
                    <a:pt x="3553" y="1109"/>
                    <a:pt x="3553" y="1109"/>
                    <a:pt x="3553" y="1109"/>
                  </a:cubicBezTo>
                  <a:cubicBezTo>
                    <a:pt x="3551" y="1107"/>
                    <a:pt x="3551" y="1107"/>
                    <a:pt x="3551" y="1107"/>
                  </a:cubicBezTo>
                  <a:cubicBezTo>
                    <a:pt x="3553" y="1109"/>
                    <a:pt x="3553" y="1109"/>
                    <a:pt x="3553" y="1109"/>
                  </a:cubicBezTo>
                  <a:cubicBezTo>
                    <a:pt x="3553" y="1109"/>
                    <a:pt x="3553" y="1109"/>
                    <a:pt x="3553" y="1109"/>
                  </a:cubicBezTo>
                  <a:cubicBezTo>
                    <a:pt x="3551" y="1107"/>
                    <a:pt x="3551" y="1107"/>
                    <a:pt x="3551" y="1107"/>
                  </a:cubicBezTo>
                  <a:cubicBezTo>
                    <a:pt x="3553" y="1109"/>
                    <a:pt x="3553" y="1109"/>
                    <a:pt x="3553" y="1109"/>
                  </a:cubicBezTo>
                  <a:cubicBezTo>
                    <a:pt x="3553" y="1109"/>
                    <a:pt x="3553" y="1109"/>
                    <a:pt x="3553" y="1109"/>
                  </a:cubicBezTo>
                  <a:cubicBezTo>
                    <a:pt x="3553" y="1109"/>
                    <a:pt x="3553" y="1109"/>
                    <a:pt x="3553" y="1109"/>
                  </a:cubicBezTo>
                  <a:cubicBezTo>
                    <a:pt x="3557" y="1106"/>
                    <a:pt x="3559" y="1102"/>
                    <a:pt x="3561" y="1098"/>
                  </a:cubicBezTo>
                  <a:cubicBezTo>
                    <a:pt x="3562" y="1095"/>
                    <a:pt x="3563" y="1091"/>
                    <a:pt x="3564" y="1088"/>
                  </a:cubicBezTo>
                  <a:cubicBezTo>
                    <a:pt x="3564" y="1088"/>
                    <a:pt x="3564" y="1088"/>
                    <a:pt x="3564" y="1088"/>
                  </a:cubicBezTo>
                  <a:cubicBezTo>
                    <a:pt x="3565" y="1083"/>
                    <a:pt x="3565" y="1079"/>
                    <a:pt x="3566" y="1075"/>
                  </a:cubicBezTo>
                  <a:cubicBezTo>
                    <a:pt x="3566" y="1072"/>
                    <a:pt x="3567" y="1069"/>
                    <a:pt x="3568" y="1067"/>
                  </a:cubicBezTo>
                  <a:cubicBezTo>
                    <a:pt x="3571" y="1061"/>
                    <a:pt x="3576" y="1056"/>
                    <a:pt x="3581" y="1050"/>
                  </a:cubicBezTo>
                  <a:cubicBezTo>
                    <a:pt x="3581" y="1050"/>
                    <a:pt x="3581" y="1050"/>
                    <a:pt x="3581" y="1050"/>
                  </a:cubicBezTo>
                  <a:cubicBezTo>
                    <a:pt x="3582" y="1049"/>
                    <a:pt x="3582" y="1049"/>
                    <a:pt x="3583" y="1049"/>
                  </a:cubicBezTo>
                  <a:cubicBezTo>
                    <a:pt x="3583" y="1048"/>
                    <a:pt x="3583" y="1048"/>
                    <a:pt x="3583" y="1048"/>
                  </a:cubicBezTo>
                  <a:cubicBezTo>
                    <a:pt x="3583" y="1048"/>
                    <a:pt x="3583" y="1048"/>
                    <a:pt x="3583" y="1048"/>
                  </a:cubicBezTo>
                  <a:cubicBezTo>
                    <a:pt x="3581" y="1045"/>
                    <a:pt x="3581" y="1045"/>
                    <a:pt x="3581" y="1045"/>
                  </a:cubicBezTo>
                  <a:cubicBezTo>
                    <a:pt x="3582" y="1048"/>
                    <a:pt x="3582" y="1048"/>
                    <a:pt x="3582" y="1048"/>
                  </a:cubicBezTo>
                  <a:cubicBezTo>
                    <a:pt x="3583" y="1048"/>
                    <a:pt x="3583" y="1048"/>
                    <a:pt x="3583" y="1048"/>
                  </a:cubicBezTo>
                  <a:cubicBezTo>
                    <a:pt x="3581" y="1045"/>
                    <a:pt x="3581" y="1045"/>
                    <a:pt x="3581" y="1045"/>
                  </a:cubicBezTo>
                  <a:cubicBezTo>
                    <a:pt x="3582" y="1048"/>
                    <a:pt x="3582" y="1048"/>
                    <a:pt x="3582" y="1048"/>
                  </a:cubicBezTo>
                  <a:cubicBezTo>
                    <a:pt x="3581" y="1044"/>
                    <a:pt x="3581" y="1044"/>
                    <a:pt x="3581" y="1044"/>
                  </a:cubicBezTo>
                  <a:cubicBezTo>
                    <a:pt x="3581" y="1049"/>
                    <a:pt x="3581" y="1049"/>
                    <a:pt x="3581" y="1049"/>
                  </a:cubicBezTo>
                  <a:cubicBezTo>
                    <a:pt x="3581" y="1049"/>
                    <a:pt x="3582" y="1049"/>
                    <a:pt x="3582" y="1048"/>
                  </a:cubicBezTo>
                  <a:cubicBezTo>
                    <a:pt x="3581" y="1044"/>
                    <a:pt x="3581" y="1044"/>
                    <a:pt x="3581" y="1044"/>
                  </a:cubicBezTo>
                  <a:cubicBezTo>
                    <a:pt x="3581" y="1049"/>
                    <a:pt x="3581" y="1049"/>
                    <a:pt x="3581" y="1049"/>
                  </a:cubicBezTo>
                  <a:cubicBezTo>
                    <a:pt x="3581" y="1045"/>
                    <a:pt x="3581" y="1045"/>
                    <a:pt x="3581" y="1045"/>
                  </a:cubicBezTo>
                  <a:cubicBezTo>
                    <a:pt x="3580" y="1049"/>
                    <a:pt x="3580" y="1049"/>
                    <a:pt x="3580" y="1049"/>
                  </a:cubicBezTo>
                  <a:cubicBezTo>
                    <a:pt x="3580" y="1049"/>
                    <a:pt x="3580" y="1049"/>
                    <a:pt x="3581" y="1049"/>
                  </a:cubicBezTo>
                  <a:cubicBezTo>
                    <a:pt x="3581" y="1045"/>
                    <a:pt x="3581" y="1045"/>
                    <a:pt x="3581" y="1045"/>
                  </a:cubicBezTo>
                  <a:cubicBezTo>
                    <a:pt x="3580" y="1049"/>
                    <a:pt x="3580" y="1049"/>
                    <a:pt x="3580" y="1049"/>
                  </a:cubicBezTo>
                  <a:cubicBezTo>
                    <a:pt x="3580" y="1048"/>
                    <a:pt x="3580" y="1048"/>
                    <a:pt x="3580" y="1048"/>
                  </a:cubicBezTo>
                  <a:cubicBezTo>
                    <a:pt x="3580" y="1049"/>
                    <a:pt x="3580" y="1049"/>
                    <a:pt x="3580" y="1049"/>
                  </a:cubicBezTo>
                  <a:cubicBezTo>
                    <a:pt x="3580" y="1049"/>
                    <a:pt x="3580" y="1049"/>
                    <a:pt x="3580" y="1049"/>
                  </a:cubicBezTo>
                  <a:cubicBezTo>
                    <a:pt x="3580" y="1048"/>
                    <a:pt x="3580" y="1048"/>
                    <a:pt x="3580" y="1048"/>
                  </a:cubicBezTo>
                  <a:cubicBezTo>
                    <a:pt x="3580" y="1049"/>
                    <a:pt x="3580" y="1049"/>
                    <a:pt x="3580" y="1049"/>
                  </a:cubicBezTo>
                  <a:cubicBezTo>
                    <a:pt x="3580" y="1049"/>
                    <a:pt x="3580" y="1049"/>
                    <a:pt x="3580" y="1049"/>
                  </a:cubicBezTo>
                  <a:cubicBezTo>
                    <a:pt x="3583" y="1050"/>
                    <a:pt x="3586" y="1050"/>
                    <a:pt x="3588" y="1050"/>
                  </a:cubicBezTo>
                  <a:cubicBezTo>
                    <a:pt x="3590" y="1050"/>
                    <a:pt x="3592" y="1050"/>
                    <a:pt x="3594" y="1049"/>
                  </a:cubicBezTo>
                  <a:cubicBezTo>
                    <a:pt x="3595" y="1049"/>
                    <a:pt x="3596" y="1049"/>
                    <a:pt x="3597" y="1048"/>
                  </a:cubicBezTo>
                  <a:cubicBezTo>
                    <a:pt x="3598" y="1048"/>
                    <a:pt x="3600" y="1047"/>
                    <a:pt x="3601" y="1045"/>
                  </a:cubicBezTo>
                  <a:cubicBezTo>
                    <a:pt x="3601" y="1045"/>
                    <a:pt x="3601" y="1045"/>
                    <a:pt x="3601" y="1045"/>
                  </a:cubicBezTo>
                  <a:cubicBezTo>
                    <a:pt x="3604" y="1043"/>
                    <a:pt x="3606" y="1040"/>
                    <a:pt x="3608" y="1037"/>
                  </a:cubicBezTo>
                  <a:cubicBezTo>
                    <a:pt x="3610" y="1035"/>
                    <a:pt x="3612" y="1033"/>
                    <a:pt x="3613" y="1031"/>
                  </a:cubicBezTo>
                  <a:cubicBezTo>
                    <a:pt x="3613" y="1031"/>
                    <a:pt x="3613" y="1031"/>
                    <a:pt x="3613" y="1031"/>
                  </a:cubicBezTo>
                  <a:cubicBezTo>
                    <a:pt x="3616" y="1028"/>
                    <a:pt x="3618" y="1026"/>
                    <a:pt x="3620" y="1024"/>
                  </a:cubicBezTo>
                  <a:cubicBezTo>
                    <a:pt x="3620" y="1023"/>
                    <a:pt x="3621" y="1023"/>
                    <a:pt x="3621" y="1022"/>
                  </a:cubicBezTo>
                  <a:cubicBezTo>
                    <a:pt x="3622" y="1022"/>
                    <a:pt x="3622" y="1022"/>
                    <a:pt x="3622" y="1022"/>
                  </a:cubicBezTo>
                  <a:cubicBezTo>
                    <a:pt x="3622" y="1022"/>
                    <a:pt x="3622" y="1022"/>
                    <a:pt x="3622" y="1022"/>
                  </a:cubicBezTo>
                  <a:cubicBezTo>
                    <a:pt x="3630" y="1019"/>
                    <a:pt x="3638" y="1017"/>
                    <a:pt x="3647" y="1014"/>
                  </a:cubicBezTo>
                  <a:cubicBezTo>
                    <a:pt x="3653" y="1011"/>
                    <a:pt x="3659" y="1008"/>
                    <a:pt x="3664" y="1003"/>
                  </a:cubicBezTo>
                  <a:cubicBezTo>
                    <a:pt x="3668" y="999"/>
                    <a:pt x="3671" y="993"/>
                    <a:pt x="3673" y="987"/>
                  </a:cubicBezTo>
                  <a:cubicBezTo>
                    <a:pt x="3673" y="987"/>
                    <a:pt x="3673" y="987"/>
                    <a:pt x="3673" y="987"/>
                  </a:cubicBezTo>
                  <a:cubicBezTo>
                    <a:pt x="3673" y="987"/>
                    <a:pt x="3673" y="987"/>
                    <a:pt x="3673" y="987"/>
                  </a:cubicBezTo>
                  <a:cubicBezTo>
                    <a:pt x="3673" y="987"/>
                    <a:pt x="3673" y="987"/>
                    <a:pt x="3673" y="987"/>
                  </a:cubicBezTo>
                  <a:cubicBezTo>
                    <a:pt x="3672" y="986"/>
                    <a:pt x="3672" y="986"/>
                    <a:pt x="3672" y="986"/>
                  </a:cubicBezTo>
                  <a:cubicBezTo>
                    <a:pt x="3673" y="987"/>
                    <a:pt x="3673" y="987"/>
                    <a:pt x="3673" y="987"/>
                  </a:cubicBezTo>
                  <a:cubicBezTo>
                    <a:pt x="3673" y="987"/>
                    <a:pt x="3673" y="987"/>
                    <a:pt x="3673" y="987"/>
                  </a:cubicBezTo>
                  <a:cubicBezTo>
                    <a:pt x="3672" y="986"/>
                    <a:pt x="3672" y="986"/>
                    <a:pt x="3672" y="986"/>
                  </a:cubicBezTo>
                  <a:cubicBezTo>
                    <a:pt x="3673" y="987"/>
                    <a:pt x="3673" y="987"/>
                    <a:pt x="3673" y="987"/>
                  </a:cubicBezTo>
                  <a:cubicBezTo>
                    <a:pt x="3673" y="987"/>
                    <a:pt x="3673" y="987"/>
                    <a:pt x="3673" y="987"/>
                  </a:cubicBezTo>
                  <a:cubicBezTo>
                    <a:pt x="3673" y="987"/>
                    <a:pt x="3673" y="987"/>
                    <a:pt x="3674" y="986"/>
                  </a:cubicBezTo>
                  <a:cubicBezTo>
                    <a:pt x="3674" y="986"/>
                    <a:pt x="3674" y="986"/>
                    <a:pt x="3674" y="986"/>
                  </a:cubicBezTo>
                  <a:cubicBezTo>
                    <a:pt x="3676" y="984"/>
                    <a:pt x="3679" y="982"/>
                    <a:pt x="3682" y="979"/>
                  </a:cubicBezTo>
                  <a:cubicBezTo>
                    <a:pt x="3685" y="976"/>
                    <a:pt x="3688" y="973"/>
                    <a:pt x="3691" y="968"/>
                  </a:cubicBezTo>
                  <a:cubicBezTo>
                    <a:pt x="3691" y="968"/>
                    <a:pt x="3691" y="968"/>
                    <a:pt x="3691" y="968"/>
                  </a:cubicBezTo>
                  <a:cubicBezTo>
                    <a:pt x="3691" y="968"/>
                    <a:pt x="3691" y="968"/>
                    <a:pt x="3691" y="968"/>
                  </a:cubicBezTo>
                  <a:cubicBezTo>
                    <a:pt x="3692" y="966"/>
                    <a:pt x="3693" y="965"/>
                    <a:pt x="3693" y="964"/>
                  </a:cubicBezTo>
                  <a:cubicBezTo>
                    <a:pt x="3694" y="963"/>
                    <a:pt x="3694" y="962"/>
                    <a:pt x="3694" y="962"/>
                  </a:cubicBezTo>
                  <a:cubicBezTo>
                    <a:pt x="3695" y="961"/>
                    <a:pt x="3695" y="961"/>
                    <a:pt x="3695" y="961"/>
                  </a:cubicBezTo>
                  <a:cubicBezTo>
                    <a:pt x="3695" y="961"/>
                    <a:pt x="3695" y="961"/>
                    <a:pt x="3695" y="961"/>
                  </a:cubicBezTo>
                  <a:cubicBezTo>
                    <a:pt x="3694" y="960"/>
                    <a:pt x="3694" y="960"/>
                    <a:pt x="3694" y="960"/>
                  </a:cubicBezTo>
                  <a:cubicBezTo>
                    <a:pt x="3695" y="961"/>
                    <a:pt x="3695" y="961"/>
                    <a:pt x="3695" y="961"/>
                  </a:cubicBezTo>
                  <a:cubicBezTo>
                    <a:pt x="3695" y="961"/>
                    <a:pt x="3695" y="961"/>
                    <a:pt x="3695" y="961"/>
                  </a:cubicBezTo>
                  <a:cubicBezTo>
                    <a:pt x="3694" y="960"/>
                    <a:pt x="3694" y="960"/>
                    <a:pt x="3694" y="960"/>
                  </a:cubicBezTo>
                  <a:cubicBezTo>
                    <a:pt x="3695" y="961"/>
                    <a:pt x="3695" y="961"/>
                    <a:pt x="3695" y="961"/>
                  </a:cubicBezTo>
                  <a:cubicBezTo>
                    <a:pt x="3694" y="961"/>
                    <a:pt x="3694" y="961"/>
                    <a:pt x="3694" y="961"/>
                  </a:cubicBezTo>
                  <a:cubicBezTo>
                    <a:pt x="3695" y="961"/>
                    <a:pt x="3695" y="961"/>
                    <a:pt x="3695" y="961"/>
                  </a:cubicBezTo>
                  <a:cubicBezTo>
                    <a:pt x="3695" y="961"/>
                    <a:pt x="3695" y="961"/>
                    <a:pt x="3695" y="961"/>
                  </a:cubicBezTo>
                  <a:cubicBezTo>
                    <a:pt x="3694" y="961"/>
                    <a:pt x="3694" y="961"/>
                    <a:pt x="3694" y="961"/>
                  </a:cubicBezTo>
                  <a:cubicBezTo>
                    <a:pt x="3695" y="961"/>
                    <a:pt x="3695" y="961"/>
                    <a:pt x="3695" y="961"/>
                  </a:cubicBezTo>
                  <a:cubicBezTo>
                    <a:pt x="3695" y="961"/>
                    <a:pt x="3695" y="961"/>
                    <a:pt x="3695" y="961"/>
                  </a:cubicBezTo>
                  <a:cubicBezTo>
                    <a:pt x="3696" y="961"/>
                    <a:pt x="3696" y="961"/>
                    <a:pt x="3696" y="961"/>
                  </a:cubicBezTo>
                  <a:cubicBezTo>
                    <a:pt x="3696" y="962"/>
                    <a:pt x="3696" y="962"/>
                    <a:pt x="3696" y="962"/>
                  </a:cubicBezTo>
                  <a:cubicBezTo>
                    <a:pt x="3696" y="962"/>
                    <a:pt x="3696" y="962"/>
                    <a:pt x="3696" y="962"/>
                  </a:cubicBezTo>
                  <a:cubicBezTo>
                    <a:pt x="3696" y="962"/>
                    <a:pt x="3697" y="962"/>
                    <a:pt x="3697" y="962"/>
                  </a:cubicBezTo>
                  <a:cubicBezTo>
                    <a:pt x="3699" y="962"/>
                    <a:pt x="3700" y="961"/>
                    <a:pt x="3701" y="961"/>
                  </a:cubicBezTo>
                  <a:cubicBezTo>
                    <a:pt x="3703" y="960"/>
                    <a:pt x="3704" y="960"/>
                    <a:pt x="3705" y="959"/>
                  </a:cubicBezTo>
                  <a:cubicBezTo>
                    <a:pt x="3706" y="959"/>
                    <a:pt x="3706" y="959"/>
                    <a:pt x="3706" y="959"/>
                  </a:cubicBezTo>
                  <a:cubicBezTo>
                    <a:pt x="3706" y="959"/>
                    <a:pt x="3706" y="959"/>
                    <a:pt x="3706" y="959"/>
                  </a:cubicBezTo>
                  <a:cubicBezTo>
                    <a:pt x="3707" y="958"/>
                    <a:pt x="3707" y="958"/>
                    <a:pt x="3708" y="958"/>
                  </a:cubicBezTo>
                  <a:cubicBezTo>
                    <a:pt x="3709" y="958"/>
                    <a:pt x="3711" y="958"/>
                    <a:pt x="3713" y="958"/>
                  </a:cubicBezTo>
                  <a:cubicBezTo>
                    <a:pt x="3713" y="958"/>
                    <a:pt x="3713" y="958"/>
                    <a:pt x="3713" y="958"/>
                  </a:cubicBezTo>
                  <a:cubicBezTo>
                    <a:pt x="3717" y="958"/>
                    <a:pt x="3721" y="958"/>
                    <a:pt x="3724" y="957"/>
                  </a:cubicBezTo>
                  <a:cubicBezTo>
                    <a:pt x="3727" y="957"/>
                    <a:pt x="3729" y="957"/>
                    <a:pt x="3732" y="957"/>
                  </a:cubicBezTo>
                  <a:cubicBezTo>
                    <a:pt x="3733" y="957"/>
                    <a:pt x="3734" y="957"/>
                    <a:pt x="3736" y="957"/>
                  </a:cubicBezTo>
                  <a:cubicBezTo>
                    <a:pt x="3737" y="957"/>
                    <a:pt x="3737" y="957"/>
                    <a:pt x="3738" y="957"/>
                  </a:cubicBezTo>
                  <a:cubicBezTo>
                    <a:pt x="3740" y="957"/>
                    <a:pt x="3741" y="957"/>
                    <a:pt x="3742" y="957"/>
                  </a:cubicBezTo>
                  <a:cubicBezTo>
                    <a:pt x="3743" y="956"/>
                    <a:pt x="3744" y="956"/>
                    <a:pt x="3745" y="955"/>
                  </a:cubicBezTo>
                  <a:cubicBezTo>
                    <a:pt x="3746" y="955"/>
                    <a:pt x="3747" y="954"/>
                    <a:pt x="3748" y="953"/>
                  </a:cubicBezTo>
                  <a:cubicBezTo>
                    <a:pt x="3748" y="953"/>
                    <a:pt x="3748" y="953"/>
                    <a:pt x="3748" y="953"/>
                  </a:cubicBezTo>
                  <a:cubicBezTo>
                    <a:pt x="3751" y="950"/>
                    <a:pt x="3756" y="947"/>
                    <a:pt x="3760" y="942"/>
                  </a:cubicBezTo>
                  <a:cubicBezTo>
                    <a:pt x="3763" y="940"/>
                    <a:pt x="3765" y="937"/>
                    <a:pt x="3767" y="933"/>
                  </a:cubicBezTo>
                  <a:cubicBezTo>
                    <a:pt x="3768" y="929"/>
                    <a:pt x="3770" y="925"/>
                    <a:pt x="3770" y="921"/>
                  </a:cubicBezTo>
                  <a:cubicBezTo>
                    <a:pt x="3770" y="921"/>
                    <a:pt x="3770" y="921"/>
                    <a:pt x="3770" y="921"/>
                  </a:cubicBezTo>
                  <a:cubicBezTo>
                    <a:pt x="3770" y="920"/>
                    <a:pt x="3770" y="920"/>
                    <a:pt x="3770" y="919"/>
                  </a:cubicBezTo>
                  <a:cubicBezTo>
                    <a:pt x="3770" y="918"/>
                    <a:pt x="3770" y="918"/>
                    <a:pt x="3770" y="917"/>
                  </a:cubicBezTo>
                  <a:cubicBezTo>
                    <a:pt x="3770" y="917"/>
                    <a:pt x="3770" y="917"/>
                    <a:pt x="3770" y="917"/>
                  </a:cubicBezTo>
                  <a:cubicBezTo>
                    <a:pt x="3765" y="917"/>
                    <a:pt x="3765" y="917"/>
                    <a:pt x="3765" y="917"/>
                  </a:cubicBezTo>
                  <a:cubicBezTo>
                    <a:pt x="3770" y="917"/>
                    <a:pt x="3770" y="917"/>
                    <a:pt x="3770" y="917"/>
                  </a:cubicBezTo>
                  <a:cubicBezTo>
                    <a:pt x="3770" y="917"/>
                    <a:pt x="3770" y="917"/>
                    <a:pt x="3770" y="917"/>
                  </a:cubicBezTo>
                  <a:cubicBezTo>
                    <a:pt x="3765" y="917"/>
                    <a:pt x="3765" y="917"/>
                    <a:pt x="3765" y="917"/>
                  </a:cubicBezTo>
                  <a:cubicBezTo>
                    <a:pt x="3770" y="917"/>
                    <a:pt x="3770" y="917"/>
                    <a:pt x="3770" y="917"/>
                  </a:cubicBezTo>
                  <a:cubicBezTo>
                    <a:pt x="3761" y="917"/>
                    <a:pt x="3761" y="917"/>
                    <a:pt x="3761" y="917"/>
                  </a:cubicBezTo>
                  <a:cubicBezTo>
                    <a:pt x="3769" y="920"/>
                    <a:pt x="3769" y="920"/>
                    <a:pt x="3769" y="920"/>
                  </a:cubicBezTo>
                  <a:cubicBezTo>
                    <a:pt x="3770" y="919"/>
                    <a:pt x="3770" y="918"/>
                    <a:pt x="3770" y="917"/>
                  </a:cubicBezTo>
                  <a:cubicBezTo>
                    <a:pt x="3761" y="917"/>
                    <a:pt x="3761" y="917"/>
                    <a:pt x="3761" y="917"/>
                  </a:cubicBezTo>
                  <a:cubicBezTo>
                    <a:pt x="3769" y="920"/>
                    <a:pt x="3769" y="920"/>
                    <a:pt x="3769" y="920"/>
                  </a:cubicBezTo>
                  <a:cubicBezTo>
                    <a:pt x="3769" y="920"/>
                    <a:pt x="3769" y="920"/>
                    <a:pt x="3769" y="920"/>
                  </a:cubicBezTo>
                  <a:cubicBezTo>
                    <a:pt x="3768" y="920"/>
                    <a:pt x="3768" y="920"/>
                    <a:pt x="3768" y="920"/>
                  </a:cubicBezTo>
                  <a:cubicBezTo>
                    <a:pt x="3769" y="921"/>
                    <a:pt x="3769" y="921"/>
                    <a:pt x="3769" y="921"/>
                  </a:cubicBezTo>
                  <a:cubicBezTo>
                    <a:pt x="3769" y="921"/>
                    <a:pt x="3769" y="920"/>
                    <a:pt x="3769" y="920"/>
                  </a:cubicBezTo>
                  <a:cubicBezTo>
                    <a:pt x="3768" y="920"/>
                    <a:pt x="3768" y="920"/>
                    <a:pt x="3768" y="920"/>
                  </a:cubicBezTo>
                  <a:cubicBezTo>
                    <a:pt x="3769" y="921"/>
                    <a:pt x="3769" y="921"/>
                    <a:pt x="3769" y="921"/>
                  </a:cubicBezTo>
                  <a:cubicBezTo>
                    <a:pt x="3768" y="921"/>
                    <a:pt x="3768" y="921"/>
                    <a:pt x="3768" y="921"/>
                  </a:cubicBezTo>
                  <a:cubicBezTo>
                    <a:pt x="3769" y="921"/>
                    <a:pt x="3769" y="921"/>
                    <a:pt x="3769" y="921"/>
                  </a:cubicBezTo>
                  <a:cubicBezTo>
                    <a:pt x="3769" y="921"/>
                    <a:pt x="3769" y="921"/>
                    <a:pt x="3769" y="921"/>
                  </a:cubicBezTo>
                  <a:cubicBezTo>
                    <a:pt x="3768" y="921"/>
                    <a:pt x="3768" y="921"/>
                    <a:pt x="3768" y="921"/>
                  </a:cubicBezTo>
                  <a:cubicBezTo>
                    <a:pt x="3769" y="921"/>
                    <a:pt x="3769" y="921"/>
                    <a:pt x="3769" y="921"/>
                  </a:cubicBezTo>
                  <a:cubicBezTo>
                    <a:pt x="3769" y="921"/>
                    <a:pt x="3769" y="921"/>
                    <a:pt x="3769" y="921"/>
                  </a:cubicBezTo>
                  <a:cubicBezTo>
                    <a:pt x="3769" y="921"/>
                    <a:pt x="3769" y="921"/>
                    <a:pt x="3769" y="921"/>
                  </a:cubicBezTo>
                  <a:cubicBezTo>
                    <a:pt x="3769" y="921"/>
                    <a:pt x="3769" y="921"/>
                    <a:pt x="3769" y="921"/>
                  </a:cubicBezTo>
                  <a:cubicBezTo>
                    <a:pt x="3769" y="921"/>
                    <a:pt x="3769" y="921"/>
                    <a:pt x="3769" y="921"/>
                  </a:cubicBezTo>
                  <a:cubicBezTo>
                    <a:pt x="3775" y="922"/>
                    <a:pt x="3781" y="923"/>
                    <a:pt x="3788" y="923"/>
                  </a:cubicBezTo>
                  <a:cubicBezTo>
                    <a:pt x="3788" y="923"/>
                    <a:pt x="3788" y="923"/>
                    <a:pt x="3788" y="923"/>
                  </a:cubicBezTo>
                  <a:cubicBezTo>
                    <a:pt x="3794" y="923"/>
                    <a:pt x="3800" y="920"/>
                    <a:pt x="3804" y="916"/>
                  </a:cubicBezTo>
                  <a:cubicBezTo>
                    <a:pt x="3808" y="912"/>
                    <a:pt x="3810" y="906"/>
                    <a:pt x="3810" y="900"/>
                  </a:cubicBezTo>
                  <a:cubicBezTo>
                    <a:pt x="3810" y="899"/>
                    <a:pt x="3810" y="898"/>
                    <a:pt x="3810" y="897"/>
                  </a:cubicBezTo>
                  <a:cubicBezTo>
                    <a:pt x="3810" y="897"/>
                    <a:pt x="3810" y="897"/>
                    <a:pt x="3810" y="897"/>
                  </a:cubicBezTo>
                  <a:cubicBezTo>
                    <a:pt x="3810" y="894"/>
                    <a:pt x="3809" y="892"/>
                    <a:pt x="3808" y="891"/>
                  </a:cubicBezTo>
                  <a:cubicBezTo>
                    <a:pt x="3806" y="888"/>
                    <a:pt x="3805" y="887"/>
                    <a:pt x="3805" y="886"/>
                  </a:cubicBezTo>
                  <a:cubicBezTo>
                    <a:pt x="3805" y="886"/>
                    <a:pt x="3805" y="886"/>
                    <a:pt x="3805" y="886"/>
                  </a:cubicBezTo>
                  <a:cubicBezTo>
                    <a:pt x="3805" y="886"/>
                    <a:pt x="3805" y="886"/>
                    <a:pt x="3805" y="886"/>
                  </a:cubicBezTo>
                  <a:cubicBezTo>
                    <a:pt x="3800" y="888"/>
                    <a:pt x="3800" y="888"/>
                    <a:pt x="3800" y="888"/>
                  </a:cubicBezTo>
                  <a:cubicBezTo>
                    <a:pt x="3805" y="886"/>
                    <a:pt x="3805" y="886"/>
                    <a:pt x="3805" y="886"/>
                  </a:cubicBezTo>
                  <a:cubicBezTo>
                    <a:pt x="3805" y="886"/>
                    <a:pt x="3805" y="886"/>
                    <a:pt x="3805" y="886"/>
                  </a:cubicBezTo>
                  <a:cubicBezTo>
                    <a:pt x="3800" y="888"/>
                    <a:pt x="3800" y="888"/>
                    <a:pt x="3800" y="888"/>
                  </a:cubicBezTo>
                  <a:cubicBezTo>
                    <a:pt x="3805" y="886"/>
                    <a:pt x="3805" y="886"/>
                    <a:pt x="3805" y="886"/>
                  </a:cubicBezTo>
                  <a:cubicBezTo>
                    <a:pt x="3797" y="889"/>
                    <a:pt x="3797" y="889"/>
                    <a:pt x="3797" y="889"/>
                  </a:cubicBezTo>
                  <a:cubicBezTo>
                    <a:pt x="3805" y="889"/>
                    <a:pt x="3805" y="889"/>
                    <a:pt x="3805" y="889"/>
                  </a:cubicBezTo>
                  <a:cubicBezTo>
                    <a:pt x="3805" y="888"/>
                    <a:pt x="3805" y="887"/>
                    <a:pt x="3805" y="886"/>
                  </a:cubicBezTo>
                  <a:cubicBezTo>
                    <a:pt x="3797" y="889"/>
                    <a:pt x="3797" y="889"/>
                    <a:pt x="3797" y="889"/>
                  </a:cubicBezTo>
                  <a:cubicBezTo>
                    <a:pt x="3805" y="889"/>
                    <a:pt x="3805" y="889"/>
                    <a:pt x="3805" y="889"/>
                  </a:cubicBezTo>
                  <a:cubicBezTo>
                    <a:pt x="3795" y="889"/>
                    <a:pt x="3795" y="889"/>
                    <a:pt x="3795" y="889"/>
                  </a:cubicBezTo>
                  <a:cubicBezTo>
                    <a:pt x="3805" y="892"/>
                    <a:pt x="3805" y="892"/>
                    <a:pt x="3805" y="892"/>
                  </a:cubicBezTo>
                  <a:cubicBezTo>
                    <a:pt x="3805" y="891"/>
                    <a:pt x="3805" y="890"/>
                    <a:pt x="3805" y="889"/>
                  </a:cubicBezTo>
                  <a:cubicBezTo>
                    <a:pt x="3795" y="889"/>
                    <a:pt x="3795" y="889"/>
                    <a:pt x="3795" y="889"/>
                  </a:cubicBezTo>
                  <a:cubicBezTo>
                    <a:pt x="3805" y="892"/>
                    <a:pt x="3805" y="892"/>
                    <a:pt x="3805" y="892"/>
                  </a:cubicBezTo>
                  <a:cubicBezTo>
                    <a:pt x="3805" y="892"/>
                    <a:pt x="3805" y="892"/>
                    <a:pt x="3805" y="892"/>
                  </a:cubicBezTo>
                  <a:cubicBezTo>
                    <a:pt x="3798" y="890"/>
                    <a:pt x="3798" y="890"/>
                    <a:pt x="3798" y="890"/>
                  </a:cubicBezTo>
                  <a:cubicBezTo>
                    <a:pt x="3804" y="894"/>
                    <a:pt x="3804" y="894"/>
                    <a:pt x="3804" y="894"/>
                  </a:cubicBezTo>
                  <a:cubicBezTo>
                    <a:pt x="3804" y="894"/>
                    <a:pt x="3804" y="893"/>
                    <a:pt x="3805" y="892"/>
                  </a:cubicBezTo>
                  <a:cubicBezTo>
                    <a:pt x="3798" y="890"/>
                    <a:pt x="3798" y="890"/>
                    <a:pt x="3798" y="890"/>
                  </a:cubicBezTo>
                  <a:cubicBezTo>
                    <a:pt x="3804" y="894"/>
                    <a:pt x="3804" y="894"/>
                    <a:pt x="3804" y="894"/>
                  </a:cubicBezTo>
                  <a:cubicBezTo>
                    <a:pt x="3801" y="892"/>
                    <a:pt x="3801" y="892"/>
                    <a:pt x="3801" y="892"/>
                  </a:cubicBezTo>
                  <a:cubicBezTo>
                    <a:pt x="3803" y="894"/>
                    <a:pt x="3803" y="894"/>
                    <a:pt x="3803" y="894"/>
                  </a:cubicBezTo>
                  <a:cubicBezTo>
                    <a:pt x="3804" y="894"/>
                    <a:pt x="3804" y="894"/>
                    <a:pt x="3804" y="894"/>
                  </a:cubicBezTo>
                  <a:cubicBezTo>
                    <a:pt x="3801" y="892"/>
                    <a:pt x="3801" y="892"/>
                    <a:pt x="3801" y="892"/>
                  </a:cubicBezTo>
                  <a:cubicBezTo>
                    <a:pt x="3803" y="894"/>
                    <a:pt x="3803" y="894"/>
                    <a:pt x="3803" y="894"/>
                  </a:cubicBezTo>
                  <a:cubicBezTo>
                    <a:pt x="3803" y="894"/>
                    <a:pt x="3804" y="894"/>
                    <a:pt x="3805" y="893"/>
                  </a:cubicBezTo>
                  <a:cubicBezTo>
                    <a:pt x="3806" y="893"/>
                    <a:pt x="3807" y="891"/>
                    <a:pt x="3809" y="888"/>
                  </a:cubicBezTo>
                  <a:cubicBezTo>
                    <a:pt x="3810" y="887"/>
                    <a:pt x="3811" y="886"/>
                    <a:pt x="3812" y="884"/>
                  </a:cubicBezTo>
                  <a:cubicBezTo>
                    <a:pt x="3812" y="882"/>
                    <a:pt x="3813" y="880"/>
                    <a:pt x="3813" y="878"/>
                  </a:cubicBezTo>
                  <a:cubicBezTo>
                    <a:pt x="3813" y="877"/>
                    <a:pt x="3813" y="877"/>
                    <a:pt x="3813" y="877"/>
                  </a:cubicBezTo>
                  <a:cubicBezTo>
                    <a:pt x="3813" y="877"/>
                    <a:pt x="3813" y="877"/>
                    <a:pt x="3813" y="877"/>
                  </a:cubicBezTo>
                  <a:cubicBezTo>
                    <a:pt x="3813" y="877"/>
                    <a:pt x="3813" y="877"/>
                    <a:pt x="3813" y="877"/>
                  </a:cubicBezTo>
                  <a:cubicBezTo>
                    <a:pt x="3813" y="877"/>
                    <a:pt x="3813" y="877"/>
                    <a:pt x="3813" y="877"/>
                  </a:cubicBezTo>
                  <a:cubicBezTo>
                    <a:pt x="3813" y="877"/>
                    <a:pt x="3813" y="877"/>
                    <a:pt x="3813" y="877"/>
                  </a:cubicBezTo>
                  <a:cubicBezTo>
                    <a:pt x="3807" y="876"/>
                    <a:pt x="3807" y="876"/>
                    <a:pt x="3807" y="876"/>
                  </a:cubicBezTo>
                  <a:cubicBezTo>
                    <a:pt x="3812" y="878"/>
                    <a:pt x="3812" y="878"/>
                    <a:pt x="3812" y="878"/>
                  </a:cubicBezTo>
                  <a:cubicBezTo>
                    <a:pt x="3813" y="877"/>
                    <a:pt x="3813" y="877"/>
                    <a:pt x="3813" y="877"/>
                  </a:cubicBezTo>
                  <a:cubicBezTo>
                    <a:pt x="3807" y="876"/>
                    <a:pt x="3807" y="876"/>
                    <a:pt x="3807" y="876"/>
                  </a:cubicBezTo>
                  <a:cubicBezTo>
                    <a:pt x="3812" y="878"/>
                    <a:pt x="3812" y="878"/>
                    <a:pt x="3812" y="878"/>
                  </a:cubicBezTo>
                  <a:cubicBezTo>
                    <a:pt x="3812" y="878"/>
                    <a:pt x="3812" y="878"/>
                    <a:pt x="3812" y="878"/>
                  </a:cubicBezTo>
                  <a:cubicBezTo>
                    <a:pt x="3812" y="878"/>
                    <a:pt x="3812" y="878"/>
                    <a:pt x="3812" y="878"/>
                  </a:cubicBezTo>
                  <a:cubicBezTo>
                    <a:pt x="3810" y="877"/>
                    <a:pt x="3810" y="877"/>
                    <a:pt x="3810" y="877"/>
                  </a:cubicBezTo>
                  <a:cubicBezTo>
                    <a:pt x="3812" y="879"/>
                    <a:pt x="3812" y="879"/>
                    <a:pt x="3812" y="879"/>
                  </a:cubicBezTo>
                  <a:cubicBezTo>
                    <a:pt x="3812" y="878"/>
                    <a:pt x="3812" y="878"/>
                    <a:pt x="3812" y="878"/>
                  </a:cubicBezTo>
                  <a:cubicBezTo>
                    <a:pt x="3810" y="877"/>
                    <a:pt x="3810" y="877"/>
                    <a:pt x="3810" y="877"/>
                  </a:cubicBezTo>
                  <a:cubicBezTo>
                    <a:pt x="3812" y="879"/>
                    <a:pt x="3812" y="879"/>
                    <a:pt x="3812" y="879"/>
                  </a:cubicBezTo>
                  <a:cubicBezTo>
                    <a:pt x="3806" y="874"/>
                    <a:pt x="3806" y="874"/>
                    <a:pt x="3806" y="874"/>
                  </a:cubicBezTo>
                  <a:cubicBezTo>
                    <a:pt x="3809" y="881"/>
                    <a:pt x="3809" y="881"/>
                    <a:pt x="3809" y="881"/>
                  </a:cubicBezTo>
                  <a:cubicBezTo>
                    <a:pt x="3811" y="880"/>
                    <a:pt x="3812" y="879"/>
                    <a:pt x="3812" y="879"/>
                  </a:cubicBezTo>
                  <a:cubicBezTo>
                    <a:pt x="3806" y="874"/>
                    <a:pt x="3806" y="874"/>
                    <a:pt x="3806" y="874"/>
                  </a:cubicBezTo>
                  <a:cubicBezTo>
                    <a:pt x="3809" y="881"/>
                    <a:pt x="3809" y="881"/>
                    <a:pt x="3809" y="881"/>
                  </a:cubicBezTo>
                  <a:cubicBezTo>
                    <a:pt x="3809" y="881"/>
                    <a:pt x="3809" y="881"/>
                    <a:pt x="3809" y="881"/>
                  </a:cubicBezTo>
                  <a:cubicBezTo>
                    <a:pt x="3810" y="880"/>
                    <a:pt x="3811" y="880"/>
                    <a:pt x="3812" y="880"/>
                  </a:cubicBezTo>
                  <a:cubicBezTo>
                    <a:pt x="3812" y="880"/>
                    <a:pt x="3812" y="880"/>
                    <a:pt x="3812" y="880"/>
                  </a:cubicBezTo>
                  <a:cubicBezTo>
                    <a:pt x="3812" y="880"/>
                    <a:pt x="3812" y="880"/>
                    <a:pt x="3812" y="880"/>
                  </a:cubicBezTo>
                  <a:cubicBezTo>
                    <a:pt x="3812" y="878"/>
                    <a:pt x="3812" y="878"/>
                    <a:pt x="3812" y="878"/>
                  </a:cubicBezTo>
                  <a:cubicBezTo>
                    <a:pt x="3812" y="880"/>
                    <a:pt x="3812" y="880"/>
                    <a:pt x="3812" y="880"/>
                  </a:cubicBezTo>
                  <a:cubicBezTo>
                    <a:pt x="3812" y="880"/>
                    <a:pt x="3812" y="880"/>
                    <a:pt x="3812" y="880"/>
                  </a:cubicBezTo>
                  <a:cubicBezTo>
                    <a:pt x="3812" y="878"/>
                    <a:pt x="3812" y="878"/>
                    <a:pt x="3812" y="878"/>
                  </a:cubicBezTo>
                  <a:cubicBezTo>
                    <a:pt x="3812" y="880"/>
                    <a:pt x="3812" y="880"/>
                    <a:pt x="3812" y="880"/>
                  </a:cubicBezTo>
                  <a:cubicBezTo>
                    <a:pt x="3812" y="877"/>
                    <a:pt x="3812" y="877"/>
                    <a:pt x="3812" y="877"/>
                  </a:cubicBezTo>
                  <a:cubicBezTo>
                    <a:pt x="3812" y="880"/>
                    <a:pt x="3812" y="880"/>
                    <a:pt x="3812" y="880"/>
                  </a:cubicBezTo>
                  <a:cubicBezTo>
                    <a:pt x="3812" y="880"/>
                    <a:pt x="3812" y="880"/>
                    <a:pt x="3812" y="880"/>
                  </a:cubicBezTo>
                  <a:cubicBezTo>
                    <a:pt x="3812" y="877"/>
                    <a:pt x="3812" y="877"/>
                    <a:pt x="3812" y="877"/>
                  </a:cubicBezTo>
                  <a:cubicBezTo>
                    <a:pt x="3812" y="880"/>
                    <a:pt x="3812" y="880"/>
                    <a:pt x="3812" y="880"/>
                  </a:cubicBezTo>
                  <a:cubicBezTo>
                    <a:pt x="3813" y="880"/>
                    <a:pt x="3813" y="880"/>
                    <a:pt x="3814" y="880"/>
                  </a:cubicBezTo>
                  <a:cubicBezTo>
                    <a:pt x="3820" y="880"/>
                    <a:pt x="3825" y="878"/>
                    <a:pt x="3830" y="876"/>
                  </a:cubicBezTo>
                  <a:cubicBezTo>
                    <a:pt x="3834" y="873"/>
                    <a:pt x="3838" y="870"/>
                    <a:pt x="3841" y="867"/>
                  </a:cubicBezTo>
                  <a:cubicBezTo>
                    <a:pt x="3840" y="867"/>
                    <a:pt x="3840" y="867"/>
                    <a:pt x="3840" y="867"/>
                  </a:cubicBezTo>
                  <a:cubicBezTo>
                    <a:pt x="3842" y="866"/>
                    <a:pt x="3843" y="865"/>
                    <a:pt x="3844" y="864"/>
                  </a:cubicBezTo>
                  <a:cubicBezTo>
                    <a:pt x="3844" y="864"/>
                    <a:pt x="3844" y="864"/>
                    <a:pt x="3844" y="864"/>
                  </a:cubicBezTo>
                  <a:cubicBezTo>
                    <a:pt x="3844" y="864"/>
                    <a:pt x="3844" y="864"/>
                    <a:pt x="3844" y="864"/>
                  </a:cubicBezTo>
                  <a:cubicBezTo>
                    <a:pt x="3843" y="862"/>
                    <a:pt x="3843" y="862"/>
                    <a:pt x="3843" y="862"/>
                  </a:cubicBezTo>
                  <a:cubicBezTo>
                    <a:pt x="3843" y="864"/>
                    <a:pt x="3843" y="864"/>
                    <a:pt x="3843" y="864"/>
                  </a:cubicBezTo>
                  <a:cubicBezTo>
                    <a:pt x="3844" y="864"/>
                    <a:pt x="3844" y="864"/>
                    <a:pt x="3844" y="864"/>
                  </a:cubicBezTo>
                  <a:cubicBezTo>
                    <a:pt x="3843" y="862"/>
                    <a:pt x="3843" y="862"/>
                    <a:pt x="3843" y="862"/>
                  </a:cubicBezTo>
                  <a:cubicBezTo>
                    <a:pt x="3843" y="864"/>
                    <a:pt x="3843" y="864"/>
                    <a:pt x="3843" y="864"/>
                  </a:cubicBezTo>
                  <a:cubicBezTo>
                    <a:pt x="3843" y="862"/>
                    <a:pt x="3843" y="862"/>
                    <a:pt x="3843" y="862"/>
                  </a:cubicBezTo>
                  <a:cubicBezTo>
                    <a:pt x="3843" y="864"/>
                    <a:pt x="3843" y="864"/>
                    <a:pt x="3843" y="864"/>
                  </a:cubicBezTo>
                  <a:cubicBezTo>
                    <a:pt x="3843" y="864"/>
                    <a:pt x="3843" y="864"/>
                    <a:pt x="3843" y="864"/>
                  </a:cubicBezTo>
                  <a:cubicBezTo>
                    <a:pt x="3843" y="862"/>
                    <a:pt x="3843" y="862"/>
                    <a:pt x="3843" y="862"/>
                  </a:cubicBezTo>
                  <a:cubicBezTo>
                    <a:pt x="3843" y="864"/>
                    <a:pt x="3843" y="864"/>
                    <a:pt x="3843" y="864"/>
                  </a:cubicBezTo>
                  <a:cubicBezTo>
                    <a:pt x="3843" y="864"/>
                    <a:pt x="3843" y="864"/>
                    <a:pt x="3843" y="864"/>
                  </a:cubicBezTo>
                  <a:cubicBezTo>
                    <a:pt x="3843" y="864"/>
                    <a:pt x="3843" y="864"/>
                    <a:pt x="3843" y="864"/>
                  </a:cubicBezTo>
                  <a:cubicBezTo>
                    <a:pt x="3843" y="864"/>
                    <a:pt x="3843" y="864"/>
                    <a:pt x="3843" y="864"/>
                  </a:cubicBezTo>
                  <a:cubicBezTo>
                    <a:pt x="3843" y="864"/>
                    <a:pt x="3843" y="864"/>
                    <a:pt x="3843" y="864"/>
                  </a:cubicBezTo>
                  <a:cubicBezTo>
                    <a:pt x="3843" y="864"/>
                    <a:pt x="3843" y="864"/>
                    <a:pt x="3843" y="864"/>
                  </a:cubicBezTo>
                  <a:cubicBezTo>
                    <a:pt x="3843" y="864"/>
                    <a:pt x="3843" y="864"/>
                    <a:pt x="3843" y="864"/>
                  </a:cubicBezTo>
                  <a:cubicBezTo>
                    <a:pt x="3843" y="865"/>
                    <a:pt x="3843" y="865"/>
                    <a:pt x="3843" y="865"/>
                  </a:cubicBezTo>
                  <a:cubicBezTo>
                    <a:pt x="3843" y="865"/>
                    <a:pt x="3843" y="865"/>
                    <a:pt x="3843" y="865"/>
                  </a:cubicBezTo>
                  <a:cubicBezTo>
                    <a:pt x="3846" y="866"/>
                    <a:pt x="3848" y="866"/>
                    <a:pt x="3849" y="866"/>
                  </a:cubicBezTo>
                  <a:cubicBezTo>
                    <a:pt x="3852" y="866"/>
                    <a:pt x="3853" y="865"/>
                    <a:pt x="3855" y="865"/>
                  </a:cubicBezTo>
                  <a:cubicBezTo>
                    <a:pt x="3856" y="865"/>
                    <a:pt x="3857" y="864"/>
                    <a:pt x="3857" y="864"/>
                  </a:cubicBezTo>
                  <a:cubicBezTo>
                    <a:pt x="3857" y="864"/>
                    <a:pt x="3857" y="864"/>
                    <a:pt x="3857" y="864"/>
                  </a:cubicBezTo>
                  <a:cubicBezTo>
                    <a:pt x="3860" y="863"/>
                    <a:pt x="3864" y="862"/>
                    <a:pt x="3868" y="859"/>
                  </a:cubicBezTo>
                  <a:cubicBezTo>
                    <a:pt x="3872" y="857"/>
                    <a:pt x="3876" y="854"/>
                    <a:pt x="3880" y="849"/>
                  </a:cubicBezTo>
                  <a:cubicBezTo>
                    <a:pt x="3880" y="849"/>
                    <a:pt x="3880" y="849"/>
                    <a:pt x="3880" y="849"/>
                  </a:cubicBezTo>
                  <a:cubicBezTo>
                    <a:pt x="3880" y="849"/>
                    <a:pt x="3880" y="849"/>
                    <a:pt x="3880" y="849"/>
                  </a:cubicBezTo>
                  <a:cubicBezTo>
                    <a:pt x="3878" y="848"/>
                    <a:pt x="3878" y="848"/>
                    <a:pt x="3878" y="848"/>
                  </a:cubicBezTo>
                  <a:cubicBezTo>
                    <a:pt x="3880" y="850"/>
                    <a:pt x="3880" y="850"/>
                    <a:pt x="3880" y="850"/>
                  </a:cubicBezTo>
                  <a:cubicBezTo>
                    <a:pt x="3880" y="849"/>
                    <a:pt x="3880" y="849"/>
                    <a:pt x="3880" y="849"/>
                  </a:cubicBezTo>
                  <a:cubicBezTo>
                    <a:pt x="3878" y="848"/>
                    <a:pt x="3878" y="848"/>
                    <a:pt x="3878" y="848"/>
                  </a:cubicBezTo>
                  <a:cubicBezTo>
                    <a:pt x="3880" y="850"/>
                    <a:pt x="3880" y="850"/>
                    <a:pt x="3880" y="850"/>
                  </a:cubicBezTo>
                  <a:cubicBezTo>
                    <a:pt x="3880" y="850"/>
                    <a:pt x="3880" y="849"/>
                    <a:pt x="3881" y="849"/>
                  </a:cubicBezTo>
                  <a:cubicBezTo>
                    <a:pt x="3881" y="849"/>
                    <a:pt x="3882" y="848"/>
                    <a:pt x="3883" y="848"/>
                  </a:cubicBezTo>
                  <a:cubicBezTo>
                    <a:pt x="3883" y="848"/>
                    <a:pt x="3883" y="848"/>
                    <a:pt x="3883" y="848"/>
                  </a:cubicBezTo>
                  <a:cubicBezTo>
                    <a:pt x="3886" y="846"/>
                    <a:pt x="3891" y="844"/>
                    <a:pt x="3897" y="842"/>
                  </a:cubicBezTo>
                  <a:cubicBezTo>
                    <a:pt x="3899" y="840"/>
                    <a:pt x="3902" y="839"/>
                    <a:pt x="3905" y="836"/>
                  </a:cubicBezTo>
                  <a:cubicBezTo>
                    <a:pt x="3907" y="834"/>
                    <a:pt x="3910" y="831"/>
                    <a:pt x="3912" y="828"/>
                  </a:cubicBezTo>
                  <a:cubicBezTo>
                    <a:pt x="3912" y="828"/>
                    <a:pt x="3912" y="828"/>
                    <a:pt x="3912" y="828"/>
                  </a:cubicBezTo>
                  <a:cubicBezTo>
                    <a:pt x="3911" y="827"/>
                    <a:pt x="3911" y="827"/>
                    <a:pt x="3911" y="827"/>
                  </a:cubicBezTo>
                  <a:cubicBezTo>
                    <a:pt x="3912" y="828"/>
                    <a:pt x="3912" y="828"/>
                    <a:pt x="3912" y="828"/>
                  </a:cubicBezTo>
                  <a:cubicBezTo>
                    <a:pt x="3912" y="828"/>
                    <a:pt x="3912" y="828"/>
                    <a:pt x="3912" y="828"/>
                  </a:cubicBezTo>
                  <a:cubicBezTo>
                    <a:pt x="3911" y="827"/>
                    <a:pt x="3911" y="827"/>
                    <a:pt x="3911" y="827"/>
                  </a:cubicBezTo>
                  <a:cubicBezTo>
                    <a:pt x="3912" y="828"/>
                    <a:pt x="3912" y="828"/>
                    <a:pt x="3912" y="828"/>
                  </a:cubicBezTo>
                  <a:cubicBezTo>
                    <a:pt x="3909" y="826"/>
                    <a:pt x="3909" y="826"/>
                    <a:pt x="3909" y="826"/>
                  </a:cubicBezTo>
                  <a:cubicBezTo>
                    <a:pt x="3911" y="829"/>
                    <a:pt x="3911" y="829"/>
                    <a:pt x="3911" y="829"/>
                  </a:cubicBezTo>
                  <a:cubicBezTo>
                    <a:pt x="3912" y="829"/>
                    <a:pt x="3912" y="829"/>
                    <a:pt x="3912" y="828"/>
                  </a:cubicBezTo>
                  <a:cubicBezTo>
                    <a:pt x="3909" y="826"/>
                    <a:pt x="3909" y="826"/>
                    <a:pt x="3909" y="826"/>
                  </a:cubicBezTo>
                  <a:cubicBezTo>
                    <a:pt x="3911" y="829"/>
                    <a:pt x="3911" y="829"/>
                    <a:pt x="3911" y="829"/>
                  </a:cubicBezTo>
                  <a:cubicBezTo>
                    <a:pt x="3911" y="829"/>
                    <a:pt x="3911" y="829"/>
                    <a:pt x="3911" y="829"/>
                  </a:cubicBezTo>
                  <a:cubicBezTo>
                    <a:pt x="3911" y="829"/>
                    <a:pt x="3911" y="829"/>
                    <a:pt x="3911" y="829"/>
                  </a:cubicBezTo>
                  <a:cubicBezTo>
                    <a:pt x="3913" y="828"/>
                    <a:pt x="3917" y="827"/>
                    <a:pt x="3920" y="824"/>
                  </a:cubicBezTo>
                  <a:cubicBezTo>
                    <a:pt x="3922" y="822"/>
                    <a:pt x="3924" y="820"/>
                    <a:pt x="3925" y="818"/>
                  </a:cubicBezTo>
                  <a:cubicBezTo>
                    <a:pt x="3927" y="815"/>
                    <a:pt x="3928" y="812"/>
                    <a:pt x="3928" y="810"/>
                  </a:cubicBezTo>
                  <a:cubicBezTo>
                    <a:pt x="3928" y="810"/>
                    <a:pt x="3928" y="810"/>
                    <a:pt x="3928" y="810"/>
                  </a:cubicBezTo>
                  <a:cubicBezTo>
                    <a:pt x="3929" y="806"/>
                    <a:pt x="3929" y="802"/>
                    <a:pt x="3929" y="798"/>
                  </a:cubicBezTo>
                  <a:cubicBezTo>
                    <a:pt x="3929" y="796"/>
                    <a:pt x="3929" y="793"/>
                    <a:pt x="3929" y="791"/>
                  </a:cubicBezTo>
                  <a:cubicBezTo>
                    <a:pt x="3929" y="791"/>
                    <a:pt x="3929" y="791"/>
                    <a:pt x="3929" y="791"/>
                  </a:cubicBezTo>
                  <a:cubicBezTo>
                    <a:pt x="3926" y="775"/>
                    <a:pt x="3922" y="760"/>
                    <a:pt x="3919" y="745"/>
                  </a:cubicBezTo>
                  <a:cubicBezTo>
                    <a:pt x="3919" y="744"/>
                    <a:pt x="3919" y="744"/>
                    <a:pt x="3919" y="744"/>
                  </a:cubicBezTo>
                  <a:cubicBezTo>
                    <a:pt x="3919" y="744"/>
                    <a:pt x="3919" y="744"/>
                    <a:pt x="3919" y="744"/>
                  </a:cubicBezTo>
                  <a:cubicBezTo>
                    <a:pt x="3916" y="744"/>
                    <a:pt x="3916" y="744"/>
                    <a:pt x="3916" y="744"/>
                  </a:cubicBezTo>
                  <a:cubicBezTo>
                    <a:pt x="3918" y="745"/>
                    <a:pt x="3918" y="745"/>
                    <a:pt x="3918" y="745"/>
                  </a:cubicBezTo>
                  <a:cubicBezTo>
                    <a:pt x="3919" y="745"/>
                    <a:pt x="3919" y="744"/>
                    <a:pt x="3919" y="744"/>
                  </a:cubicBezTo>
                  <a:cubicBezTo>
                    <a:pt x="3916" y="744"/>
                    <a:pt x="3916" y="744"/>
                    <a:pt x="3916" y="744"/>
                  </a:cubicBezTo>
                  <a:cubicBezTo>
                    <a:pt x="3918" y="745"/>
                    <a:pt x="3918" y="745"/>
                    <a:pt x="3918" y="745"/>
                  </a:cubicBezTo>
                  <a:cubicBezTo>
                    <a:pt x="3914" y="744"/>
                    <a:pt x="3914" y="744"/>
                    <a:pt x="3914" y="744"/>
                  </a:cubicBezTo>
                  <a:cubicBezTo>
                    <a:pt x="3917" y="747"/>
                    <a:pt x="3917" y="747"/>
                    <a:pt x="3917" y="747"/>
                  </a:cubicBezTo>
                  <a:cubicBezTo>
                    <a:pt x="3917" y="747"/>
                    <a:pt x="3918" y="746"/>
                    <a:pt x="3918" y="745"/>
                  </a:cubicBezTo>
                  <a:cubicBezTo>
                    <a:pt x="3914" y="744"/>
                    <a:pt x="3914" y="744"/>
                    <a:pt x="3914" y="744"/>
                  </a:cubicBezTo>
                  <a:cubicBezTo>
                    <a:pt x="3917" y="747"/>
                    <a:pt x="3917" y="747"/>
                    <a:pt x="3917" y="747"/>
                  </a:cubicBezTo>
                  <a:cubicBezTo>
                    <a:pt x="3915" y="745"/>
                    <a:pt x="3915" y="745"/>
                    <a:pt x="3915" y="745"/>
                  </a:cubicBezTo>
                  <a:cubicBezTo>
                    <a:pt x="3917" y="748"/>
                    <a:pt x="3917" y="748"/>
                    <a:pt x="3917" y="748"/>
                  </a:cubicBezTo>
                  <a:cubicBezTo>
                    <a:pt x="3917" y="747"/>
                    <a:pt x="3917" y="747"/>
                    <a:pt x="3917" y="747"/>
                  </a:cubicBezTo>
                  <a:cubicBezTo>
                    <a:pt x="3915" y="745"/>
                    <a:pt x="3915" y="745"/>
                    <a:pt x="3915" y="745"/>
                  </a:cubicBezTo>
                  <a:cubicBezTo>
                    <a:pt x="3917" y="748"/>
                    <a:pt x="3917" y="748"/>
                    <a:pt x="3917" y="748"/>
                  </a:cubicBezTo>
                  <a:cubicBezTo>
                    <a:pt x="3917" y="748"/>
                    <a:pt x="3917" y="748"/>
                    <a:pt x="3917" y="748"/>
                  </a:cubicBezTo>
                  <a:cubicBezTo>
                    <a:pt x="3917" y="748"/>
                    <a:pt x="3917" y="748"/>
                    <a:pt x="3917" y="748"/>
                  </a:cubicBezTo>
                  <a:cubicBezTo>
                    <a:pt x="3917" y="748"/>
                    <a:pt x="3917" y="748"/>
                    <a:pt x="3917" y="748"/>
                  </a:cubicBezTo>
                  <a:cubicBezTo>
                    <a:pt x="3917" y="748"/>
                    <a:pt x="3917" y="748"/>
                    <a:pt x="3917" y="748"/>
                  </a:cubicBezTo>
                  <a:cubicBezTo>
                    <a:pt x="3917" y="748"/>
                    <a:pt x="3917" y="748"/>
                    <a:pt x="3917" y="748"/>
                  </a:cubicBezTo>
                  <a:cubicBezTo>
                    <a:pt x="3917" y="747"/>
                    <a:pt x="3917" y="747"/>
                    <a:pt x="3917" y="747"/>
                  </a:cubicBezTo>
                  <a:cubicBezTo>
                    <a:pt x="3917" y="747"/>
                    <a:pt x="3917" y="747"/>
                    <a:pt x="3917" y="747"/>
                  </a:cubicBezTo>
                  <a:cubicBezTo>
                    <a:pt x="3917" y="747"/>
                    <a:pt x="3917" y="747"/>
                    <a:pt x="3917" y="747"/>
                  </a:cubicBezTo>
                  <a:cubicBezTo>
                    <a:pt x="3916" y="741"/>
                    <a:pt x="3916" y="741"/>
                    <a:pt x="3916" y="741"/>
                  </a:cubicBezTo>
                  <a:cubicBezTo>
                    <a:pt x="3917" y="747"/>
                    <a:pt x="3917" y="747"/>
                    <a:pt x="3917" y="747"/>
                  </a:cubicBezTo>
                  <a:cubicBezTo>
                    <a:pt x="3917" y="747"/>
                    <a:pt x="3917" y="747"/>
                    <a:pt x="3917" y="747"/>
                  </a:cubicBezTo>
                  <a:cubicBezTo>
                    <a:pt x="3916" y="741"/>
                    <a:pt x="3916" y="741"/>
                    <a:pt x="3916" y="741"/>
                  </a:cubicBezTo>
                  <a:cubicBezTo>
                    <a:pt x="3917" y="747"/>
                    <a:pt x="3917" y="747"/>
                    <a:pt x="3917" y="747"/>
                  </a:cubicBezTo>
                  <a:cubicBezTo>
                    <a:pt x="3916" y="745"/>
                    <a:pt x="3916" y="745"/>
                    <a:pt x="3916" y="745"/>
                  </a:cubicBezTo>
                  <a:cubicBezTo>
                    <a:pt x="3916" y="748"/>
                    <a:pt x="3916" y="748"/>
                    <a:pt x="3916" y="748"/>
                  </a:cubicBezTo>
                  <a:cubicBezTo>
                    <a:pt x="3917" y="747"/>
                    <a:pt x="3917" y="747"/>
                    <a:pt x="3917" y="747"/>
                  </a:cubicBezTo>
                  <a:cubicBezTo>
                    <a:pt x="3916" y="745"/>
                    <a:pt x="3916" y="745"/>
                    <a:pt x="3916" y="745"/>
                  </a:cubicBezTo>
                  <a:cubicBezTo>
                    <a:pt x="3916" y="748"/>
                    <a:pt x="3916" y="748"/>
                    <a:pt x="3916" y="748"/>
                  </a:cubicBezTo>
                  <a:cubicBezTo>
                    <a:pt x="3916" y="748"/>
                    <a:pt x="3916" y="748"/>
                    <a:pt x="3916" y="748"/>
                  </a:cubicBezTo>
                  <a:cubicBezTo>
                    <a:pt x="3917" y="747"/>
                    <a:pt x="3917" y="748"/>
                    <a:pt x="3919" y="747"/>
                  </a:cubicBezTo>
                  <a:cubicBezTo>
                    <a:pt x="3923" y="747"/>
                    <a:pt x="3926" y="746"/>
                    <a:pt x="3929" y="745"/>
                  </a:cubicBezTo>
                  <a:cubicBezTo>
                    <a:pt x="3934" y="742"/>
                    <a:pt x="3937" y="739"/>
                    <a:pt x="3939" y="736"/>
                  </a:cubicBezTo>
                  <a:cubicBezTo>
                    <a:pt x="3941" y="733"/>
                    <a:pt x="3943" y="730"/>
                    <a:pt x="3944" y="728"/>
                  </a:cubicBezTo>
                  <a:cubicBezTo>
                    <a:pt x="3944" y="728"/>
                    <a:pt x="3944" y="728"/>
                    <a:pt x="3944" y="728"/>
                  </a:cubicBezTo>
                  <a:cubicBezTo>
                    <a:pt x="3946" y="726"/>
                    <a:pt x="3946" y="724"/>
                    <a:pt x="3947" y="722"/>
                  </a:cubicBezTo>
                  <a:cubicBezTo>
                    <a:pt x="3948" y="720"/>
                    <a:pt x="3948" y="717"/>
                    <a:pt x="3948" y="715"/>
                  </a:cubicBezTo>
                  <a:cubicBezTo>
                    <a:pt x="3948" y="712"/>
                    <a:pt x="3947" y="709"/>
                    <a:pt x="3946" y="706"/>
                  </a:cubicBezTo>
                  <a:cubicBezTo>
                    <a:pt x="3945" y="704"/>
                    <a:pt x="3944" y="702"/>
                    <a:pt x="3943" y="700"/>
                  </a:cubicBezTo>
                  <a:cubicBezTo>
                    <a:pt x="3943" y="700"/>
                    <a:pt x="3943" y="700"/>
                    <a:pt x="3943" y="700"/>
                  </a:cubicBezTo>
                  <a:cubicBezTo>
                    <a:pt x="3943" y="700"/>
                    <a:pt x="3943" y="700"/>
                    <a:pt x="3943" y="699"/>
                  </a:cubicBezTo>
                  <a:cubicBezTo>
                    <a:pt x="3943" y="698"/>
                    <a:pt x="3943" y="697"/>
                    <a:pt x="3943" y="695"/>
                  </a:cubicBezTo>
                  <a:cubicBezTo>
                    <a:pt x="3943" y="693"/>
                    <a:pt x="3943" y="690"/>
                    <a:pt x="3942" y="687"/>
                  </a:cubicBezTo>
                  <a:cubicBezTo>
                    <a:pt x="3942" y="687"/>
                    <a:pt x="3942" y="687"/>
                    <a:pt x="3942" y="687"/>
                  </a:cubicBezTo>
                  <a:cubicBezTo>
                    <a:pt x="3942" y="687"/>
                    <a:pt x="3942" y="687"/>
                    <a:pt x="3942" y="687"/>
                  </a:cubicBezTo>
                  <a:cubicBezTo>
                    <a:pt x="3931" y="688"/>
                    <a:pt x="3931" y="688"/>
                    <a:pt x="3931" y="688"/>
                  </a:cubicBezTo>
                  <a:cubicBezTo>
                    <a:pt x="3942" y="688"/>
                    <a:pt x="3942" y="688"/>
                    <a:pt x="3942" y="688"/>
                  </a:cubicBezTo>
                  <a:cubicBezTo>
                    <a:pt x="3942" y="688"/>
                    <a:pt x="3942" y="687"/>
                    <a:pt x="3942" y="687"/>
                  </a:cubicBezTo>
                  <a:cubicBezTo>
                    <a:pt x="3931" y="688"/>
                    <a:pt x="3931" y="688"/>
                    <a:pt x="3931" y="688"/>
                  </a:cubicBezTo>
                  <a:cubicBezTo>
                    <a:pt x="3942" y="688"/>
                    <a:pt x="3942" y="688"/>
                    <a:pt x="3942" y="688"/>
                  </a:cubicBezTo>
                  <a:cubicBezTo>
                    <a:pt x="3931" y="688"/>
                    <a:pt x="3931" y="688"/>
                    <a:pt x="3931" y="688"/>
                  </a:cubicBezTo>
                  <a:cubicBezTo>
                    <a:pt x="3942" y="692"/>
                    <a:pt x="3942" y="692"/>
                    <a:pt x="3942" y="692"/>
                  </a:cubicBezTo>
                  <a:cubicBezTo>
                    <a:pt x="3942" y="691"/>
                    <a:pt x="3942" y="690"/>
                    <a:pt x="3942" y="688"/>
                  </a:cubicBezTo>
                  <a:cubicBezTo>
                    <a:pt x="3931" y="688"/>
                    <a:pt x="3931" y="688"/>
                    <a:pt x="3931" y="688"/>
                  </a:cubicBezTo>
                  <a:cubicBezTo>
                    <a:pt x="3942" y="692"/>
                    <a:pt x="3942" y="692"/>
                    <a:pt x="3942" y="692"/>
                  </a:cubicBezTo>
                  <a:cubicBezTo>
                    <a:pt x="3933" y="689"/>
                    <a:pt x="3933" y="689"/>
                    <a:pt x="3933" y="689"/>
                  </a:cubicBezTo>
                  <a:cubicBezTo>
                    <a:pt x="3941" y="694"/>
                    <a:pt x="3941" y="694"/>
                    <a:pt x="3941" y="694"/>
                  </a:cubicBezTo>
                  <a:cubicBezTo>
                    <a:pt x="3941" y="694"/>
                    <a:pt x="3941" y="693"/>
                    <a:pt x="3942" y="692"/>
                  </a:cubicBezTo>
                  <a:cubicBezTo>
                    <a:pt x="3933" y="689"/>
                    <a:pt x="3933" y="689"/>
                    <a:pt x="3933" y="689"/>
                  </a:cubicBezTo>
                  <a:cubicBezTo>
                    <a:pt x="3941" y="694"/>
                    <a:pt x="3941" y="694"/>
                    <a:pt x="3941" y="694"/>
                  </a:cubicBezTo>
                  <a:cubicBezTo>
                    <a:pt x="3934" y="689"/>
                    <a:pt x="3934" y="689"/>
                    <a:pt x="3934" y="689"/>
                  </a:cubicBezTo>
                  <a:cubicBezTo>
                    <a:pt x="3939" y="696"/>
                    <a:pt x="3939" y="696"/>
                    <a:pt x="3939" y="696"/>
                  </a:cubicBezTo>
                  <a:cubicBezTo>
                    <a:pt x="3940" y="695"/>
                    <a:pt x="3940" y="695"/>
                    <a:pt x="3941" y="694"/>
                  </a:cubicBezTo>
                  <a:cubicBezTo>
                    <a:pt x="3934" y="689"/>
                    <a:pt x="3934" y="689"/>
                    <a:pt x="3934" y="689"/>
                  </a:cubicBezTo>
                  <a:cubicBezTo>
                    <a:pt x="3939" y="696"/>
                    <a:pt x="3939" y="696"/>
                    <a:pt x="3939" y="696"/>
                  </a:cubicBezTo>
                  <a:cubicBezTo>
                    <a:pt x="3933" y="688"/>
                    <a:pt x="3933" y="688"/>
                    <a:pt x="3933" y="688"/>
                  </a:cubicBezTo>
                  <a:cubicBezTo>
                    <a:pt x="3937" y="697"/>
                    <a:pt x="3937" y="697"/>
                    <a:pt x="3937" y="697"/>
                  </a:cubicBezTo>
                  <a:cubicBezTo>
                    <a:pt x="3938" y="696"/>
                    <a:pt x="3939" y="696"/>
                    <a:pt x="3939" y="696"/>
                  </a:cubicBezTo>
                  <a:cubicBezTo>
                    <a:pt x="3933" y="688"/>
                    <a:pt x="3933" y="688"/>
                    <a:pt x="3933" y="688"/>
                  </a:cubicBezTo>
                  <a:cubicBezTo>
                    <a:pt x="3937" y="697"/>
                    <a:pt x="3937" y="697"/>
                    <a:pt x="3937" y="697"/>
                  </a:cubicBezTo>
                  <a:cubicBezTo>
                    <a:pt x="3932" y="687"/>
                    <a:pt x="3932" y="687"/>
                    <a:pt x="3932" y="687"/>
                  </a:cubicBezTo>
                  <a:cubicBezTo>
                    <a:pt x="3933" y="698"/>
                    <a:pt x="3933" y="698"/>
                    <a:pt x="3933" y="698"/>
                  </a:cubicBezTo>
                  <a:cubicBezTo>
                    <a:pt x="3935" y="698"/>
                    <a:pt x="3936" y="697"/>
                    <a:pt x="3937" y="697"/>
                  </a:cubicBezTo>
                  <a:cubicBezTo>
                    <a:pt x="3932" y="687"/>
                    <a:pt x="3932" y="687"/>
                    <a:pt x="3932" y="687"/>
                  </a:cubicBezTo>
                  <a:cubicBezTo>
                    <a:pt x="3933" y="698"/>
                    <a:pt x="3933" y="698"/>
                    <a:pt x="3933" y="698"/>
                  </a:cubicBezTo>
                  <a:cubicBezTo>
                    <a:pt x="3933" y="698"/>
                    <a:pt x="3933" y="698"/>
                    <a:pt x="3933" y="698"/>
                  </a:cubicBezTo>
                  <a:cubicBezTo>
                    <a:pt x="3933" y="698"/>
                    <a:pt x="3933" y="698"/>
                    <a:pt x="3933" y="698"/>
                  </a:cubicBezTo>
                  <a:cubicBezTo>
                    <a:pt x="3936" y="698"/>
                    <a:pt x="3939" y="697"/>
                    <a:pt x="3942" y="695"/>
                  </a:cubicBezTo>
                  <a:cubicBezTo>
                    <a:pt x="3944" y="694"/>
                    <a:pt x="3945" y="693"/>
                    <a:pt x="3946" y="691"/>
                  </a:cubicBezTo>
                  <a:cubicBezTo>
                    <a:pt x="3948" y="689"/>
                    <a:pt x="3949" y="688"/>
                    <a:pt x="3950" y="686"/>
                  </a:cubicBezTo>
                  <a:cubicBezTo>
                    <a:pt x="3950" y="685"/>
                    <a:pt x="3951" y="685"/>
                    <a:pt x="3951" y="684"/>
                  </a:cubicBezTo>
                  <a:cubicBezTo>
                    <a:pt x="3951" y="684"/>
                    <a:pt x="3951" y="684"/>
                    <a:pt x="3951" y="684"/>
                  </a:cubicBezTo>
                  <a:cubicBezTo>
                    <a:pt x="3951" y="684"/>
                    <a:pt x="3951" y="684"/>
                    <a:pt x="3951" y="684"/>
                  </a:cubicBezTo>
                  <a:cubicBezTo>
                    <a:pt x="3954" y="679"/>
                    <a:pt x="3959" y="674"/>
                    <a:pt x="3964" y="669"/>
                  </a:cubicBezTo>
                  <a:cubicBezTo>
                    <a:pt x="3964" y="669"/>
                    <a:pt x="3964" y="669"/>
                    <a:pt x="3964" y="669"/>
                  </a:cubicBezTo>
                  <a:cubicBezTo>
                    <a:pt x="3964" y="668"/>
                    <a:pt x="3964" y="668"/>
                    <a:pt x="3964" y="668"/>
                  </a:cubicBezTo>
                  <a:cubicBezTo>
                    <a:pt x="3963" y="668"/>
                    <a:pt x="3963" y="668"/>
                    <a:pt x="3963" y="668"/>
                  </a:cubicBezTo>
                  <a:cubicBezTo>
                    <a:pt x="3964" y="668"/>
                    <a:pt x="3964" y="668"/>
                    <a:pt x="3964" y="668"/>
                  </a:cubicBezTo>
                  <a:cubicBezTo>
                    <a:pt x="3964" y="668"/>
                    <a:pt x="3964" y="668"/>
                    <a:pt x="3964" y="668"/>
                  </a:cubicBezTo>
                  <a:cubicBezTo>
                    <a:pt x="3963" y="668"/>
                    <a:pt x="3963" y="668"/>
                    <a:pt x="3963" y="668"/>
                  </a:cubicBezTo>
                  <a:cubicBezTo>
                    <a:pt x="3964" y="668"/>
                    <a:pt x="3964" y="668"/>
                    <a:pt x="3964" y="668"/>
                  </a:cubicBezTo>
                  <a:cubicBezTo>
                    <a:pt x="3960" y="664"/>
                    <a:pt x="3960" y="664"/>
                    <a:pt x="3960" y="664"/>
                  </a:cubicBezTo>
                  <a:cubicBezTo>
                    <a:pt x="3963" y="669"/>
                    <a:pt x="3963" y="669"/>
                    <a:pt x="3963" y="669"/>
                  </a:cubicBezTo>
                  <a:cubicBezTo>
                    <a:pt x="3963" y="669"/>
                    <a:pt x="3964" y="668"/>
                    <a:pt x="3964" y="668"/>
                  </a:cubicBezTo>
                  <a:cubicBezTo>
                    <a:pt x="3960" y="664"/>
                    <a:pt x="3960" y="664"/>
                    <a:pt x="3960" y="664"/>
                  </a:cubicBezTo>
                  <a:cubicBezTo>
                    <a:pt x="3963" y="669"/>
                    <a:pt x="3963" y="669"/>
                    <a:pt x="3963" y="669"/>
                  </a:cubicBezTo>
                  <a:cubicBezTo>
                    <a:pt x="3959" y="662"/>
                    <a:pt x="3959" y="662"/>
                    <a:pt x="3959" y="662"/>
                  </a:cubicBezTo>
                  <a:cubicBezTo>
                    <a:pt x="3959" y="670"/>
                    <a:pt x="3959" y="670"/>
                    <a:pt x="3959" y="670"/>
                  </a:cubicBezTo>
                  <a:cubicBezTo>
                    <a:pt x="3960" y="670"/>
                    <a:pt x="3962" y="669"/>
                    <a:pt x="3963" y="669"/>
                  </a:cubicBezTo>
                  <a:cubicBezTo>
                    <a:pt x="3959" y="662"/>
                    <a:pt x="3959" y="662"/>
                    <a:pt x="3959" y="662"/>
                  </a:cubicBezTo>
                  <a:cubicBezTo>
                    <a:pt x="3959" y="670"/>
                    <a:pt x="3959" y="670"/>
                    <a:pt x="3959" y="670"/>
                  </a:cubicBezTo>
                  <a:cubicBezTo>
                    <a:pt x="3959" y="662"/>
                    <a:pt x="3959" y="662"/>
                    <a:pt x="3959" y="662"/>
                  </a:cubicBezTo>
                  <a:cubicBezTo>
                    <a:pt x="3955" y="669"/>
                    <a:pt x="3955" y="669"/>
                    <a:pt x="3955" y="669"/>
                  </a:cubicBezTo>
                  <a:cubicBezTo>
                    <a:pt x="3956" y="669"/>
                    <a:pt x="3957" y="670"/>
                    <a:pt x="3959" y="670"/>
                  </a:cubicBezTo>
                  <a:cubicBezTo>
                    <a:pt x="3959" y="662"/>
                    <a:pt x="3959" y="662"/>
                    <a:pt x="3959" y="662"/>
                  </a:cubicBezTo>
                  <a:cubicBezTo>
                    <a:pt x="3955" y="669"/>
                    <a:pt x="3955" y="669"/>
                    <a:pt x="3955" y="669"/>
                  </a:cubicBezTo>
                  <a:cubicBezTo>
                    <a:pt x="3957" y="665"/>
                    <a:pt x="3957" y="665"/>
                    <a:pt x="3957" y="665"/>
                  </a:cubicBezTo>
                  <a:cubicBezTo>
                    <a:pt x="3954" y="668"/>
                    <a:pt x="3954" y="668"/>
                    <a:pt x="3954" y="668"/>
                  </a:cubicBezTo>
                  <a:cubicBezTo>
                    <a:pt x="3954" y="668"/>
                    <a:pt x="3954" y="669"/>
                    <a:pt x="3955" y="669"/>
                  </a:cubicBezTo>
                  <a:cubicBezTo>
                    <a:pt x="3957" y="665"/>
                    <a:pt x="3957" y="665"/>
                    <a:pt x="3957" y="665"/>
                  </a:cubicBezTo>
                  <a:cubicBezTo>
                    <a:pt x="3954" y="668"/>
                    <a:pt x="3954" y="668"/>
                    <a:pt x="3954" y="668"/>
                  </a:cubicBezTo>
                  <a:cubicBezTo>
                    <a:pt x="3956" y="670"/>
                    <a:pt x="3957" y="671"/>
                    <a:pt x="3959" y="672"/>
                  </a:cubicBezTo>
                  <a:cubicBezTo>
                    <a:pt x="3962" y="673"/>
                    <a:pt x="3964" y="674"/>
                    <a:pt x="3966" y="674"/>
                  </a:cubicBezTo>
                  <a:cubicBezTo>
                    <a:pt x="3970" y="674"/>
                    <a:pt x="3973" y="672"/>
                    <a:pt x="3975" y="671"/>
                  </a:cubicBezTo>
                  <a:cubicBezTo>
                    <a:pt x="3978" y="670"/>
                    <a:pt x="3979" y="668"/>
                    <a:pt x="3980" y="667"/>
                  </a:cubicBezTo>
                  <a:cubicBezTo>
                    <a:pt x="3980" y="667"/>
                    <a:pt x="3980" y="667"/>
                    <a:pt x="3980" y="667"/>
                  </a:cubicBezTo>
                  <a:cubicBezTo>
                    <a:pt x="3984" y="663"/>
                    <a:pt x="3986" y="660"/>
                    <a:pt x="3988" y="658"/>
                  </a:cubicBezTo>
                  <a:cubicBezTo>
                    <a:pt x="3988" y="658"/>
                    <a:pt x="3988" y="658"/>
                    <a:pt x="3988" y="658"/>
                  </a:cubicBezTo>
                  <a:cubicBezTo>
                    <a:pt x="3991" y="655"/>
                    <a:pt x="3993" y="653"/>
                    <a:pt x="3994" y="651"/>
                  </a:cubicBezTo>
                  <a:cubicBezTo>
                    <a:pt x="3995" y="650"/>
                    <a:pt x="3995" y="650"/>
                    <a:pt x="3995" y="650"/>
                  </a:cubicBezTo>
                  <a:cubicBezTo>
                    <a:pt x="3995" y="650"/>
                    <a:pt x="3995" y="650"/>
                    <a:pt x="3995" y="650"/>
                  </a:cubicBezTo>
                  <a:cubicBezTo>
                    <a:pt x="3996" y="650"/>
                    <a:pt x="3996" y="650"/>
                    <a:pt x="3996" y="650"/>
                  </a:cubicBezTo>
                  <a:cubicBezTo>
                    <a:pt x="3994" y="648"/>
                    <a:pt x="3994" y="648"/>
                    <a:pt x="3994" y="648"/>
                  </a:cubicBezTo>
                  <a:cubicBezTo>
                    <a:pt x="3995" y="650"/>
                    <a:pt x="3995" y="650"/>
                    <a:pt x="3995" y="650"/>
                  </a:cubicBezTo>
                  <a:cubicBezTo>
                    <a:pt x="3996" y="650"/>
                    <a:pt x="3996" y="650"/>
                    <a:pt x="3996" y="650"/>
                  </a:cubicBezTo>
                  <a:cubicBezTo>
                    <a:pt x="3994" y="648"/>
                    <a:pt x="3994" y="648"/>
                    <a:pt x="3994" y="648"/>
                  </a:cubicBezTo>
                  <a:cubicBezTo>
                    <a:pt x="3995" y="650"/>
                    <a:pt x="3995" y="650"/>
                    <a:pt x="3995" y="650"/>
                  </a:cubicBezTo>
                  <a:cubicBezTo>
                    <a:pt x="3995" y="650"/>
                    <a:pt x="3995" y="650"/>
                    <a:pt x="3995" y="650"/>
                  </a:cubicBezTo>
                  <a:cubicBezTo>
                    <a:pt x="3997" y="649"/>
                    <a:pt x="3999" y="648"/>
                    <a:pt x="4001" y="646"/>
                  </a:cubicBezTo>
                  <a:cubicBezTo>
                    <a:pt x="4004" y="644"/>
                    <a:pt x="4006" y="642"/>
                    <a:pt x="4008" y="640"/>
                  </a:cubicBezTo>
                  <a:cubicBezTo>
                    <a:pt x="4009" y="637"/>
                    <a:pt x="4010" y="635"/>
                    <a:pt x="4011" y="634"/>
                  </a:cubicBezTo>
                  <a:cubicBezTo>
                    <a:pt x="4011" y="634"/>
                    <a:pt x="4011" y="634"/>
                    <a:pt x="4011" y="634"/>
                  </a:cubicBezTo>
                  <a:cubicBezTo>
                    <a:pt x="4013" y="630"/>
                    <a:pt x="4014" y="626"/>
                    <a:pt x="4015" y="625"/>
                  </a:cubicBezTo>
                  <a:cubicBezTo>
                    <a:pt x="4004" y="619"/>
                    <a:pt x="4004" y="619"/>
                    <a:pt x="4004" y="619"/>
                  </a:cubicBezTo>
                  <a:cubicBezTo>
                    <a:pt x="4015" y="625"/>
                    <a:pt x="4015" y="625"/>
                    <a:pt x="4015" y="625"/>
                  </a:cubicBezTo>
                  <a:cubicBezTo>
                    <a:pt x="4007" y="620"/>
                    <a:pt x="4007" y="620"/>
                    <a:pt x="4007" y="620"/>
                  </a:cubicBezTo>
                  <a:cubicBezTo>
                    <a:pt x="4012" y="628"/>
                    <a:pt x="4012" y="628"/>
                    <a:pt x="4012" y="628"/>
                  </a:cubicBezTo>
                  <a:cubicBezTo>
                    <a:pt x="4013" y="627"/>
                    <a:pt x="4014" y="626"/>
                    <a:pt x="4015" y="625"/>
                  </a:cubicBezTo>
                  <a:cubicBezTo>
                    <a:pt x="4007" y="620"/>
                    <a:pt x="4007" y="620"/>
                    <a:pt x="4007" y="620"/>
                  </a:cubicBezTo>
                  <a:cubicBezTo>
                    <a:pt x="4012" y="628"/>
                    <a:pt x="4012" y="628"/>
                    <a:pt x="4012" y="628"/>
                  </a:cubicBezTo>
                  <a:cubicBezTo>
                    <a:pt x="4008" y="623"/>
                    <a:pt x="4008" y="623"/>
                    <a:pt x="4008" y="623"/>
                  </a:cubicBezTo>
                  <a:cubicBezTo>
                    <a:pt x="4011" y="629"/>
                    <a:pt x="4011" y="629"/>
                    <a:pt x="4011" y="629"/>
                  </a:cubicBezTo>
                  <a:cubicBezTo>
                    <a:pt x="4011" y="628"/>
                    <a:pt x="4012" y="628"/>
                    <a:pt x="4012" y="628"/>
                  </a:cubicBezTo>
                  <a:cubicBezTo>
                    <a:pt x="4008" y="623"/>
                    <a:pt x="4008" y="623"/>
                    <a:pt x="4008" y="623"/>
                  </a:cubicBezTo>
                  <a:cubicBezTo>
                    <a:pt x="4011" y="629"/>
                    <a:pt x="4011" y="629"/>
                    <a:pt x="4011" y="629"/>
                  </a:cubicBezTo>
                  <a:cubicBezTo>
                    <a:pt x="4008" y="622"/>
                    <a:pt x="4008" y="622"/>
                    <a:pt x="4008" y="622"/>
                  </a:cubicBezTo>
                  <a:cubicBezTo>
                    <a:pt x="4008" y="629"/>
                    <a:pt x="4008" y="629"/>
                    <a:pt x="4008" y="629"/>
                  </a:cubicBezTo>
                  <a:cubicBezTo>
                    <a:pt x="4010" y="629"/>
                    <a:pt x="4010" y="629"/>
                    <a:pt x="4011" y="629"/>
                  </a:cubicBezTo>
                  <a:cubicBezTo>
                    <a:pt x="4008" y="622"/>
                    <a:pt x="4008" y="622"/>
                    <a:pt x="4008" y="622"/>
                  </a:cubicBezTo>
                  <a:cubicBezTo>
                    <a:pt x="4008" y="629"/>
                    <a:pt x="4008" y="629"/>
                    <a:pt x="4008" y="629"/>
                  </a:cubicBezTo>
                  <a:cubicBezTo>
                    <a:pt x="4008" y="620"/>
                    <a:pt x="4008" y="620"/>
                    <a:pt x="4008" y="620"/>
                  </a:cubicBezTo>
                  <a:cubicBezTo>
                    <a:pt x="4008" y="629"/>
                    <a:pt x="4008" y="629"/>
                    <a:pt x="4008" y="629"/>
                  </a:cubicBezTo>
                  <a:cubicBezTo>
                    <a:pt x="4008" y="629"/>
                    <a:pt x="4008" y="629"/>
                    <a:pt x="4008" y="629"/>
                  </a:cubicBezTo>
                  <a:cubicBezTo>
                    <a:pt x="4008" y="620"/>
                    <a:pt x="4008" y="620"/>
                    <a:pt x="4008" y="620"/>
                  </a:cubicBezTo>
                  <a:cubicBezTo>
                    <a:pt x="4008" y="629"/>
                    <a:pt x="4008" y="629"/>
                    <a:pt x="4008" y="629"/>
                  </a:cubicBezTo>
                  <a:cubicBezTo>
                    <a:pt x="4008" y="629"/>
                    <a:pt x="4008" y="629"/>
                    <a:pt x="4008" y="629"/>
                  </a:cubicBezTo>
                  <a:cubicBezTo>
                    <a:pt x="4009" y="629"/>
                    <a:pt x="4010" y="629"/>
                    <a:pt x="4011" y="629"/>
                  </a:cubicBezTo>
                  <a:cubicBezTo>
                    <a:pt x="4013" y="629"/>
                    <a:pt x="4015" y="629"/>
                    <a:pt x="4018" y="628"/>
                  </a:cubicBezTo>
                  <a:cubicBezTo>
                    <a:pt x="4019" y="628"/>
                    <a:pt x="4022" y="627"/>
                    <a:pt x="4024" y="626"/>
                  </a:cubicBezTo>
                  <a:cubicBezTo>
                    <a:pt x="4025" y="625"/>
                    <a:pt x="4026" y="624"/>
                    <a:pt x="4027" y="622"/>
                  </a:cubicBezTo>
                  <a:cubicBezTo>
                    <a:pt x="4029" y="620"/>
                    <a:pt x="4030" y="619"/>
                    <a:pt x="4030" y="617"/>
                  </a:cubicBezTo>
                  <a:cubicBezTo>
                    <a:pt x="4031" y="615"/>
                    <a:pt x="4031" y="614"/>
                    <a:pt x="4032" y="612"/>
                  </a:cubicBezTo>
                  <a:cubicBezTo>
                    <a:pt x="4032" y="612"/>
                    <a:pt x="4032" y="612"/>
                    <a:pt x="4032" y="612"/>
                  </a:cubicBezTo>
                  <a:cubicBezTo>
                    <a:pt x="4032" y="611"/>
                    <a:pt x="4032" y="610"/>
                    <a:pt x="4032" y="610"/>
                  </a:cubicBezTo>
                  <a:cubicBezTo>
                    <a:pt x="4033" y="610"/>
                    <a:pt x="4033" y="610"/>
                    <a:pt x="4033" y="610"/>
                  </a:cubicBezTo>
                  <a:cubicBezTo>
                    <a:pt x="4033" y="610"/>
                    <a:pt x="4033" y="610"/>
                    <a:pt x="4033" y="610"/>
                  </a:cubicBezTo>
                  <a:cubicBezTo>
                    <a:pt x="4032" y="609"/>
                    <a:pt x="4032" y="609"/>
                    <a:pt x="4032" y="609"/>
                  </a:cubicBezTo>
                  <a:cubicBezTo>
                    <a:pt x="4033" y="610"/>
                    <a:pt x="4033" y="610"/>
                    <a:pt x="4033" y="610"/>
                  </a:cubicBezTo>
                  <a:cubicBezTo>
                    <a:pt x="4033" y="610"/>
                    <a:pt x="4033" y="610"/>
                    <a:pt x="4033" y="610"/>
                  </a:cubicBezTo>
                  <a:cubicBezTo>
                    <a:pt x="4032" y="609"/>
                    <a:pt x="4032" y="609"/>
                    <a:pt x="4032" y="609"/>
                  </a:cubicBezTo>
                  <a:cubicBezTo>
                    <a:pt x="4033" y="610"/>
                    <a:pt x="4033" y="610"/>
                    <a:pt x="4033" y="610"/>
                  </a:cubicBezTo>
                  <a:cubicBezTo>
                    <a:pt x="4030" y="608"/>
                    <a:pt x="4030" y="608"/>
                    <a:pt x="4030" y="608"/>
                  </a:cubicBezTo>
                  <a:cubicBezTo>
                    <a:pt x="4032" y="610"/>
                    <a:pt x="4032" y="610"/>
                    <a:pt x="4032" y="610"/>
                  </a:cubicBezTo>
                  <a:cubicBezTo>
                    <a:pt x="4033" y="610"/>
                    <a:pt x="4033" y="610"/>
                    <a:pt x="4033" y="610"/>
                  </a:cubicBezTo>
                  <a:cubicBezTo>
                    <a:pt x="4030" y="608"/>
                    <a:pt x="4030" y="608"/>
                    <a:pt x="4030" y="608"/>
                  </a:cubicBezTo>
                  <a:cubicBezTo>
                    <a:pt x="4032" y="610"/>
                    <a:pt x="4032" y="610"/>
                    <a:pt x="4032" y="610"/>
                  </a:cubicBezTo>
                  <a:cubicBezTo>
                    <a:pt x="4031" y="609"/>
                    <a:pt x="4031" y="609"/>
                    <a:pt x="4031" y="609"/>
                  </a:cubicBezTo>
                  <a:cubicBezTo>
                    <a:pt x="4032" y="610"/>
                    <a:pt x="4032" y="610"/>
                    <a:pt x="4032" y="610"/>
                  </a:cubicBezTo>
                  <a:cubicBezTo>
                    <a:pt x="4032" y="610"/>
                    <a:pt x="4032" y="610"/>
                    <a:pt x="4032" y="610"/>
                  </a:cubicBezTo>
                  <a:cubicBezTo>
                    <a:pt x="4031" y="609"/>
                    <a:pt x="4031" y="609"/>
                    <a:pt x="4031" y="609"/>
                  </a:cubicBezTo>
                  <a:cubicBezTo>
                    <a:pt x="4032" y="610"/>
                    <a:pt x="4032" y="610"/>
                    <a:pt x="4032" y="610"/>
                  </a:cubicBezTo>
                  <a:cubicBezTo>
                    <a:pt x="4032" y="610"/>
                    <a:pt x="4032" y="610"/>
                    <a:pt x="4032" y="610"/>
                  </a:cubicBezTo>
                  <a:cubicBezTo>
                    <a:pt x="4032" y="610"/>
                    <a:pt x="4032" y="610"/>
                    <a:pt x="4032" y="610"/>
                  </a:cubicBezTo>
                  <a:cubicBezTo>
                    <a:pt x="4032" y="610"/>
                    <a:pt x="4032" y="610"/>
                    <a:pt x="4032" y="610"/>
                  </a:cubicBezTo>
                  <a:cubicBezTo>
                    <a:pt x="4036" y="609"/>
                    <a:pt x="4041" y="607"/>
                    <a:pt x="4044" y="603"/>
                  </a:cubicBezTo>
                  <a:cubicBezTo>
                    <a:pt x="4046" y="599"/>
                    <a:pt x="4048" y="595"/>
                    <a:pt x="4048" y="590"/>
                  </a:cubicBezTo>
                  <a:cubicBezTo>
                    <a:pt x="4048" y="588"/>
                    <a:pt x="4047" y="586"/>
                    <a:pt x="4047" y="584"/>
                  </a:cubicBezTo>
                  <a:cubicBezTo>
                    <a:pt x="4047" y="584"/>
                    <a:pt x="4047" y="584"/>
                    <a:pt x="4047" y="584"/>
                  </a:cubicBezTo>
                  <a:cubicBezTo>
                    <a:pt x="4047" y="584"/>
                    <a:pt x="4047" y="584"/>
                    <a:pt x="4047" y="584"/>
                  </a:cubicBezTo>
                  <a:cubicBezTo>
                    <a:pt x="4046" y="580"/>
                    <a:pt x="4044" y="578"/>
                    <a:pt x="4043" y="576"/>
                  </a:cubicBezTo>
                  <a:cubicBezTo>
                    <a:pt x="4042" y="574"/>
                    <a:pt x="4041" y="572"/>
                    <a:pt x="4040" y="571"/>
                  </a:cubicBezTo>
                  <a:cubicBezTo>
                    <a:pt x="4040" y="571"/>
                    <a:pt x="4040" y="571"/>
                    <a:pt x="4040" y="571"/>
                  </a:cubicBezTo>
                  <a:cubicBezTo>
                    <a:pt x="4039" y="571"/>
                    <a:pt x="4039" y="570"/>
                    <a:pt x="4039" y="570"/>
                  </a:cubicBezTo>
                  <a:cubicBezTo>
                    <a:pt x="4039" y="569"/>
                    <a:pt x="4039" y="569"/>
                    <a:pt x="4039" y="569"/>
                  </a:cubicBezTo>
                  <a:cubicBezTo>
                    <a:pt x="4038" y="569"/>
                    <a:pt x="4038" y="569"/>
                    <a:pt x="4038" y="569"/>
                  </a:cubicBezTo>
                  <a:cubicBezTo>
                    <a:pt x="4034" y="572"/>
                    <a:pt x="4034" y="572"/>
                    <a:pt x="4034" y="572"/>
                  </a:cubicBezTo>
                  <a:cubicBezTo>
                    <a:pt x="4039" y="570"/>
                    <a:pt x="4039" y="570"/>
                    <a:pt x="4039" y="570"/>
                  </a:cubicBezTo>
                  <a:cubicBezTo>
                    <a:pt x="4039" y="570"/>
                    <a:pt x="4039" y="570"/>
                    <a:pt x="4038" y="569"/>
                  </a:cubicBezTo>
                  <a:cubicBezTo>
                    <a:pt x="4034" y="572"/>
                    <a:pt x="4034" y="572"/>
                    <a:pt x="4034" y="572"/>
                  </a:cubicBezTo>
                  <a:cubicBezTo>
                    <a:pt x="4039" y="570"/>
                    <a:pt x="4039" y="570"/>
                    <a:pt x="4039" y="570"/>
                  </a:cubicBezTo>
                  <a:cubicBezTo>
                    <a:pt x="4030" y="573"/>
                    <a:pt x="4030" y="573"/>
                    <a:pt x="4030" y="573"/>
                  </a:cubicBezTo>
                  <a:cubicBezTo>
                    <a:pt x="4039" y="573"/>
                    <a:pt x="4039" y="573"/>
                    <a:pt x="4039" y="573"/>
                  </a:cubicBezTo>
                  <a:cubicBezTo>
                    <a:pt x="4039" y="572"/>
                    <a:pt x="4039" y="571"/>
                    <a:pt x="4039" y="570"/>
                  </a:cubicBezTo>
                  <a:cubicBezTo>
                    <a:pt x="4030" y="573"/>
                    <a:pt x="4030" y="573"/>
                    <a:pt x="4030" y="573"/>
                  </a:cubicBezTo>
                  <a:cubicBezTo>
                    <a:pt x="4039" y="573"/>
                    <a:pt x="4039" y="573"/>
                    <a:pt x="4039" y="573"/>
                  </a:cubicBezTo>
                  <a:cubicBezTo>
                    <a:pt x="4029" y="573"/>
                    <a:pt x="4029" y="573"/>
                    <a:pt x="4029" y="573"/>
                  </a:cubicBezTo>
                  <a:cubicBezTo>
                    <a:pt x="4039" y="577"/>
                    <a:pt x="4039" y="577"/>
                    <a:pt x="4039" y="577"/>
                  </a:cubicBezTo>
                  <a:cubicBezTo>
                    <a:pt x="4039" y="576"/>
                    <a:pt x="4039" y="574"/>
                    <a:pt x="4039" y="573"/>
                  </a:cubicBezTo>
                  <a:cubicBezTo>
                    <a:pt x="4029" y="573"/>
                    <a:pt x="4029" y="573"/>
                    <a:pt x="4029" y="573"/>
                  </a:cubicBezTo>
                  <a:cubicBezTo>
                    <a:pt x="4039" y="577"/>
                    <a:pt x="4039" y="577"/>
                    <a:pt x="4039" y="577"/>
                  </a:cubicBezTo>
                  <a:cubicBezTo>
                    <a:pt x="4029" y="574"/>
                    <a:pt x="4029" y="574"/>
                    <a:pt x="4029" y="574"/>
                  </a:cubicBezTo>
                  <a:cubicBezTo>
                    <a:pt x="4036" y="581"/>
                    <a:pt x="4036" y="581"/>
                    <a:pt x="4036" y="581"/>
                  </a:cubicBezTo>
                  <a:cubicBezTo>
                    <a:pt x="4037" y="580"/>
                    <a:pt x="4038" y="579"/>
                    <a:pt x="4039" y="577"/>
                  </a:cubicBezTo>
                  <a:cubicBezTo>
                    <a:pt x="4029" y="574"/>
                    <a:pt x="4029" y="574"/>
                    <a:pt x="4029" y="574"/>
                  </a:cubicBezTo>
                  <a:cubicBezTo>
                    <a:pt x="4036" y="581"/>
                    <a:pt x="4036" y="581"/>
                    <a:pt x="4036" y="581"/>
                  </a:cubicBezTo>
                  <a:cubicBezTo>
                    <a:pt x="4030" y="575"/>
                    <a:pt x="4030" y="575"/>
                    <a:pt x="4030" y="575"/>
                  </a:cubicBezTo>
                  <a:cubicBezTo>
                    <a:pt x="4034" y="582"/>
                    <a:pt x="4034" y="582"/>
                    <a:pt x="4034" y="582"/>
                  </a:cubicBezTo>
                  <a:cubicBezTo>
                    <a:pt x="4035" y="582"/>
                    <a:pt x="4035" y="582"/>
                    <a:pt x="4036" y="581"/>
                  </a:cubicBezTo>
                  <a:cubicBezTo>
                    <a:pt x="4030" y="575"/>
                    <a:pt x="4030" y="575"/>
                    <a:pt x="4030" y="575"/>
                  </a:cubicBezTo>
                  <a:cubicBezTo>
                    <a:pt x="4034" y="582"/>
                    <a:pt x="4034" y="582"/>
                    <a:pt x="4034" y="582"/>
                  </a:cubicBezTo>
                  <a:cubicBezTo>
                    <a:pt x="4032" y="578"/>
                    <a:pt x="4032" y="578"/>
                    <a:pt x="4032" y="578"/>
                  </a:cubicBezTo>
                  <a:cubicBezTo>
                    <a:pt x="4034" y="583"/>
                    <a:pt x="4034" y="583"/>
                    <a:pt x="4034" y="583"/>
                  </a:cubicBezTo>
                  <a:cubicBezTo>
                    <a:pt x="4034" y="582"/>
                    <a:pt x="4034" y="582"/>
                    <a:pt x="4034" y="582"/>
                  </a:cubicBezTo>
                  <a:cubicBezTo>
                    <a:pt x="4032" y="578"/>
                    <a:pt x="4032" y="578"/>
                    <a:pt x="4032" y="578"/>
                  </a:cubicBezTo>
                  <a:cubicBezTo>
                    <a:pt x="4034" y="583"/>
                    <a:pt x="4034" y="583"/>
                    <a:pt x="4034" y="583"/>
                  </a:cubicBezTo>
                  <a:cubicBezTo>
                    <a:pt x="4033" y="582"/>
                    <a:pt x="4033" y="582"/>
                    <a:pt x="4033" y="582"/>
                  </a:cubicBezTo>
                  <a:cubicBezTo>
                    <a:pt x="4034" y="583"/>
                    <a:pt x="4034" y="583"/>
                    <a:pt x="4034" y="583"/>
                  </a:cubicBezTo>
                  <a:cubicBezTo>
                    <a:pt x="4034" y="583"/>
                    <a:pt x="4034" y="583"/>
                    <a:pt x="4034" y="583"/>
                  </a:cubicBezTo>
                  <a:cubicBezTo>
                    <a:pt x="4033" y="582"/>
                    <a:pt x="4033" y="582"/>
                    <a:pt x="4033" y="582"/>
                  </a:cubicBezTo>
                  <a:cubicBezTo>
                    <a:pt x="4034" y="583"/>
                    <a:pt x="4034" y="583"/>
                    <a:pt x="4034" y="583"/>
                  </a:cubicBezTo>
                  <a:cubicBezTo>
                    <a:pt x="4034" y="583"/>
                    <a:pt x="4034" y="583"/>
                    <a:pt x="4035" y="582"/>
                  </a:cubicBezTo>
                  <a:cubicBezTo>
                    <a:pt x="4035" y="582"/>
                    <a:pt x="4035" y="582"/>
                    <a:pt x="4035" y="582"/>
                  </a:cubicBezTo>
                  <a:cubicBezTo>
                    <a:pt x="4035" y="582"/>
                    <a:pt x="4035" y="582"/>
                    <a:pt x="4035" y="582"/>
                  </a:cubicBezTo>
                  <a:cubicBezTo>
                    <a:pt x="4035" y="580"/>
                    <a:pt x="4035" y="580"/>
                    <a:pt x="4035" y="580"/>
                  </a:cubicBezTo>
                  <a:cubicBezTo>
                    <a:pt x="4035" y="582"/>
                    <a:pt x="4035" y="582"/>
                    <a:pt x="4035" y="582"/>
                  </a:cubicBezTo>
                  <a:cubicBezTo>
                    <a:pt x="4035" y="582"/>
                    <a:pt x="4035" y="582"/>
                    <a:pt x="4035" y="582"/>
                  </a:cubicBezTo>
                  <a:cubicBezTo>
                    <a:pt x="4035" y="580"/>
                    <a:pt x="4035" y="580"/>
                    <a:pt x="4035" y="580"/>
                  </a:cubicBezTo>
                  <a:cubicBezTo>
                    <a:pt x="4035" y="582"/>
                    <a:pt x="4035" y="582"/>
                    <a:pt x="4035" y="582"/>
                  </a:cubicBezTo>
                  <a:cubicBezTo>
                    <a:pt x="4035" y="582"/>
                    <a:pt x="4035" y="582"/>
                    <a:pt x="4035" y="582"/>
                  </a:cubicBezTo>
                  <a:cubicBezTo>
                    <a:pt x="4035" y="582"/>
                    <a:pt x="4035" y="582"/>
                    <a:pt x="4035" y="582"/>
                  </a:cubicBezTo>
                  <a:cubicBezTo>
                    <a:pt x="4035" y="582"/>
                    <a:pt x="4035" y="582"/>
                    <a:pt x="4035" y="582"/>
                  </a:cubicBezTo>
                  <a:cubicBezTo>
                    <a:pt x="4035" y="582"/>
                    <a:pt x="4035" y="582"/>
                    <a:pt x="4035" y="582"/>
                  </a:cubicBezTo>
                  <a:cubicBezTo>
                    <a:pt x="4035" y="582"/>
                    <a:pt x="4035" y="582"/>
                    <a:pt x="4035" y="582"/>
                  </a:cubicBezTo>
                  <a:cubicBezTo>
                    <a:pt x="4035" y="582"/>
                    <a:pt x="4035" y="582"/>
                    <a:pt x="4036" y="582"/>
                  </a:cubicBezTo>
                  <a:cubicBezTo>
                    <a:pt x="4036" y="582"/>
                    <a:pt x="4038" y="582"/>
                    <a:pt x="4039" y="582"/>
                  </a:cubicBezTo>
                  <a:cubicBezTo>
                    <a:pt x="4040" y="582"/>
                    <a:pt x="4041" y="582"/>
                    <a:pt x="4042" y="582"/>
                  </a:cubicBezTo>
                  <a:cubicBezTo>
                    <a:pt x="4042" y="582"/>
                    <a:pt x="4042" y="582"/>
                    <a:pt x="4042" y="582"/>
                  </a:cubicBezTo>
                  <a:cubicBezTo>
                    <a:pt x="4042" y="582"/>
                    <a:pt x="4042" y="582"/>
                    <a:pt x="4042" y="582"/>
                  </a:cubicBezTo>
                  <a:cubicBezTo>
                    <a:pt x="4042" y="582"/>
                    <a:pt x="4042" y="582"/>
                    <a:pt x="4043" y="582"/>
                  </a:cubicBezTo>
                  <a:cubicBezTo>
                    <a:pt x="4044" y="582"/>
                    <a:pt x="4044" y="582"/>
                    <a:pt x="4044" y="582"/>
                  </a:cubicBezTo>
                  <a:cubicBezTo>
                    <a:pt x="4045" y="582"/>
                    <a:pt x="4047" y="582"/>
                    <a:pt x="4049" y="582"/>
                  </a:cubicBezTo>
                  <a:cubicBezTo>
                    <a:pt x="4050" y="582"/>
                    <a:pt x="4052" y="581"/>
                    <a:pt x="4053" y="581"/>
                  </a:cubicBezTo>
                  <a:cubicBezTo>
                    <a:pt x="4055" y="580"/>
                    <a:pt x="4057" y="579"/>
                    <a:pt x="4058" y="577"/>
                  </a:cubicBezTo>
                  <a:cubicBezTo>
                    <a:pt x="4058" y="577"/>
                    <a:pt x="4058" y="577"/>
                    <a:pt x="4058" y="577"/>
                  </a:cubicBezTo>
                  <a:cubicBezTo>
                    <a:pt x="4060" y="576"/>
                    <a:pt x="4061" y="575"/>
                    <a:pt x="4062" y="575"/>
                  </a:cubicBezTo>
                  <a:cubicBezTo>
                    <a:pt x="4064" y="574"/>
                    <a:pt x="4066" y="574"/>
                    <a:pt x="4068" y="574"/>
                  </a:cubicBezTo>
                  <a:cubicBezTo>
                    <a:pt x="4070" y="574"/>
                    <a:pt x="4071" y="574"/>
                    <a:pt x="4073" y="574"/>
                  </a:cubicBezTo>
                  <a:cubicBezTo>
                    <a:pt x="4073" y="574"/>
                    <a:pt x="4073" y="574"/>
                    <a:pt x="4073" y="574"/>
                  </a:cubicBezTo>
                  <a:cubicBezTo>
                    <a:pt x="4074" y="574"/>
                    <a:pt x="4074" y="574"/>
                    <a:pt x="4075" y="574"/>
                  </a:cubicBezTo>
                  <a:cubicBezTo>
                    <a:pt x="4078" y="574"/>
                    <a:pt x="4080" y="574"/>
                    <a:pt x="4082" y="573"/>
                  </a:cubicBezTo>
                  <a:cubicBezTo>
                    <a:pt x="4086" y="572"/>
                    <a:pt x="4090" y="570"/>
                    <a:pt x="4092" y="568"/>
                  </a:cubicBezTo>
                  <a:cubicBezTo>
                    <a:pt x="4095" y="565"/>
                    <a:pt x="4097" y="562"/>
                    <a:pt x="4098" y="559"/>
                  </a:cubicBezTo>
                  <a:cubicBezTo>
                    <a:pt x="4103" y="548"/>
                    <a:pt x="4108" y="538"/>
                    <a:pt x="4113" y="526"/>
                  </a:cubicBezTo>
                  <a:cubicBezTo>
                    <a:pt x="4113" y="526"/>
                    <a:pt x="4113" y="526"/>
                    <a:pt x="4113" y="526"/>
                  </a:cubicBezTo>
                  <a:cubicBezTo>
                    <a:pt x="4115" y="520"/>
                    <a:pt x="4115" y="514"/>
                    <a:pt x="4116" y="510"/>
                  </a:cubicBezTo>
                  <a:cubicBezTo>
                    <a:pt x="4116" y="510"/>
                    <a:pt x="4116" y="510"/>
                    <a:pt x="4116" y="510"/>
                  </a:cubicBezTo>
                  <a:cubicBezTo>
                    <a:pt x="4116" y="508"/>
                    <a:pt x="4116" y="507"/>
                    <a:pt x="4116" y="506"/>
                  </a:cubicBezTo>
                  <a:cubicBezTo>
                    <a:pt x="4116" y="499"/>
                    <a:pt x="4114" y="491"/>
                    <a:pt x="4111" y="484"/>
                  </a:cubicBezTo>
                  <a:cubicBezTo>
                    <a:pt x="4111" y="484"/>
                    <a:pt x="4111" y="484"/>
                    <a:pt x="4111" y="484"/>
                  </a:cubicBezTo>
                  <a:cubicBezTo>
                    <a:pt x="4110" y="484"/>
                    <a:pt x="4110" y="482"/>
                    <a:pt x="4110" y="480"/>
                  </a:cubicBezTo>
                  <a:cubicBezTo>
                    <a:pt x="4110" y="477"/>
                    <a:pt x="4110" y="474"/>
                    <a:pt x="4109" y="471"/>
                  </a:cubicBezTo>
                  <a:cubicBezTo>
                    <a:pt x="4109" y="471"/>
                    <a:pt x="4109" y="471"/>
                    <a:pt x="4109" y="471"/>
                  </a:cubicBezTo>
                  <a:cubicBezTo>
                    <a:pt x="4109" y="468"/>
                    <a:pt x="4109" y="465"/>
                    <a:pt x="4108" y="460"/>
                  </a:cubicBezTo>
                  <a:cubicBezTo>
                    <a:pt x="4107" y="458"/>
                    <a:pt x="4106" y="456"/>
                    <a:pt x="4104" y="454"/>
                  </a:cubicBezTo>
                  <a:cubicBezTo>
                    <a:pt x="4102" y="452"/>
                    <a:pt x="4099" y="450"/>
                    <a:pt x="4097" y="448"/>
                  </a:cubicBezTo>
                  <a:cubicBezTo>
                    <a:pt x="4097" y="448"/>
                    <a:pt x="4097" y="448"/>
                    <a:pt x="4097" y="448"/>
                  </a:cubicBezTo>
                  <a:cubicBezTo>
                    <a:pt x="4094" y="447"/>
                    <a:pt x="4090" y="446"/>
                    <a:pt x="4087" y="446"/>
                  </a:cubicBezTo>
                  <a:cubicBezTo>
                    <a:pt x="4084" y="446"/>
                    <a:pt x="4081" y="447"/>
                    <a:pt x="4078" y="449"/>
                  </a:cubicBezTo>
                  <a:cubicBezTo>
                    <a:pt x="4075" y="450"/>
                    <a:pt x="4072" y="451"/>
                    <a:pt x="4070" y="453"/>
                  </a:cubicBezTo>
                  <a:cubicBezTo>
                    <a:pt x="4070" y="453"/>
                    <a:pt x="4070" y="453"/>
                    <a:pt x="4070" y="453"/>
                  </a:cubicBezTo>
                  <a:cubicBezTo>
                    <a:pt x="4069" y="454"/>
                    <a:pt x="4069" y="454"/>
                    <a:pt x="4069" y="454"/>
                  </a:cubicBezTo>
                  <a:cubicBezTo>
                    <a:pt x="4068" y="455"/>
                    <a:pt x="4068" y="455"/>
                    <a:pt x="4068" y="455"/>
                  </a:cubicBezTo>
                  <a:cubicBezTo>
                    <a:pt x="4068" y="456"/>
                    <a:pt x="4068" y="456"/>
                    <a:pt x="4068" y="456"/>
                  </a:cubicBezTo>
                  <a:cubicBezTo>
                    <a:pt x="4067" y="457"/>
                    <a:pt x="4066" y="457"/>
                    <a:pt x="4065" y="458"/>
                  </a:cubicBezTo>
                  <a:cubicBezTo>
                    <a:pt x="4063" y="459"/>
                    <a:pt x="4061" y="459"/>
                    <a:pt x="4058" y="460"/>
                  </a:cubicBezTo>
                  <a:cubicBezTo>
                    <a:pt x="4058" y="460"/>
                    <a:pt x="4058" y="460"/>
                    <a:pt x="4058" y="460"/>
                  </a:cubicBezTo>
                  <a:cubicBezTo>
                    <a:pt x="4055" y="461"/>
                    <a:pt x="4051" y="462"/>
                    <a:pt x="4047" y="464"/>
                  </a:cubicBezTo>
                  <a:cubicBezTo>
                    <a:pt x="4047" y="464"/>
                    <a:pt x="4047" y="464"/>
                    <a:pt x="4047" y="464"/>
                  </a:cubicBezTo>
                  <a:cubicBezTo>
                    <a:pt x="4047" y="465"/>
                    <a:pt x="4047" y="465"/>
                    <a:pt x="4047" y="465"/>
                  </a:cubicBezTo>
                  <a:cubicBezTo>
                    <a:pt x="4047" y="465"/>
                    <a:pt x="4047" y="465"/>
                    <a:pt x="4047" y="465"/>
                  </a:cubicBezTo>
                  <a:cubicBezTo>
                    <a:pt x="4049" y="470"/>
                    <a:pt x="4049" y="470"/>
                    <a:pt x="4049" y="470"/>
                  </a:cubicBezTo>
                  <a:cubicBezTo>
                    <a:pt x="4049" y="465"/>
                    <a:pt x="4049" y="465"/>
                    <a:pt x="4049" y="465"/>
                  </a:cubicBezTo>
                  <a:cubicBezTo>
                    <a:pt x="4047" y="465"/>
                    <a:pt x="4047" y="465"/>
                    <a:pt x="4047" y="465"/>
                  </a:cubicBezTo>
                  <a:cubicBezTo>
                    <a:pt x="4049" y="470"/>
                    <a:pt x="4049" y="470"/>
                    <a:pt x="4049" y="470"/>
                  </a:cubicBezTo>
                  <a:cubicBezTo>
                    <a:pt x="4049" y="465"/>
                    <a:pt x="4049" y="465"/>
                    <a:pt x="4049" y="465"/>
                  </a:cubicBezTo>
                  <a:cubicBezTo>
                    <a:pt x="4049" y="474"/>
                    <a:pt x="4049" y="474"/>
                    <a:pt x="4049" y="474"/>
                  </a:cubicBezTo>
                  <a:cubicBezTo>
                    <a:pt x="4053" y="465"/>
                    <a:pt x="4053" y="465"/>
                    <a:pt x="4053" y="465"/>
                  </a:cubicBezTo>
                  <a:cubicBezTo>
                    <a:pt x="4051" y="465"/>
                    <a:pt x="4050" y="465"/>
                    <a:pt x="4049" y="465"/>
                  </a:cubicBezTo>
                  <a:cubicBezTo>
                    <a:pt x="4049" y="474"/>
                    <a:pt x="4049" y="474"/>
                    <a:pt x="4049" y="474"/>
                  </a:cubicBezTo>
                  <a:cubicBezTo>
                    <a:pt x="4053" y="465"/>
                    <a:pt x="4053" y="465"/>
                    <a:pt x="4053" y="465"/>
                  </a:cubicBezTo>
                  <a:cubicBezTo>
                    <a:pt x="4048" y="474"/>
                    <a:pt x="4048" y="474"/>
                    <a:pt x="4048" y="474"/>
                  </a:cubicBezTo>
                  <a:cubicBezTo>
                    <a:pt x="4055" y="468"/>
                    <a:pt x="4055" y="468"/>
                    <a:pt x="4055" y="468"/>
                  </a:cubicBezTo>
                  <a:cubicBezTo>
                    <a:pt x="4055" y="467"/>
                    <a:pt x="4054" y="466"/>
                    <a:pt x="4053" y="465"/>
                  </a:cubicBezTo>
                  <a:cubicBezTo>
                    <a:pt x="4048" y="474"/>
                    <a:pt x="4048" y="474"/>
                    <a:pt x="4048" y="474"/>
                  </a:cubicBezTo>
                  <a:cubicBezTo>
                    <a:pt x="4055" y="468"/>
                    <a:pt x="4055" y="468"/>
                    <a:pt x="4055" y="468"/>
                  </a:cubicBezTo>
                  <a:cubicBezTo>
                    <a:pt x="4049" y="473"/>
                    <a:pt x="4049" y="473"/>
                    <a:pt x="4049" y="473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7" y="470"/>
                    <a:pt x="4056" y="469"/>
                    <a:pt x="4055" y="468"/>
                  </a:cubicBezTo>
                  <a:cubicBezTo>
                    <a:pt x="4049" y="473"/>
                    <a:pt x="4049" y="473"/>
                    <a:pt x="4049" y="473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3" y="472"/>
                    <a:pt x="4053" y="472"/>
                    <a:pt x="4053" y="472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3" y="472"/>
                    <a:pt x="4053" y="472"/>
                    <a:pt x="4053" y="472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1" y="471"/>
                    <a:pt x="4051" y="471"/>
                    <a:pt x="4051" y="471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1" y="471"/>
                    <a:pt x="4051" y="471"/>
                    <a:pt x="4051" y="471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5" y="471"/>
                    <a:pt x="4055" y="471"/>
                    <a:pt x="4055" y="471"/>
                  </a:cubicBezTo>
                  <a:cubicBezTo>
                    <a:pt x="4057" y="472"/>
                    <a:pt x="4057" y="472"/>
                    <a:pt x="4057" y="472"/>
                  </a:cubicBezTo>
                  <a:cubicBezTo>
                    <a:pt x="4057" y="471"/>
                    <a:pt x="4057" y="471"/>
                    <a:pt x="4057" y="471"/>
                  </a:cubicBezTo>
                  <a:cubicBezTo>
                    <a:pt x="4055" y="471"/>
                    <a:pt x="4055" y="471"/>
                    <a:pt x="4055" y="471"/>
                  </a:cubicBezTo>
                  <a:cubicBezTo>
                    <a:pt x="4057" y="472"/>
                    <a:pt x="4057" y="472"/>
                    <a:pt x="4057" y="472"/>
                  </a:cubicBezTo>
                  <a:cubicBezTo>
                    <a:pt x="4057" y="472"/>
                    <a:pt x="4057" y="472"/>
                    <a:pt x="4057" y="472"/>
                  </a:cubicBezTo>
                  <a:cubicBezTo>
                    <a:pt x="4057" y="472"/>
                    <a:pt x="4057" y="472"/>
                    <a:pt x="4057" y="472"/>
                  </a:cubicBezTo>
                  <a:cubicBezTo>
                    <a:pt x="4057" y="472"/>
                    <a:pt x="4057" y="472"/>
                    <a:pt x="4057" y="472"/>
                  </a:cubicBezTo>
                  <a:cubicBezTo>
                    <a:pt x="4057" y="472"/>
                    <a:pt x="4057" y="472"/>
                    <a:pt x="4057" y="472"/>
                  </a:cubicBezTo>
                  <a:cubicBezTo>
                    <a:pt x="4057" y="472"/>
                    <a:pt x="4057" y="472"/>
                    <a:pt x="4057" y="472"/>
                  </a:cubicBezTo>
                  <a:cubicBezTo>
                    <a:pt x="4058" y="471"/>
                    <a:pt x="4058" y="471"/>
                    <a:pt x="4058" y="471"/>
                  </a:cubicBezTo>
                  <a:cubicBezTo>
                    <a:pt x="4058" y="470"/>
                    <a:pt x="4058" y="470"/>
                    <a:pt x="4058" y="470"/>
                  </a:cubicBezTo>
                  <a:cubicBezTo>
                    <a:pt x="4058" y="470"/>
                    <a:pt x="4058" y="470"/>
                    <a:pt x="4058" y="470"/>
                  </a:cubicBezTo>
                  <a:cubicBezTo>
                    <a:pt x="4058" y="470"/>
                    <a:pt x="4058" y="470"/>
                    <a:pt x="4058" y="470"/>
                  </a:cubicBezTo>
                  <a:cubicBezTo>
                    <a:pt x="4060" y="468"/>
                    <a:pt x="4062" y="466"/>
                    <a:pt x="4063" y="463"/>
                  </a:cubicBezTo>
                  <a:cubicBezTo>
                    <a:pt x="4064" y="460"/>
                    <a:pt x="4065" y="456"/>
                    <a:pt x="4065" y="453"/>
                  </a:cubicBezTo>
                  <a:cubicBezTo>
                    <a:pt x="4065" y="448"/>
                    <a:pt x="4063" y="443"/>
                    <a:pt x="4061" y="440"/>
                  </a:cubicBezTo>
                  <a:cubicBezTo>
                    <a:pt x="4061" y="439"/>
                    <a:pt x="4061" y="439"/>
                    <a:pt x="4061" y="439"/>
                  </a:cubicBezTo>
                  <a:cubicBezTo>
                    <a:pt x="4061" y="439"/>
                    <a:pt x="4060" y="438"/>
                    <a:pt x="4060" y="437"/>
                  </a:cubicBezTo>
                  <a:cubicBezTo>
                    <a:pt x="4060" y="437"/>
                    <a:pt x="4060" y="437"/>
                    <a:pt x="4060" y="437"/>
                  </a:cubicBezTo>
                  <a:cubicBezTo>
                    <a:pt x="4059" y="436"/>
                    <a:pt x="4059" y="436"/>
                    <a:pt x="4059" y="435"/>
                  </a:cubicBezTo>
                  <a:cubicBezTo>
                    <a:pt x="4059" y="435"/>
                    <a:pt x="4059" y="435"/>
                    <a:pt x="4059" y="435"/>
                  </a:cubicBezTo>
                  <a:cubicBezTo>
                    <a:pt x="4058" y="436"/>
                    <a:pt x="4058" y="436"/>
                    <a:pt x="4058" y="436"/>
                  </a:cubicBezTo>
                  <a:cubicBezTo>
                    <a:pt x="4059" y="435"/>
                    <a:pt x="4059" y="435"/>
                    <a:pt x="4059" y="435"/>
                  </a:cubicBezTo>
                  <a:cubicBezTo>
                    <a:pt x="4059" y="435"/>
                    <a:pt x="4059" y="435"/>
                    <a:pt x="4059" y="435"/>
                  </a:cubicBezTo>
                  <a:cubicBezTo>
                    <a:pt x="4058" y="436"/>
                    <a:pt x="4058" y="436"/>
                    <a:pt x="4058" y="436"/>
                  </a:cubicBezTo>
                  <a:cubicBezTo>
                    <a:pt x="4059" y="435"/>
                    <a:pt x="4059" y="435"/>
                    <a:pt x="4059" y="435"/>
                  </a:cubicBezTo>
                  <a:cubicBezTo>
                    <a:pt x="4056" y="436"/>
                    <a:pt x="4056" y="436"/>
                    <a:pt x="4056" y="436"/>
                  </a:cubicBezTo>
                  <a:cubicBezTo>
                    <a:pt x="4059" y="436"/>
                    <a:pt x="4059" y="436"/>
                    <a:pt x="4059" y="436"/>
                  </a:cubicBezTo>
                  <a:cubicBezTo>
                    <a:pt x="4059" y="435"/>
                    <a:pt x="4059" y="435"/>
                    <a:pt x="4059" y="435"/>
                  </a:cubicBezTo>
                  <a:cubicBezTo>
                    <a:pt x="4056" y="436"/>
                    <a:pt x="4056" y="436"/>
                    <a:pt x="4056" y="436"/>
                  </a:cubicBezTo>
                  <a:cubicBezTo>
                    <a:pt x="4059" y="436"/>
                    <a:pt x="4059" y="436"/>
                    <a:pt x="4059" y="436"/>
                  </a:cubicBezTo>
                  <a:cubicBezTo>
                    <a:pt x="4054" y="436"/>
                    <a:pt x="4054" y="436"/>
                    <a:pt x="4054" y="436"/>
                  </a:cubicBezTo>
                  <a:cubicBezTo>
                    <a:pt x="4059" y="437"/>
                    <a:pt x="4059" y="437"/>
                    <a:pt x="4059" y="437"/>
                  </a:cubicBezTo>
                  <a:cubicBezTo>
                    <a:pt x="4059" y="437"/>
                    <a:pt x="4059" y="436"/>
                    <a:pt x="4059" y="436"/>
                  </a:cubicBezTo>
                  <a:cubicBezTo>
                    <a:pt x="4054" y="436"/>
                    <a:pt x="4054" y="436"/>
                    <a:pt x="4054" y="436"/>
                  </a:cubicBezTo>
                  <a:cubicBezTo>
                    <a:pt x="4059" y="437"/>
                    <a:pt x="4059" y="437"/>
                    <a:pt x="4059" y="437"/>
                  </a:cubicBezTo>
                  <a:cubicBezTo>
                    <a:pt x="4055" y="436"/>
                    <a:pt x="4055" y="436"/>
                    <a:pt x="4055" y="436"/>
                  </a:cubicBezTo>
                  <a:cubicBezTo>
                    <a:pt x="4059" y="438"/>
                    <a:pt x="4059" y="438"/>
                    <a:pt x="4059" y="438"/>
                  </a:cubicBezTo>
                  <a:cubicBezTo>
                    <a:pt x="4059" y="437"/>
                    <a:pt x="4059" y="437"/>
                    <a:pt x="4059" y="437"/>
                  </a:cubicBezTo>
                  <a:cubicBezTo>
                    <a:pt x="4055" y="436"/>
                    <a:pt x="4055" y="436"/>
                    <a:pt x="4055" y="436"/>
                  </a:cubicBezTo>
                  <a:cubicBezTo>
                    <a:pt x="4059" y="438"/>
                    <a:pt x="4059" y="438"/>
                    <a:pt x="4059" y="438"/>
                  </a:cubicBezTo>
                  <a:cubicBezTo>
                    <a:pt x="4057" y="437"/>
                    <a:pt x="4057" y="437"/>
                    <a:pt x="4057" y="437"/>
                  </a:cubicBezTo>
                  <a:cubicBezTo>
                    <a:pt x="4058" y="438"/>
                    <a:pt x="4058" y="438"/>
                    <a:pt x="4058" y="438"/>
                  </a:cubicBezTo>
                  <a:cubicBezTo>
                    <a:pt x="4059" y="438"/>
                    <a:pt x="4059" y="438"/>
                    <a:pt x="4059" y="438"/>
                  </a:cubicBezTo>
                  <a:cubicBezTo>
                    <a:pt x="4057" y="437"/>
                    <a:pt x="4057" y="437"/>
                    <a:pt x="4057" y="437"/>
                  </a:cubicBezTo>
                  <a:cubicBezTo>
                    <a:pt x="4058" y="438"/>
                    <a:pt x="4058" y="438"/>
                    <a:pt x="4058" y="438"/>
                  </a:cubicBezTo>
                  <a:cubicBezTo>
                    <a:pt x="4059" y="438"/>
                    <a:pt x="4059" y="438"/>
                    <a:pt x="4060" y="437"/>
                  </a:cubicBezTo>
                  <a:cubicBezTo>
                    <a:pt x="4060" y="437"/>
                    <a:pt x="4060" y="437"/>
                    <a:pt x="4060" y="437"/>
                  </a:cubicBezTo>
                  <a:cubicBezTo>
                    <a:pt x="4057" y="433"/>
                    <a:pt x="4057" y="433"/>
                    <a:pt x="4057" y="433"/>
                  </a:cubicBezTo>
                  <a:cubicBezTo>
                    <a:pt x="4059" y="437"/>
                    <a:pt x="4059" y="437"/>
                    <a:pt x="4059" y="437"/>
                  </a:cubicBezTo>
                  <a:cubicBezTo>
                    <a:pt x="4060" y="437"/>
                    <a:pt x="4060" y="437"/>
                    <a:pt x="4060" y="437"/>
                  </a:cubicBezTo>
                  <a:cubicBezTo>
                    <a:pt x="4057" y="433"/>
                    <a:pt x="4057" y="433"/>
                    <a:pt x="4057" y="433"/>
                  </a:cubicBezTo>
                  <a:cubicBezTo>
                    <a:pt x="4059" y="437"/>
                    <a:pt x="4059" y="437"/>
                    <a:pt x="4059" y="437"/>
                  </a:cubicBezTo>
                  <a:cubicBezTo>
                    <a:pt x="4056" y="431"/>
                    <a:pt x="4056" y="431"/>
                    <a:pt x="4056" y="431"/>
                  </a:cubicBezTo>
                  <a:cubicBezTo>
                    <a:pt x="4056" y="438"/>
                    <a:pt x="4056" y="438"/>
                    <a:pt x="4056" y="438"/>
                  </a:cubicBezTo>
                  <a:cubicBezTo>
                    <a:pt x="4057" y="438"/>
                    <a:pt x="4058" y="438"/>
                    <a:pt x="4059" y="437"/>
                  </a:cubicBezTo>
                  <a:cubicBezTo>
                    <a:pt x="4056" y="431"/>
                    <a:pt x="4056" y="431"/>
                    <a:pt x="4056" y="431"/>
                  </a:cubicBezTo>
                  <a:cubicBezTo>
                    <a:pt x="4056" y="438"/>
                    <a:pt x="4056" y="438"/>
                    <a:pt x="4056" y="438"/>
                  </a:cubicBezTo>
                  <a:cubicBezTo>
                    <a:pt x="4056" y="431"/>
                    <a:pt x="4056" y="431"/>
                    <a:pt x="4056" y="431"/>
                  </a:cubicBezTo>
                  <a:cubicBezTo>
                    <a:pt x="4053" y="438"/>
                    <a:pt x="4053" y="438"/>
                    <a:pt x="4053" y="438"/>
                  </a:cubicBezTo>
                  <a:cubicBezTo>
                    <a:pt x="4054" y="438"/>
                    <a:pt x="4055" y="438"/>
                    <a:pt x="4056" y="438"/>
                  </a:cubicBezTo>
                  <a:cubicBezTo>
                    <a:pt x="4056" y="431"/>
                    <a:pt x="4056" y="431"/>
                    <a:pt x="4056" y="431"/>
                  </a:cubicBezTo>
                  <a:cubicBezTo>
                    <a:pt x="4053" y="438"/>
                    <a:pt x="4053" y="438"/>
                    <a:pt x="4053" y="438"/>
                  </a:cubicBezTo>
                  <a:cubicBezTo>
                    <a:pt x="4055" y="434"/>
                    <a:pt x="4055" y="434"/>
                    <a:pt x="4055" y="434"/>
                  </a:cubicBezTo>
                  <a:cubicBezTo>
                    <a:pt x="4053" y="438"/>
                    <a:pt x="4053" y="438"/>
                    <a:pt x="4053" y="438"/>
                  </a:cubicBezTo>
                  <a:cubicBezTo>
                    <a:pt x="4053" y="438"/>
                    <a:pt x="4053" y="438"/>
                    <a:pt x="4053" y="438"/>
                  </a:cubicBezTo>
                  <a:cubicBezTo>
                    <a:pt x="4055" y="434"/>
                    <a:pt x="4055" y="434"/>
                    <a:pt x="4055" y="434"/>
                  </a:cubicBezTo>
                  <a:cubicBezTo>
                    <a:pt x="4053" y="438"/>
                    <a:pt x="4053" y="438"/>
                    <a:pt x="4053" y="438"/>
                  </a:cubicBezTo>
                  <a:cubicBezTo>
                    <a:pt x="4053" y="438"/>
                    <a:pt x="4053" y="438"/>
                    <a:pt x="4053" y="438"/>
                  </a:cubicBezTo>
                  <a:cubicBezTo>
                    <a:pt x="4054" y="438"/>
                    <a:pt x="4054" y="438"/>
                    <a:pt x="4056" y="439"/>
                  </a:cubicBezTo>
                  <a:cubicBezTo>
                    <a:pt x="4056" y="439"/>
                    <a:pt x="4056" y="439"/>
                    <a:pt x="4056" y="439"/>
                  </a:cubicBezTo>
                  <a:cubicBezTo>
                    <a:pt x="4059" y="442"/>
                    <a:pt x="4062" y="443"/>
                    <a:pt x="4064" y="443"/>
                  </a:cubicBezTo>
                  <a:cubicBezTo>
                    <a:pt x="4064" y="443"/>
                    <a:pt x="4064" y="443"/>
                    <a:pt x="4064" y="443"/>
                  </a:cubicBezTo>
                  <a:cubicBezTo>
                    <a:pt x="4066" y="444"/>
                    <a:pt x="4069" y="445"/>
                    <a:pt x="4072" y="445"/>
                  </a:cubicBezTo>
                  <a:cubicBezTo>
                    <a:pt x="4075" y="445"/>
                    <a:pt x="4078" y="444"/>
                    <a:pt x="4081" y="443"/>
                  </a:cubicBezTo>
                  <a:cubicBezTo>
                    <a:pt x="4083" y="441"/>
                    <a:pt x="4085" y="440"/>
                    <a:pt x="4087" y="438"/>
                  </a:cubicBezTo>
                  <a:cubicBezTo>
                    <a:pt x="4087" y="438"/>
                    <a:pt x="4087" y="438"/>
                    <a:pt x="4087" y="438"/>
                  </a:cubicBezTo>
                  <a:cubicBezTo>
                    <a:pt x="4089" y="435"/>
                    <a:pt x="4091" y="432"/>
                    <a:pt x="4093" y="430"/>
                  </a:cubicBezTo>
                  <a:cubicBezTo>
                    <a:pt x="4084" y="422"/>
                    <a:pt x="4084" y="422"/>
                    <a:pt x="4084" y="422"/>
                  </a:cubicBezTo>
                  <a:cubicBezTo>
                    <a:pt x="4076" y="431"/>
                    <a:pt x="4076" y="431"/>
                    <a:pt x="4076" y="431"/>
                  </a:cubicBezTo>
                  <a:cubicBezTo>
                    <a:pt x="4079" y="434"/>
                    <a:pt x="4081" y="436"/>
                    <a:pt x="4084" y="438"/>
                  </a:cubicBezTo>
                  <a:cubicBezTo>
                    <a:pt x="4084" y="439"/>
                    <a:pt x="4084" y="439"/>
                    <a:pt x="4084" y="439"/>
                  </a:cubicBezTo>
                  <a:cubicBezTo>
                    <a:pt x="4084" y="439"/>
                    <a:pt x="4084" y="439"/>
                    <a:pt x="4084" y="439"/>
                  </a:cubicBezTo>
                  <a:cubicBezTo>
                    <a:pt x="4084" y="439"/>
                    <a:pt x="4085" y="439"/>
                    <a:pt x="4086" y="440"/>
                  </a:cubicBezTo>
                  <a:cubicBezTo>
                    <a:pt x="4087" y="441"/>
                    <a:pt x="4088" y="442"/>
                    <a:pt x="4090" y="443"/>
                  </a:cubicBezTo>
                  <a:cubicBezTo>
                    <a:pt x="4090" y="443"/>
                    <a:pt x="4090" y="443"/>
                    <a:pt x="4090" y="443"/>
                  </a:cubicBezTo>
                  <a:cubicBezTo>
                    <a:pt x="4090" y="443"/>
                    <a:pt x="4090" y="443"/>
                    <a:pt x="4090" y="443"/>
                  </a:cubicBezTo>
                  <a:cubicBezTo>
                    <a:pt x="4092" y="445"/>
                    <a:pt x="4094" y="446"/>
                    <a:pt x="4097" y="447"/>
                  </a:cubicBezTo>
                  <a:cubicBezTo>
                    <a:pt x="4100" y="448"/>
                    <a:pt x="4103" y="448"/>
                    <a:pt x="4105" y="448"/>
                  </a:cubicBezTo>
                  <a:cubicBezTo>
                    <a:pt x="4110" y="448"/>
                    <a:pt x="4115" y="447"/>
                    <a:pt x="4119" y="444"/>
                  </a:cubicBezTo>
                  <a:cubicBezTo>
                    <a:pt x="4122" y="442"/>
                    <a:pt x="4125" y="439"/>
                    <a:pt x="4128" y="435"/>
                  </a:cubicBezTo>
                  <a:cubicBezTo>
                    <a:pt x="4128" y="435"/>
                    <a:pt x="4128" y="435"/>
                    <a:pt x="4128" y="435"/>
                  </a:cubicBezTo>
                  <a:cubicBezTo>
                    <a:pt x="4130" y="432"/>
                    <a:pt x="4131" y="430"/>
                    <a:pt x="4133" y="427"/>
                  </a:cubicBezTo>
                  <a:cubicBezTo>
                    <a:pt x="4133" y="427"/>
                    <a:pt x="4133" y="427"/>
                    <a:pt x="4133" y="427"/>
                  </a:cubicBezTo>
                  <a:cubicBezTo>
                    <a:pt x="4136" y="424"/>
                    <a:pt x="4138" y="421"/>
                    <a:pt x="4140" y="417"/>
                  </a:cubicBezTo>
                  <a:cubicBezTo>
                    <a:pt x="4141" y="413"/>
                    <a:pt x="4142" y="409"/>
                    <a:pt x="4142" y="405"/>
                  </a:cubicBezTo>
                  <a:cubicBezTo>
                    <a:pt x="4142" y="404"/>
                    <a:pt x="4142" y="404"/>
                    <a:pt x="4142" y="403"/>
                  </a:cubicBezTo>
                  <a:cubicBezTo>
                    <a:pt x="4142" y="403"/>
                    <a:pt x="4142" y="403"/>
                    <a:pt x="4142" y="403"/>
                  </a:cubicBezTo>
                  <a:cubicBezTo>
                    <a:pt x="4142" y="403"/>
                    <a:pt x="4142" y="403"/>
                    <a:pt x="4142" y="403"/>
                  </a:cubicBezTo>
                  <a:cubicBezTo>
                    <a:pt x="4142" y="403"/>
                    <a:pt x="4142" y="403"/>
                    <a:pt x="4142" y="402"/>
                  </a:cubicBezTo>
                  <a:cubicBezTo>
                    <a:pt x="4142" y="401"/>
                    <a:pt x="4142" y="400"/>
                    <a:pt x="4142" y="399"/>
                  </a:cubicBezTo>
                  <a:cubicBezTo>
                    <a:pt x="4142" y="398"/>
                    <a:pt x="4143" y="397"/>
                    <a:pt x="4143" y="396"/>
                  </a:cubicBezTo>
                  <a:cubicBezTo>
                    <a:pt x="4143" y="396"/>
                    <a:pt x="4143" y="396"/>
                    <a:pt x="4143" y="396"/>
                  </a:cubicBezTo>
                  <a:cubicBezTo>
                    <a:pt x="4143" y="396"/>
                    <a:pt x="4143" y="396"/>
                    <a:pt x="4143" y="396"/>
                  </a:cubicBezTo>
                  <a:cubicBezTo>
                    <a:pt x="4145" y="392"/>
                    <a:pt x="4146" y="387"/>
                    <a:pt x="4146" y="383"/>
                  </a:cubicBezTo>
                  <a:cubicBezTo>
                    <a:pt x="4146" y="378"/>
                    <a:pt x="4145" y="372"/>
                    <a:pt x="4142" y="368"/>
                  </a:cubicBezTo>
                  <a:cubicBezTo>
                    <a:pt x="4139" y="364"/>
                    <a:pt x="4135" y="360"/>
                    <a:pt x="4131" y="357"/>
                  </a:cubicBezTo>
                  <a:cubicBezTo>
                    <a:pt x="4130" y="357"/>
                    <a:pt x="4130" y="357"/>
                    <a:pt x="4130" y="357"/>
                  </a:cubicBezTo>
                  <a:cubicBezTo>
                    <a:pt x="4131" y="357"/>
                    <a:pt x="4131" y="357"/>
                    <a:pt x="4131" y="357"/>
                  </a:cubicBezTo>
                  <a:cubicBezTo>
                    <a:pt x="4129" y="357"/>
                    <a:pt x="4128" y="356"/>
                    <a:pt x="4128" y="356"/>
                  </a:cubicBezTo>
                  <a:cubicBezTo>
                    <a:pt x="4127" y="356"/>
                    <a:pt x="4127" y="355"/>
                    <a:pt x="4126" y="355"/>
                  </a:cubicBezTo>
                  <a:cubicBezTo>
                    <a:pt x="4126" y="355"/>
                    <a:pt x="4126" y="355"/>
                    <a:pt x="4126" y="355"/>
                  </a:cubicBezTo>
                  <a:cubicBezTo>
                    <a:pt x="4124" y="359"/>
                    <a:pt x="4124" y="359"/>
                    <a:pt x="4124" y="359"/>
                  </a:cubicBezTo>
                  <a:cubicBezTo>
                    <a:pt x="4127" y="356"/>
                    <a:pt x="4127" y="356"/>
                    <a:pt x="4127" y="356"/>
                  </a:cubicBezTo>
                  <a:cubicBezTo>
                    <a:pt x="4126" y="355"/>
                    <a:pt x="4126" y="355"/>
                    <a:pt x="4126" y="355"/>
                  </a:cubicBezTo>
                  <a:cubicBezTo>
                    <a:pt x="4124" y="359"/>
                    <a:pt x="4124" y="359"/>
                    <a:pt x="4124" y="359"/>
                  </a:cubicBezTo>
                  <a:cubicBezTo>
                    <a:pt x="4127" y="356"/>
                    <a:pt x="4127" y="356"/>
                    <a:pt x="4127" y="356"/>
                  </a:cubicBezTo>
                  <a:cubicBezTo>
                    <a:pt x="4121" y="362"/>
                    <a:pt x="4121" y="362"/>
                    <a:pt x="4121" y="362"/>
                  </a:cubicBezTo>
                  <a:cubicBezTo>
                    <a:pt x="4129" y="359"/>
                    <a:pt x="4129" y="359"/>
                    <a:pt x="4129" y="359"/>
                  </a:cubicBezTo>
                  <a:cubicBezTo>
                    <a:pt x="4128" y="357"/>
                    <a:pt x="4127" y="356"/>
                    <a:pt x="4127" y="356"/>
                  </a:cubicBezTo>
                  <a:cubicBezTo>
                    <a:pt x="4121" y="362"/>
                    <a:pt x="4121" y="362"/>
                    <a:pt x="4121" y="362"/>
                  </a:cubicBezTo>
                  <a:cubicBezTo>
                    <a:pt x="4129" y="359"/>
                    <a:pt x="4129" y="359"/>
                    <a:pt x="4129" y="359"/>
                  </a:cubicBezTo>
                  <a:cubicBezTo>
                    <a:pt x="4129" y="359"/>
                    <a:pt x="4129" y="359"/>
                    <a:pt x="4129" y="359"/>
                  </a:cubicBezTo>
                  <a:cubicBezTo>
                    <a:pt x="4128" y="356"/>
                    <a:pt x="4126" y="353"/>
                    <a:pt x="4124" y="351"/>
                  </a:cubicBezTo>
                  <a:cubicBezTo>
                    <a:pt x="4121" y="348"/>
                    <a:pt x="4117" y="346"/>
                    <a:pt x="4114" y="344"/>
                  </a:cubicBezTo>
                  <a:cubicBezTo>
                    <a:pt x="4110" y="343"/>
                    <a:pt x="4106" y="342"/>
                    <a:pt x="4103" y="342"/>
                  </a:cubicBezTo>
                  <a:cubicBezTo>
                    <a:pt x="4102" y="342"/>
                    <a:pt x="4102" y="342"/>
                    <a:pt x="4102" y="342"/>
                  </a:cubicBezTo>
                  <a:cubicBezTo>
                    <a:pt x="4102" y="342"/>
                    <a:pt x="4102" y="342"/>
                    <a:pt x="4102" y="342"/>
                  </a:cubicBezTo>
                  <a:cubicBezTo>
                    <a:pt x="4102" y="348"/>
                    <a:pt x="4102" y="348"/>
                    <a:pt x="4102" y="348"/>
                  </a:cubicBezTo>
                  <a:cubicBezTo>
                    <a:pt x="4104" y="342"/>
                    <a:pt x="4104" y="342"/>
                    <a:pt x="4104" y="342"/>
                  </a:cubicBezTo>
                  <a:cubicBezTo>
                    <a:pt x="4104" y="342"/>
                    <a:pt x="4103" y="342"/>
                    <a:pt x="4102" y="342"/>
                  </a:cubicBezTo>
                  <a:cubicBezTo>
                    <a:pt x="4102" y="348"/>
                    <a:pt x="4102" y="348"/>
                    <a:pt x="4102" y="348"/>
                  </a:cubicBezTo>
                  <a:cubicBezTo>
                    <a:pt x="4104" y="342"/>
                    <a:pt x="4104" y="342"/>
                    <a:pt x="4104" y="342"/>
                  </a:cubicBezTo>
                  <a:cubicBezTo>
                    <a:pt x="4103" y="345"/>
                    <a:pt x="4103" y="345"/>
                    <a:pt x="4103" y="345"/>
                  </a:cubicBezTo>
                  <a:cubicBezTo>
                    <a:pt x="4105" y="343"/>
                    <a:pt x="4105" y="343"/>
                    <a:pt x="4105" y="343"/>
                  </a:cubicBezTo>
                  <a:cubicBezTo>
                    <a:pt x="4104" y="342"/>
                    <a:pt x="4104" y="342"/>
                    <a:pt x="4104" y="342"/>
                  </a:cubicBezTo>
                  <a:cubicBezTo>
                    <a:pt x="4103" y="345"/>
                    <a:pt x="4103" y="345"/>
                    <a:pt x="4103" y="345"/>
                  </a:cubicBezTo>
                  <a:cubicBezTo>
                    <a:pt x="4105" y="343"/>
                    <a:pt x="4105" y="343"/>
                    <a:pt x="4105" y="343"/>
                  </a:cubicBezTo>
                  <a:cubicBezTo>
                    <a:pt x="4101" y="348"/>
                    <a:pt x="4101" y="348"/>
                    <a:pt x="4101" y="348"/>
                  </a:cubicBezTo>
                  <a:cubicBezTo>
                    <a:pt x="4106" y="344"/>
                    <a:pt x="4106" y="344"/>
                    <a:pt x="4106" y="344"/>
                  </a:cubicBezTo>
                  <a:cubicBezTo>
                    <a:pt x="4105" y="343"/>
                    <a:pt x="4105" y="343"/>
                    <a:pt x="4105" y="343"/>
                  </a:cubicBezTo>
                  <a:cubicBezTo>
                    <a:pt x="4101" y="348"/>
                    <a:pt x="4101" y="348"/>
                    <a:pt x="4101" y="348"/>
                  </a:cubicBezTo>
                  <a:cubicBezTo>
                    <a:pt x="4106" y="344"/>
                    <a:pt x="4106" y="344"/>
                    <a:pt x="4106" y="344"/>
                  </a:cubicBezTo>
                  <a:cubicBezTo>
                    <a:pt x="4099" y="350"/>
                    <a:pt x="4099" y="350"/>
                    <a:pt x="4099" y="350"/>
                  </a:cubicBezTo>
                  <a:cubicBezTo>
                    <a:pt x="4107" y="346"/>
                    <a:pt x="4107" y="346"/>
                    <a:pt x="4107" y="346"/>
                  </a:cubicBezTo>
                  <a:cubicBezTo>
                    <a:pt x="4107" y="345"/>
                    <a:pt x="4106" y="344"/>
                    <a:pt x="4106" y="344"/>
                  </a:cubicBezTo>
                  <a:cubicBezTo>
                    <a:pt x="4099" y="350"/>
                    <a:pt x="4099" y="350"/>
                    <a:pt x="4099" y="350"/>
                  </a:cubicBezTo>
                  <a:cubicBezTo>
                    <a:pt x="4107" y="346"/>
                    <a:pt x="4107" y="346"/>
                    <a:pt x="4107" y="346"/>
                  </a:cubicBezTo>
                  <a:cubicBezTo>
                    <a:pt x="4096" y="351"/>
                    <a:pt x="4096" y="351"/>
                    <a:pt x="4096" y="351"/>
                  </a:cubicBezTo>
                  <a:cubicBezTo>
                    <a:pt x="4107" y="346"/>
                    <a:pt x="4107" y="346"/>
                    <a:pt x="4107" y="346"/>
                  </a:cubicBezTo>
                  <a:cubicBezTo>
                    <a:pt x="4107" y="345"/>
                    <a:pt x="4107" y="345"/>
                    <a:pt x="4107" y="344"/>
                  </a:cubicBezTo>
                  <a:cubicBezTo>
                    <a:pt x="4106" y="343"/>
                    <a:pt x="4106" y="343"/>
                    <a:pt x="4106" y="343"/>
                  </a:cubicBezTo>
                  <a:cubicBezTo>
                    <a:pt x="4106" y="343"/>
                    <a:pt x="4106" y="343"/>
                    <a:pt x="4106" y="343"/>
                  </a:cubicBezTo>
                  <a:cubicBezTo>
                    <a:pt x="4104" y="343"/>
                    <a:pt x="4104" y="343"/>
                    <a:pt x="4104" y="343"/>
                  </a:cubicBezTo>
                  <a:cubicBezTo>
                    <a:pt x="4106" y="343"/>
                    <a:pt x="4106" y="343"/>
                    <a:pt x="4106" y="343"/>
                  </a:cubicBezTo>
                  <a:cubicBezTo>
                    <a:pt x="4106" y="343"/>
                    <a:pt x="4106" y="343"/>
                    <a:pt x="4106" y="343"/>
                  </a:cubicBezTo>
                  <a:cubicBezTo>
                    <a:pt x="4104" y="343"/>
                    <a:pt x="4104" y="343"/>
                    <a:pt x="4104" y="343"/>
                  </a:cubicBezTo>
                  <a:cubicBezTo>
                    <a:pt x="4106" y="343"/>
                    <a:pt x="4106" y="343"/>
                    <a:pt x="4106" y="343"/>
                  </a:cubicBezTo>
                  <a:cubicBezTo>
                    <a:pt x="4100" y="343"/>
                    <a:pt x="4100" y="343"/>
                    <a:pt x="4100" y="343"/>
                  </a:cubicBezTo>
                  <a:cubicBezTo>
                    <a:pt x="4106" y="346"/>
                    <a:pt x="4106" y="346"/>
                    <a:pt x="4106" y="346"/>
                  </a:cubicBezTo>
                  <a:cubicBezTo>
                    <a:pt x="4106" y="345"/>
                    <a:pt x="4106" y="344"/>
                    <a:pt x="4106" y="343"/>
                  </a:cubicBezTo>
                  <a:cubicBezTo>
                    <a:pt x="4100" y="343"/>
                    <a:pt x="4100" y="343"/>
                    <a:pt x="4100" y="343"/>
                  </a:cubicBezTo>
                  <a:cubicBezTo>
                    <a:pt x="4106" y="346"/>
                    <a:pt x="4106" y="346"/>
                    <a:pt x="4106" y="346"/>
                  </a:cubicBezTo>
                  <a:cubicBezTo>
                    <a:pt x="4106" y="346"/>
                    <a:pt x="4106" y="346"/>
                    <a:pt x="4106" y="346"/>
                  </a:cubicBezTo>
                  <a:cubicBezTo>
                    <a:pt x="4107" y="344"/>
                    <a:pt x="4108" y="341"/>
                    <a:pt x="4109" y="338"/>
                  </a:cubicBezTo>
                  <a:cubicBezTo>
                    <a:pt x="4110" y="335"/>
                    <a:pt x="4110" y="332"/>
                    <a:pt x="4110" y="328"/>
                  </a:cubicBezTo>
                  <a:cubicBezTo>
                    <a:pt x="4111" y="323"/>
                    <a:pt x="4109" y="318"/>
                    <a:pt x="4107" y="313"/>
                  </a:cubicBezTo>
                  <a:cubicBezTo>
                    <a:pt x="4107" y="313"/>
                    <a:pt x="4107" y="313"/>
                    <a:pt x="4107" y="313"/>
                  </a:cubicBezTo>
                  <a:cubicBezTo>
                    <a:pt x="4101" y="316"/>
                    <a:pt x="4101" y="316"/>
                    <a:pt x="4101" y="316"/>
                  </a:cubicBezTo>
                  <a:cubicBezTo>
                    <a:pt x="4107" y="316"/>
                    <a:pt x="4107" y="316"/>
                    <a:pt x="4107" y="316"/>
                  </a:cubicBezTo>
                  <a:cubicBezTo>
                    <a:pt x="4107" y="314"/>
                    <a:pt x="4107" y="313"/>
                    <a:pt x="4107" y="313"/>
                  </a:cubicBezTo>
                  <a:cubicBezTo>
                    <a:pt x="4101" y="316"/>
                    <a:pt x="4101" y="316"/>
                    <a:pt x="4101" y="316"/>
                  </a:cubicBezTo>
                  <a:cubicBezTo>
                    <a:pt x="4107" y="316"/>
                    <a:pt x="4107" y="316"/>
                    <a:pt x="4107" y="316"/>
                  </a:cubicBezTo>
                  <a:cubicBezTo>
                    <a:pt x="4097" y="316"/>
                    <a:pt x="4097" y="316"/>
                    <a:pt x="4097" y="316"/>
                  </a:cubicBezTo>
                  <a:cubicBezTo>
                    <a:pt x="4106" y="321"/>
                    <a:pt x="4106" y="321"/>
                    <a:pt x="4106" y="321"/>
                  </a:cubicBezTo>
                  <a:cubicBezTo>
                    <a:pt x="4107" y="319"/>
                    <a:pt x="4107" y="317"/>
                    <a:pt x="4107" y="316"/>
                  </a:cubicBezTo>
                  <a:cubicBezTo>
                    <a:pt x="4097" y="316"/>
                    <a:pt x="4097" y="316"/>
                    <a:pt x="4097" y="316"/>
                  </a:cubicBezTo>
                  <a:cubicBezTo>
                    <a:pt x="4106" y="321"/>
                    <a:pt x="4106" y="321"/>
                    <a:pt x="4106" y="321"/>
                  </a:cubicBezTo>
                  <a:cubicBezTo>
                    <a:pt x="4097" y="316"/>
                    <a:pt x="4097" y="316"/>
                    <a:pt x="4097" y="316"/>
                  </a:cubicBezTo>
                  <a:cubicBezTo>
                    <a:pt x="4103" y="324"/>
                    <a:pt x="4103" y="324"/>
                    <a:pt x="4103" y="324"/>
                  </a:cubicBezTo>
                  <a:cubicBezTo>
                    <a:pt x="4104" y="323"/>
                    <a:pt x="4105" y="322"/>
                    <a:pt x="4106" y="321"/>
                  </a:cubicBezTo>
                  <a:cubicBezTo>
                    <a:pt x="4097" y="316"/>
                    <a:pt x="4097" y="316"/>
                    <a:pt x="4097" y="316"/>
                  </a:cubicBezTo>
                  <a:cubicBezTo>
                    <a:pt x="4103" y="324"/>
                    <a:pt x="4103" y="324"/>
                    <a:pt x="4103" y="324"/>
                  </a:cubicBezTo>
                  <a:cubicBezTo>
                    <a:pt x="4099" y="318"/>
                    <a:pt x="4099" y="318"/>
                    <a:pt x="4099" y="318"/>
                  </a:cubicBezTo>
                  <a:cubicBezTo>
                    <a:pt x="4101" y="325"/>
                    <a:pt x="4101" y="325"/>
                    <a:pt x="4101" y="325"/>
                  </a:cubicBezTo>
                  <a:cubicBezTo>
                    <a:pt x="4101" y="325"/>
                    <a:pt x="4102" y="325"/>
                    <a:pt x="4103" y="324"/>
                  </a:cubicBezTo>
                  <a:cubicBezTo>
                    <a:pt x="4099" y="318"/>
                    <a:pt x="4099" y="318"/>
                    <a:pt x="4099" y="318"/>
                  </a:cubicBezTo>
                  <a:cubicBezTo>
                    <a:pt x="4101" y="325"/>
                    <a:pt x="4101" y="325"/>
                    <a:pt x="4101" y="325"/>
                  </a:cubicBezTo>
                  <a:cubicBezTo>
                    <a:pt x="4100" y="322"/>
                    <a:pt x="4100" y="322"/>
                    <a:pt x="4100" y="322"/>
                  </a:cubicBezTo>
                  <a:cubicBezTo>
                    <a:pt x="4100" y="325"/>
                    <a:pt x="4100" y="325"/>
                    <a:pt x="4100" y="325"/>
                  </a:cubicBezTo>
                  <a:cubicBezTo>
                    <a:pt x="4101" y="325"/>
                    <a:pt x="4101" y="325"/>
                    <a:pt x="4101" y="325"/>
                  </a:cubicBezTo>
                  <a:cubicBezTo>
                    <a:pt x="4100" y="322"/>
                    <a:pt x="4100" y="322"/>
                    <a:pt x="4100" y="322"/>
                  </a:cubicBezTo>
                  <a:cubicBezTo>
                    <a:pt x="4100" y="325"/>
                    <a:pt x="4100" y="325"/>
                    <a:pt x="4100" y="325"/>
                  </a:cubicBezTo>
                  <a:cubicBezTo>
                    <a:pt x="4100" y="325"/>
                    <a:pt x="4100" y="325"/>
                    <a:pt x="4100" y="325"/>
                  </a:cubicBezTo>
                  <a:cubicBezTo>
                    <a:pt x="4100" y="325"/>
                    <a:pt x="4100" y="325"/>
                    <a:pt x="4100" y="325"/>
                  </a:cubicBezTo>
                  <a:cubicBezTo>
                    <a:pt x="4100" y="325"/>
                    <a:pt x="4100" y="325"/>
                    <a:pt x="4100" y="325"/>
                  </a:cubicBezTo>
                  <a:cubicBezTo>
                    <a:pt x="4105" y="325"/>
                    <a:pt x="4109" y="324"/>
                    <a:pt x="4113" y="321"/>
                  </a:cubicBezTo>
                  <a:cubicBezTo>
                    <a:pt x="4115" y="320"/>
                    <a:pt x="4117" y="318"/>
                    <a:pt x="4118" y="316"/>
                  </a:cubicBezTo>
                  <a:cubicBezTo>
                    <a:pt x="4120" y="313"/>
                    <a:pt x="4121" y="311"/>
                    <a:pt x="4121" y="308"/>
                  </a:cubicBezTo>
                  <a:cubicBezTo>
                    <a:pt x="4121" y="308"/>
                    <a:pt x="4121" y="308"/>
                    <a:pt x="4121" y="308"/>
                  </a:cubicBezTo>
                  <a:cubicBezTo>
                    <a:pt x="4122" y="306"/>
                    <a:pt x="4122" y="304"/>
                    <a:pt x="4122" y="302"/>
                  </a:cubicBezTo>
                  <a:cubicBezTo>
                    <a:pt x="4123" y="299"/>
                    <a:pt x="4123" y="296"/>
                    <a:pt x="4123" y="293"/>
                  </a:cubicBezTo>
                  <a:cubicBezTo>
                    <a:pt x="4123" y="290"/>
                    <a:pt x="4123" y="287"/>
                    <a:pt x="4122" y="284"/>
                  </a:cubicBezTo>
                  <a:cubicBezTo>
                    <a:pt x="4121" y="280"/>
                    <a:pt x="4119" y="277"/>
                    <a:pt x="4117" y="274"/>
                  </a:cubicBezTo>
                  <a:cubicBezTo>
                    <a:pt x="4117" y="274"/>
                    <a:pt x="4117" y="274"/>
                    <a:pt x="4117" y="274"/>
                  </a:cubicBezTo>
                  <a:cubicBezTo>
                    <a:pt x="4114" y="272"/>
                    <a:pt x="4112" y="269"/>
                    <a:pt x="4108" y="266"/>
                  </a:cubicBezTo>
                  <a:cubicBezTo>
                    <a:pt x="4106" y="265"/>
                    <a:pt x="4104" y="263"/>
                    <a:pt x="4101" y="262"/>
                  </a:cubicBezTo>
                  <a:cubicBezTo>
                    <a:pt x="4099" y="261"/>
                    <a:pt x="4096" y="261"/>
                    <a:pt x="4093" y="261"/>
                  </a:cubicBezTo>
                  <a:cubicBezTo>
                    <a:pt x="4089" y="261"/>
                    <a:pt x="4086" y="261"/>
                    <a:pt x="4083" y="263"/>
                  </a:cubicBezTo>
                  <a:cubicBezTo>
                    <a:pt x="4087" y="274"/>
                    <a:pt x="4087" y="274"/>
                    <a:pt x="4087" y="274"/>
                  </a:cubicBezTo>
                  <a:cubicBezTo>
                    <a:pt x="4083" y="263"/>
                    <a:pt x="4083" y="263"/>
                    <a:pt x="4083" y="263"/>
                  </a:cubicBezTo>
                  <a:cubicBezTo>
                    <a:pt x="4087" y="272"/>
                    <a:pt x="4087" y="272"/>
                    <a:pt x="4087" y="272"/>
                  </a:cubicBezTo>
                  <a:cubicBezTo>
                    <a:pt x="4087" y="262"/>
                    <a:pt x="4087" y="262"/>
                    <a:pt x="4087" y="262"/>
                  </a:cubicBezTo>
                  <a:cubicBezTo>
                    <a:pt x="4086" y="262"/>
                    <a:pt x="4085" y="262"/>
                    <a:pt x="4083" y="263"/>
                  </a:cubicBezTo>
                  <a:cubicBezTo>
                    <a:pt x="4087" y="272"/>
                    <a:pt x="4087" y="272"/>
                    <a:pt x="4087" y="272"/>
                  </a:cubicBezTo>
                  <a:cubicBezTo>
                    <a:pt x="4087" y="262"/>
                    <a:pt x="4087" y="262"/>
                    <a:pt x="4087" y="262"/>
                  </a:cubicBezTo>
                  <a:cubicBezTo>
                    <a:pt x="4087" y="270"/>
                    <a:pt x="4087" y="270"/>
                    <a:pt x="4087" y="270"/>
                  </a:cubicBezTo>
                  <a:cubicBezTo>
                    <a:pt x="4089" y="262"/>
                    <a:pt x="4089" y="262"/>
                    <a:pt x="4089" y="262"/>
                  </a:cubicBezTo>
                  <a:cubicBezTo>
                    <a:pt x="4088" y="262"/>
                    <a:pt x="4088" y="262"/>
                    <a:pt x="4087" y="262"/>
                  </a:cubicBezTo>
                  <a:cubicBezTo>
                    <a:pt x="4087" y="270"/>
                    <a:pt x="4087" y="270"/>
                    <a:pt x="4087" y="270"/>
                  </a:cubicBezTo>
                  <a:cubicBezTo>
                    <a:pt x="4089" y="262"/>
                    <a:pt x="4089" y="262"/>
                    <a:pt x="4089" y="262"/>
                  </a:cubicBezTo>
                  <a:cubicBezTo>
                    <a:pt x="4086" y="270"/>
                    <a:pt x="4086" y="270"/>
                    <a:pt x="4086" y="270"/>
                  </a:cubicBezTo>
                  <a:cubicBezTo>
                    <a:pt x="4091" y="263"/>
                    <a:pt x="4091" y="263"/>
                    <a:pt x="4091" y="263"/>
                  </a:cubicBezTo>
                  <a:cubicBezTo>
                    <a:pt x="4090" y="263"/>
                    <a:pt x="4089" y="262"/>
                    <a:pt x="4089" y="262"/>
                  </a:cubicBezTo>
                  <a:cubicBezTo>
                    <a:pt x="4086" y="270"/>
                    <a:pt x="4086" y="270"/>
                    <a:pt x="4086" y="270"/>
                  </a:cubicBezTo>
                  <a:cubicBezTo>
                    <a:pt x="4091" y="263"/>
                    <a:pt x="4091" y="263"/>
                    <a:pt x="4091" y="263"/>
                  </a:cubicBezTo>
                  <a:cubicBezTo>
                    <a:pt x="4091" y="263"/>
                    <a:pt x="4091" y="263"/>
                    <a:pt x="4091" y="263"/>
                  </a:cubicBezTo>
                  <a:cubicBezTo>
                    <a:pt x="4091" y="263"/>
                    <a:pt x="4091" y="263"/>
                    <a:pt x="4091" y="263"/>
                  </a:cubicBezTo>
                  <a:cubicBezTo>
                    <a:pt x="4088" y="261"/>
                    <a:pt x="4086" y="260"/>
                    <a:pt x="4084" y="259"/>
                  </a:cubicBezTo>
                  <a:cubicBezTo>
                    <a:pt x="4082" y="258"/>
                    <a:pt x="4081" y="257"/>
                    <a:pt x="4080" y="256"/>
                  </a:cubicBezTo>
                  <a:cubicBezTo>
                    <a:pt x="4080" y="256"/>
                    <a:pt x="4080" y="256"/>
                    <a:pt x="4080" y="256"/>
                  </a:cubicBezTo>
                  <a:cubicBezTo>
                    <a:pt x="4077" y="253"/>
                    <a:pt x="4074" y="251"/>
                    <a:pt x="4071" y="250"/>
                  </a:cubicBezTo>
                  <a:cubicBezTo>
                    <a:pt x="4068" y="248"/>
                    <a:pt x="4064" y="248"/>
                    <a:pt x="4061" y="248"/>
                  </a:cubicBezTo>
                  <a:cubicBezTo>
                    <a:pt x="4057" y="248"/>
                    <a:pt x="4053" y="248"/>
                    <a:pt x="4050" y="250"/>
                  </a:cubicBezTo>
                  <a:cubicBezTo>
                    <a:pt x="4047" y="251"/>
                    <a:pt x="4044" y="253"/>
                    <a:pt x="4041" y="255"/>
                  </a:cubicBezTo>
                  <a:cubicBezTo>
                    <a:pt x="4041" y="255"/>
                    <a:pt x="4041" y="255"/>
                    <a:pt x="4041" y="255"/>
                  </a:cubicBezTo>
                  <a:cubicBezTo>
                    <a:pt x="4037" y="258"/>
                    <a:pt x="4032" y="262"/>
                    <a:pt x="4027" y="268"/>
                  </a:cubicBezTo>
                  <a:cubicBezTo>
                    <a:pt x="4027" y="268"/>
                    <a:pt x="4027" y="268"/>
                    <a:pt x="4027" y="268"/>
                  </a:cubicBezTo>
                  <a:cubicBezTo>
                    <a:pt x="4026" y="269"/>
                    <a:pt x="4025" y="270"/>
                    <a:pt x="4024" y="270"/>
                  </a:cubicBezTo>
                  <a:cubicBezTo>
                    <a:pt x="4024" y="270"/>
                    <a:pt x="4024" y="270"/>
                    <a:pt x="4023" y="270"/>
                  </a:cubicBezTo>
                  <a:cubicBezTo>
                    <a:pt x="4023" y="270"/>
                    <a:pt x="4021" y="270"/>
                    <a:pt x="4019" y="269"/>
                  </a:cubicBezTo>
                  <a:cubicBezTo>
                    <a:pt x="4019" y="269"/>
                    <a:pt x="4019" y="269"/>
                    <a:pt x="4019" y="269"/>
                  </a:cubicBezTo>
                  <a:cubicBezTo>
                    <a:pt x="4012" y="267"/>
                    <a:pt x="4005" y="265"/>
                    <a:pt x="3997" y="265"/>
                  </a:cubicBezTo>
                  <a:cubicBezTo>
                    <a:pt x="3988" y="265"/>
                    <a:pt x="3979" y="267"/>
                    <a:pt x="3971" y="272"/>
                  </a:cubicBezTo>
                  <a:cubicBezTo>
                    <a:pt x="3971" y="272"/>
                    <a:pt x="3971" y="272"/>
                    <a:pt x="3971" y="272"/>
                  </a:cubicBezTo>
                  <a:cubicBezTo>
                    <a:pt x="3971" y="272"/>
                    <a:pt x="3970" y="272"/>
                    <a:pt x="3970" y="273"/>
                  </a:cubicBezTo>
                  <a:cubicBezTo>
                    <a:pt x="3975" y="284"/>
                    <a:pt x="3975" y="284"/>
                    <a:pt x="3975" y="284"/>
                  </a:cubicBezTo>
                  <a:cubicBezTo>
                    <a:pt x="3970" y="273"/>
                    <a:pt x="3970" y="273"/>
                    <a:pt x="3970" y="273"/>
                  </a:cubicBezTo>
                  <a:cubicBezTo>
                    <a:pt x="3969" y="273"/>
                    <a:pt x="3969" y="273"/>
                    <a:pt x="3969" y="273"/>
                  </a:cubicBezTo>
                  <a:cubicBezTo>
                    <a:pt x="3969" y="273"/>
                    <a:pt x="3969" y="273"/>
                    <a:pt x="3969" y="273"/>
                  </a:cubicBezTo>
                  <a:cubicBezTo>
                    <a:pt x="3970" y="277"/>
                    <a:pt x="3970" y="277"/>
                    <a:pt x="3970" y="277"/>
                  </a:cubicBezTo>
                  <a:cubicBezTo>
                    <a:pt x="3970" y="273"/>
                    <a:pt x="3970" y="273"/>
                    <a:pt x="3970" y="273"/>
                  </a:cubicBezTo>
                  <a:cubicBezTo>
                    <a:pt x="3969" y="273"/>
                    <a:pt x="3969" y="273"/>
                    <a:pt x="3969" y="273"/>
                  </a:cubicBezTo>
                  <a:cubicBezTo>
                    <a:pt x="3970" y="277"/>
                    <a:pt x="3970" y="277"/>
                    <a:pt x="3970" y="277"/>
                  </a:cubicBezTo>
                  <a:cubicBezTo>
                    <a:pt x="3970" y="273"/>
                    <a:pt x="3970" y="273"/>
                    <a:pt x="3970" y="273"/>
                  </a:cubicBezTo>
                  <a:cubicBezTo>
                    <a:pt x="3970" y="280"/>
                    <a:pt x="3970" y="280"/>
                    <a:pt x="3970" y="280"/>
                  </a:cubicBezTo>
                  <a:cubicBezTo>
                    <a:pt x="3972" y="273"/>
                    <a:pt x="3972" y="273"/>
                    <a:pt x="3972" y="273"/>
                  </a:cubicBezTo>
                  <a:cubicBezTo>
                    <a:pt x="3971" y="273"/>
                    <a:pt x="3970" y="273"/>
                    <a:pt x="3970" y="273"/>
                  </a:cubicBezTo>
                  <a:cubicBezTo>
                    <a:pt x="3970" y="280"/>
                    <a:pt x="3970" y="280"/>
                    <a:pt x="3970" y="280"/>
                  </a:cubicBezTo>
                  <a:cubicBezTo>
                    <a:pt x="3972" y="273"/>
                    <a:pt x="3972" y="273"/>
                    <a:pt x="3972" y="273"/>
                  </a:cubicBezTo>
                  <a:cubicBezTo>
                    <a:pt x="3970" y="279"/>
                    <a:pt x="3970" y="279"/>
                    <a:pt x="3970" y="279"/>
                  </a:cubicBezTo>
                  <a:cubicBezTo>
                    <a:pt x="3975" y="275"/>
                    <a:pt x="3975" y="275"/>
                    <a:pt x="3975" y="275"/>
                  </a:cubicBezTo>
                  <a:cubicBezTo>
                    <a:pt x="3975" y="275"/>
                    <a:pt x="3974" y="274"/>
                    <a:pt x="3972" y="273"/>
                  </a:cubicBezTo>
                  <a:cubicBezTo>
                    <a:pt x="3970" y="279"/>
                    <a:pt x="3970" y="279"/>
                    <a:pt x="3970" y="279"/>
                  </a:cubicBezTo>
                  <a:cubicBezTo>
                    <a:pt x="3975" y="275"/>
                    <a:pt x="3975" y="275"/>
                    <a:pt x="3975" y="275"/>
                  </a:cubicBezTo>
                  <a:cubicBezTo>
                    <a:pt x="3973" y="277"/>
                    <a:pt x="3973" y="277"/>
                    <a:pt x="3973" y="277"/>
                  </a:cubicBezTo>
                  <a:cubicBezTo>
                    <a:pt x="3975" y="275"/>
                    <a:pt x="3975" y="275"/>
                    <a:pt x="3975" y="275"/>
                  </a:cubicBezTo>
                  <a:cubicBezTo>
                    <a:pt x="3975" y="275"/>
                    <a:pt x="3975" y="275"/>
                    <a:pt x="3975" y="275"/>
                  </a:cubicBezTo>
                  <a:cubicBezTo>
                    <a:pt x="3973" y="277"/>
                    <a:pt x="3973" y="277"/>
                    <a:pt x="3973" y="277"/>
                  </a:cubicBezTo>
                  <a:cubicBezTo>
                    <a:pt x="3975" y="275"/>
                    <a:pt x="3975" y="275"/>
                    <a:pt x="3975" y="275"/>
                  </a:cubicBezTo>
                  <a:cubicBezTo>
                    <a:pt x="3975" y="276"/>
                    <a:pt x="3975" y="276"/>
                    <a:pt x="3975" y="276"/>
                  </a:cubicBezTo>
                  <a:cubicBezTo>
                    <a:pt x="3975" y="275"/>
                    <a:pt x="3975" y="275"/>
                    <a:pt x="3975" y="275"/>
                  </a:cubicBezTo>
                  <a:cubicBezTo>
                    <a:pt x="3975" y="275"/>
                    <a:pt x="3975" y="275"/>
                    <a:pt x="3975" y="275"/>
                  </a:cubicBezTo>
                  <a:cubicBezTo>
                    <a:pt x="3975" y="276"/>
                    <a:pt x="3975" y="276"/>
                    <a:pt x="3975" y="276"/>
                  </a:cubicBezTo>
                  <a:cubicBezTo>
                    <a:pt x="3975" y="275"/>
                    <a:pt x="3975" y="275"/>
                    <a:pt x="3975" y="275"/>
                  </a:cubicBezTo>
                  <a:cubicBezTo>
                    <a:pt x="3975" y="275"/>
                    <a:pt x="3975" y="275"/>
                    <a:pt x="3975" y="275"/>
                  </a:cubicBezTo>
                  <a:cubicBezTo>
                    <a:pt x="3975" y="275"/>
                    <a:pt x="3975" y="275"/>
                    <a:pt x="3975" y="275"/>
                  </a:cubicBezTo>
                  <a:cubicBezTo>
                    <a:pt x="3974" y="272"/>
                    <a:pt x="3972" y="268"/>
                    <a:pt x="3971" y="264"/>
                  </a:cubicBezTo>
                  <a:cubicBezTo>
                    <a:pt x="3971" y="264"/>
                    <a:pt x="3971" y="264"/>
                    <a:pt x="3971" y="264"/>
                  </a:cubicBezTo>
                  <a:cubicBezTo>
                    <a:pt x="3967" y="255"/>
                    <a:pt x="3965" y="244"/>
                    <a:pt x="3965" y="234"/>
                  </a:cubicBezTo>
                  <a:cubicBezTo>
                    <a:pt x="3965" y="233"/>
                    <a:pt x="3965" y="233"/>
                    <a:pt x="3965" y="233"/>
                  </a:cubicBezTo>
                  <a:cubicBezTo>
                    <a:pt x="3965" y="233"/>
                    <a:pt x="3965" y="233"/>
                    <a:pt x="3965" y="233"/>
                  </a:cubicBezTo>
                  <a:cubicBezTo>
                    <a:pt x="3965" y="230"/>
                    <a:pt x="3966" y="226"/>
                    <a:pt x="3967" y="221"/>
                  </a:cubicBezTo>
                  <a:cubicBezTo>
                    <a:pt x="3968" y="216"/>
                    <a:pt x="3969" y="210"/>
                    <a:pt x="3969" y="203"/>
                  </a:cubicBezTo>
                  <a:cubicBezTo>
                    <a:pt x="3969" y="201"/>
                    <a:pt x="3969" y="199"/>
                    <a:pt x="3969" y="197"/>
                  </a:cubicBezTo>
                  <a:cubicBezTo>
                    <a:pt x="3969" y="197"/>
                    <a:pt x="3969" y="197"/>
                    <a:pt x="3969" y="197"/>
                  </a:cubicBezTo>
                  <a:cubicBezTo>
                    <a:pt x="3969" y="197"/>
                    <a:pt x="3969" y="197"/>
                    <a:pt x="3969" y="197"/>
                  </a:cubicBezTo>
                  <a:cubicBezTo>
                    <a:pt x="3959" y="198"/>
                    <a:pt x="3959" y="198"/>
                    <a:pt x="3959" y="198"/>
                  </a:cubicBezTo>
                  <a:cubicBezTo>
                    <a:pt x="3969" y="198"/>
                    <a:pt x="3969" y="198"/>
                    <a:pt x="3969" y="198"/>
                  </a:cubicBezTo>
                  <a:cubicBezTo>
                    <a:pt x="3969" y="198"/>
                    <a:pt x="3969" y="197"/>
                    <a:pt x="3969" y="197"/>
                  </a:cubicBezTo>
                  <a:cubicBezTo>
                    <a:pt x="3959" y="198"/>
                    <a:pt x="3959" y="198"/>
                    <a:pt x="3959" y="198"/>
                  </a:cubicBezTo>
                  <a:cubicBezTo>
                    <a:pt x="3969" y="198"/>
                    <a:pt x="3969" y="198"/>
                    <a:pt x="3969" y="198"/>
                  </a:cubicBezTo>
                  <a:cubicBezTo>
                    <a:pt x="3960" y="198"/>
                    <a:pt x="3960" y="198"/>
                    <a:pt x="3960" y="198"/>
                  </a:cubicBezTo>
                  <a:cubicBezTo>
                    <a:pt x="3968" y="202"/>
                    <a:pt x="3968" y="202"/>
                    <a:pt x="3968" y="202"/>
                  </a:cubicBezTo>
                  <a:cubicBezTo>
                    <a:pt x="3968" y="201"/>
                    <a:pt x="3969" y="200"/>
                    <a:pt x="3969" y="198"/>
                  </a:cubicBezTo>
                  <a:cubicBezTo>
                    <a:pt x="3960" y="198"/>
                    <a:pt x="3960" y="198"/>
                    <a:pt x="3960" y="198"/>
                  </a:cubicBezTo>
                  <a:cubicBezTo>
                    <a:pt x="3968" y="202"/>
                    <a:pt x="3968" y="202"/>
                    <a:pt x="3968" y="202"/>
                  </a:cubicBezTo>
                  <a:cubicBezTo>
                    <a:pt x="3964" y="200"/>
                    <a:pt x="3964" y="200"/>
                    <a:pt x="3964" y="200"/>
                  </a:cubicBezTo>
                  <a:cubicBezTo>
                    <a:pt x="3968" y="202"/>
                    <a:pt x="3968" y="202"/>
                    <a:pt x="3968" y="202"/>
                  </a:cubicBezTo>
                  <a:cubicBezTo>
                    <a:pt x="3968" y="202"/>
                    <a:pt x="3968" y="202"/>
                    <a:pt x="3968" y="202"/>
                  </a:cubicBezTo>
                  <a:cubicBezTo>
                    <a:pt x="3964" y="200"/>
                    <a:pt x="3964" y="200"/>
                    <a:pt x="3964" y="200"/>
                  </a:cubicBezTo>
                  <a:cubicBezTo>
                    <a:pt x="3968" y="202"/>
                    <a:pt x="3968" y="202"/>
                    <a:pt x="3968" y="202"/>
                  </a:cubicBezTo>
                  <a:cubicBezTo>
                    <a:pt x="3968" y="202"/>
                    <a:pt x="3968" y="202"/>
                    <a:pt x="3968" y="202"/>
                  </a:cubicBezTo>
                  <a:cubicBezTo>
                    <a:pt x="3968" y="202"/>
                    <a:pt x="3968" y="201"/>
                    <a:pt x="3969" y="200"/>
                  </a:cubicBezTo>
                  <a:cubicBezTo>
                    <a:pt x="3970" y="199"/>
                    <a:pt x="3970" y="197"/>
                    <a:pt x="3970" y="194"/>
                  </a:cubicBezTo>
                  <a:cubicBezTo>
                    <a:pt x="3970" y="193"/>
                    <a:pt x="3970" y="193"/>
                    <a:pt x="3970" y="193"/>
                  </a:cubicBezTo>
                  <a:cubicBezTo>
                    <a:pt x="3970" y="193"/>
                    <a:pt x="3970" y="193"/>
                    <a:pt x="3970" y="193"/>
                  </a:cubicBezTo>
                  <a:cubicBezTo>
                    <a:pt x="3970" y="193"/>
                    <a:pt x="3970" y="193"/>
                    <a:pt x="3970" y="193"/>
                  </a:cubicBezTo>
                  <a:cubicBezTo>
                    <a:pt x="3970" y="193"/>
                    <a:pt x="3970" y="192"/>
                    <a:pt x="3970" y="192"/>
                  </a:cubicBezTo>
                  <a:cubicBezTo>
                    <a:pt x="3970" y="191"/>
                    <a:pt x="3970" y="191"/>
                    <a:pt x="3970" y="190"/>
                  </a:cubicBezTo>
                  <a:cubicBezTo>
                    <a:pt x="3970" y="188"/>
                    <a:pt x="3970" y="186"/>
                    <a:pt x="3970" y="184"/>
                  </a:cubicBezTo>
                  <a:cubicBezTo>
                    <a:pt x="3970" y="182"/>
                    <a:pt x="3969" y="181"/>
                    <a:pt x="3969" y="179"/>
                  </a:cubicBezTo>
                  <a:cubicBezTo>
                    <a:pt x="3968" y="177"/>
                    <a:pt x="3967" y="175"/>
                    <a:pt x="3965" y="174"/>
                  </a:cubicBezTo>
                  <a:cubicBezTo>
                    <a:pt x="3965" y="174"/>
                    <a:pt x="3965" y="174"/>
                    <a:pt x="3965" y="174"/>
                  </a:cubicBezTo>
                  <a:cubicBezTo>
                    <a:pt x="3965" y="174"/>
                    <a:pt x="3965" y="174"/>
                    <a:pt x="3965" y="174"/>
                  </a:cubicBezTo>
                  <a:cubicBezTo>
                    <a:pt x="3965" y="173"/>
                    <a:pt x="3964" y="173"/>
                    <a:pt x="3964" y="172"/>
                  </a:cubicBezTo>
                  <a:cubicBezTo>
                    <a:pt x="3963" y="171"/>
                    <a:pt x="3963" y="170"/>
                    <a:pt x="3962" y="167"/>
                  </a:cubicBezTo>
                  <a:cubicBezTo>
                    <a:pt x="3962" y="165"/>
                    <a:pt x="3961" y="161"/>
                    <a:pt x="3960" y="158"/>
                  </a:cubicBezTo>
                  <a:cubicBezTo>
                    <a:pt x="3960" y="158"/>
                    <a:pt x="3960" y="158"/>
                    <a:pt x="3960" y="158"/>
                  </a:cubicBezTo>
                  <a:cubicBezTo>
                    <a:pt x="3953" y="160"/>
                    <a:pt x="3953" y="160"/>
                    <a:pt x="3953" y="160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60" y="160"/>
                    <a:pt x="3960" y="159"/>
                    <a:pt x="3960" y="158"/>
                  </a:cubicBezTo>
                  <a:cubicBezTo>
                    <a:pt x="3953" y="160"/>
                    <a:pt x="3953" y="160"/>
                    <a:pt x="3953" y="160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57" y="160"/>
                    <a:pt x="3957" y="160"/>
                    <a:pt x="3957" y="160"/>
                  </a:cubicBezTo>
                  <a:cubicBezTo>
                    <a:pt x="3960" y="161"/>
                    <a:pt x="3960" y="161"/>
                    <a:pt x="3960" y="161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57" y="160"/>
                    <a:pt x="3957" y="160"/>
                    <a:pt x="3957" y="160"/>
                  </a:cubicBezTo>
                  <a:cubicBezTo>
                    <a:pt x="3960" y="161"/>
                    <a:pt x="3960" y="161"/>
                    <a:pt x="3960" y="161"/>
                  </a:cubicBezTo>
                  <a:cubicBezTo>
                    <a:pt x="3960" y="161"/>
                    <a:pt x="3960" y="161"/>
                    <a:pt x="3960" y="161"/>
                  </a:cubicBezTo>
                  <a:cubicBezTo>
                    <a:pt x="3960" y="161"/>
                    <a:pt x="3960" y="161"/>
                    <a:pt x="3960" y="161"/>
                  </a:cubicBezTo>
                  <a:cubicBezTo>
                    <a:pt x="3960" y="161"/>
                    <a:pt x="3960" y="161"/>
                    <a:pt x="3960" y="161"/>
                  </a:cubicBezTo>
                  <a:cubicBezTo>
                    <a:pt x="3960" y="161"/>
                    <a:pt x="3960" y="161"/>
                    <a:pt x="3960" y="161"/>
                  </a:cubicBezTo>
                  <a:cubicBezTo>
                    <a:pt x="3960" y="161"/>
                    <a:pt x="3960" y="161"/>
                    <a:pt x="3960" y="161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60" y="160"/>
                    <a:pt x="3960" y="160"/>
                    <a:pt x="3960" y="160"/>
                  </a:cubicBezTo>
                  <a:cubicBezTo>
                    <a:pt x="3962" y="157"/>
                    <a:pt x="3964" y="153"/>
                    <a:pt x="3964" y="148"/>
                  </a:cubicBezTo>
                  <a:cubicBezTo>
                    <a:pt x="3964" y="146"/>
                    <a:pt x="3963" y="143"/>
                    <a:pt x="3962" y="140"/>
                  </a:cubicBezTo>
                  <a:cubicBezTo>
                    <a:pt x="3961" y="138"/>
                    <a:pt x="3960" y="136"/>
                    <a:pt x="3958" y="134"/>
                  </a:cubicBezTo>
                  <a:cubicBezTo>
                    <a:pt x="3958" y="134"/>
                    <a:pt x="3958" y="134"/>
                    <a:pt x="3958" y="134"/>
                  </a:cubicBezTo>
                  <a:cubicBezTo>
                    <a:pt x="3957" y="133"/>
                    <a:pt x="3957" y="133"/>
                    <a:pt x="3957" y="133"/>
                  </a:cubicBezTo>
                  <a:cubicBezTo>
                    <a:pt x="3957" y="132"/>
                    <a:pt x="3957" y="132"/>
                    <a:pt x="3957" y="131"/>
                  </a:cubicBezTo>
                  <a:cubicBezTo>
                    <a:pt x="3957" y="130"/>
                    <a:pt x="3957" y="129"/>
                    <a:pt x="3957" y="129"/>
                  </a:cubicBezTo>
                  <a:cubicBezTo>
                    <a:pt x="3957" y="129"/>
                    <a:pt x="3957" y="129"/>
                    <a:pt x="3957" y="129"/>
                  </a:cubicBezTo>
                  <a:cubicBezTo>
                    <a:pt x="3958" y="124"/>
                    <a:pt x="3958" y="121"/>
                    <a:pt x="3959" y="119"/>
                  </a:cubicBezTo>
                  <a:cubicBezTo>
                    <a:pt x="3960" y="117"/>
                    <a:pt x="3961" y="115"/>
                    <a:pt x="3963" y="113"/>
                  </a:cubicBezTo>
                  <a:cubicBezTo>
                    <a:pt x="3963" y="113"/>
                    <a:pt x="3963" y="113"/>
                    <a:pt x="3963" y="113"/>
                  </a:cubicBezTo>
                  <a:cubicBezTo>
                    <a:pt x="3966" y="112"/>
                    <a:pt x="3967" y="109"/>
                    <a:pt x="3968" y="108"/>
                  </a:cubicBezTo>
                  <a:cubicBezTo>
                    <a:pt x="3970" y="105"/>
                    <a:pt x="3971" y="102"/>
                    <a:pt x="3971" y="100"/>
                  </a:cubicBezTo>
                  <a:cubicBezTo>
                    <a:pt x="3972" y="98"/>
                    <a:pt x="3972" y="97"/>
                    <a:pt x="3972" y="96"/>
                  </a:cubicBezTo>
                  <a:cubicBezTo>
                    <a:pt x="3972" y="96"/>
                    <a:pt x="3972" y="96"/>
                    <a:pt x="3972" y="96"/>
                  </a:cubicBezTo>
                  <a:cubicBezTo>
                    <a:pt x="3973" y="93"/>
                    <a:pt x="3974" y="91"/>
                    <a:pt x="3974" y="89"/>
                  </a:cubicBezTo>
                  <a:cubicBezTo>
                    <a:pt x="3974" y="87"/>
                    <a:pt x="3974" y="85"/>
                    <a:pt x="3975" y="84"/>
                  </a:cubicBezTo>
                  <a:cubicBezTo>
                    <a:pt x="3975" y="84"/>
                    <a:pt x="3975" y="84"/>
                    <a:pt x="3975" y="84"/>
                  </a:cubicBezTo>
                  <a:cubicBezTo>
                    <a:pt x="3975" y="84"/>
                    <a:pt x="3976" y="82"/>
                    <a:pt x="3977" y="80"/>
                  </a:cubicBezTo>
                  <a:cubicBezTo>
                    <a:pt x="3978" y="78"/>
                    <a:pt x="3979" y="75"/>
                    <a:pt x="3979" y="71"/>
                  </a:cubicBezTo>
                  <a:cubicBezTo>
                    <a:pt x="3979" y="71"/>
                    <a:pt x="3979" y="71"/>
                    <a:pt x="3979" y="71"/>
                  </a:cubicBezTo>
                  <a:cubicBezTo>
                    <a:pt x="3980" y="70"/>
                    <a:pt x="3980" y="69"/>
                    <a:pt x="3981" y="67"/>
                  </a:cubicBezTo>
                  <a:cubicBezTo>
                    <a:pt x="3982" y="65"/>
                    <a:pt x="3983" y="62"/>
                    <a:pt x="3985" y="58"/>
                  </a:cubicBezTo>
                  <a:cubicBezTo>
                    <a:pt x="3986" y="54"/>
                    <a:pt x="3988" y="50"/>
                    <a:pt x="3988" y="44"/>
                  </a:cubicBezTo>
                  <a:cubicBezTo>
                    <a:pt x="3988" y="42"/>
                    <a:pt x="3988" y="40"/>
                    <a:pt x="3987" y="38"/>
                  </a:cubicBezTo>
                  <a:cubicBezTo>
                    <a:pt x="3987" y="38"/>
                    <a:pt x="3987" y="38"/>
                    <a:pt x="3987" y="38"/>
                  </a:cubicBezTo>
                  <a:cubicBezTo>
                    <a:pt x="3987" y="38"/>
                    <a:pt x="3987" y="38"/>
                    <a:pt x="3987" y="38"/>
                  </a:cubicBezTo>
                  <a:cubicBezTo>
                    <a:pt x="3977" y="40"/>
                    <a:pt x="3977" y="40"/>
                    <a:pt x="3977" y="40"/>
                  </a:cubicBezTo>
                  <a:cubicBezTo>
                    <a:pt x="3987" y="40"/>
                    <a:pt x="3987" y="40"/>
                    <a:pt x="3987" y="40"/>
                  </a:cubicBezTo>
                  <a:cubicBezTo>
                    <a:pt x="3987" y="39"/>
                    <a:pt x="3987" y="39"/>
                    <a:pt x="3987" y="38"/>
                  </a:cubicBezTo>
                  <a:cubicBezTo>
                    <a:pt x="3977" y="40"/>
                    <a:pt x="3977" y="40"/>
                    <a:pt x="3977" y="40"/>
                  </a:cubicBezTo>
                  <a:cubicBezTo>
                    <a:pt x="3987" y="40"/>
                    <a:pt x="3987" y="40"/>
                    <a:pt x="3987" y="40"/>
                  </a:cubicBezTo>
                  <a:cubicBezTo>
                    <a:pt x="3978" y="40"/>
                    <a:pt x="3978" y="40"/>
                    <a:pt x="3978" y="40"/>
                  </a:cubicBezTo>
                  <a:cubicBezTo>
                    <a:pt x="3987" y="43"/>
                    <a:pt x="3987" y="43"/>
                    <a:pt x="3987" y="43"/>
                  </a:cubicBezTo>
                  <a:cubicBezTo>
                    <a:pt x="3987" y="42"/>
                    <a:pt x="3987" y="41"/>
                    <a:pt x="3987" y="40"/>
                  </a:cubicBezTo>
                  <a:cubicBezTo>
                    <a:pt x="3978" y="40"/>
                    <a:pt x="3978" y="40"/>
                    <a:pt x="3978" y="40"/>
                  </a:cubicBezTo>
                  <a:cubicBezTo>
                    <a:pt x="3987" y="43"/>
                    <a:pt x="3987" y="43"/>
                    <a:pt x="3987" y="43"/>
                  </a:cubicBezTo>
                  <a:cubicBezTo>
                    <a:pt x="3980" y="41"/>
                    <a:pt x="3980" y="41"/>
                    <a:pt x="3980" y="41"/>
                  </a:cubicBezTo>
                  <a:cubicBezTo>
                    <a:pt x="3986" y="44"/>
                    <a:pt x="3986" y="44"/>
                    <a:pt x="3986" y="44"/>
                  </a:cubicBezTo>
                  <a:cubicBezTo>
                    <a:pt x="3987" y="44"/>
                    <a:pt x="3987" y="44"/>
                    <a:pt x="3987" y="43"/>
                  </a:cubicBezTo>
                  <a:cubicBezTo>
                    <a:pt x="3980" y="41"/>
                    <a:pt x="3980" y="41"/>
                    <a:pt x="3980" y="41"/>
                  </a:cubicBezTo>
                  <a:cubicBezTo>
                    <a:pt x="3986" y="44"/>
                    <a:pt x="3986" y="44"/>
                    <a:pt x="3986" y="44"/>
                  </a:cubicBezTo>
                  <a:cubicBezTo>
                    <a:pt x="3983" y="42"/>
                    <a:pt x="3983" y="42"/>
                    <a:pt x="3983" y="42"/>
                  </a:cubicBezTo>
                  <a:cubicBezTo>
                    <a:pt x="3986" y="45"/>
                    <a:pt x="3986" y="45"/>
                    <a:pt x="3986" y="45"/>
                  </a:cubicBezTo>
                  <a:cubicBezTo>
                    <a:pt x="3986" y="44"/>
                    <a:pt x="3986" y="44"/>
                    <a:pt x="3986" y="44"/>
                  </a:cubicBezTo>
                  <a:cubicBezTo>
                    <a:pt x="3983" y="42"/>
                    <a:pt x="3983" y="42"/>
                    <a:pt x="3983" y="42"/>
                  </a:cubicBezTo>
                  <a:cubicBezTo>
                    <a:pt x="3986" y="45"/>
                    <a:pt x="3986" y="45"/>
                    <a:pt x="3986" y="45"/>
                  </a:cubicBezTo>
                  <a:cubicBezTo>
                    <a:pt x="3986" y="44"/>
                    <a:pt x="3986" y="44"/>
                    <a:pt x="3986" y="44"/>
                  </a:cubicBezTo>
                  <a:cubicBezTo>
                    <a:pt x="3987" y="44"/>
                    <a:pt x="3987" y="43"/>
                    <a:pt x="3988" y="42"/>
                  </a:cubicBezTo>
                  <a:cubicBezTo>
                    <a:pt x="3989" y="41"/>
                    <a:pt x="3990" y="40"/>
                    <a:pt x="3991" y="37"/>
                  </a:cubicBezTo>
                  <a:cubicBezTo>
                    <a:pt x="3991" y="37"/>
                    <a:pt x="3991" y="37"/>
                    <a:pt x="3991" y="37"/>
                  </a:cubicBezTo>
                  <a:cubicBezTo>
                    <a:pt x="3991" y="37"/>
                    <a:pt x="3991" y="37"/>
                    <a:pt x="3991" y="37"/>
                  </a:cubicBezTo>
                  <a:cubicBezTo>
                    <a:pt x="3992" y="32"/>
                    <a:pt x="3994" y="27"/>
                    <a:pt x="3994" y="22"/>
                  </a:cubicBezTo>
                  <a:cubicBezTo>
                    <a:pt x="3994" y="22"/>
                    <a:pt x="3994" y="22"/>
                    <a:pt x="3994" y="22"/>
                  </a:cubicBezTo>
                  <a:cubicBezTo>
                    <a:pt x="3994" y="22"/>
                    <a:pt x="3994" y="22"/>
                    <a:pt x="3994" y="22"/>
                  </a:cubicBezTo>
                  <a:cubicBezTo>
                    <a:pt x="3994" y="22"/>
                    <a:pt x="3994" y="21"/>
                    <a:pt x="3994" y="21"/>
                  </a:cubicBezTo>
                  <a:cubicBezTo>
                    <a:pt x="3994" y="18"/>
                    <a:pt x="3994" y="17"/>
                    <a:pt x="3994" y="16"/>
                  </a:cubicBezTo>
                  <a:cubicBezTo>
                    <a:pt x="3993" y="14"/>
                    <a:pt x="3992" y="12"/>
                    <a:pt x="3991" y="11"/>
                  </a:cubicBezTo>
                  <a:cubicBezTo>
                    <a:pt x="3991" y="10"/>
                    <a:pt x="3990" y="9"/>
                    <a:pt x="3989" y="8"/>
                  </a:cubicBezTo>
                  <a:cubicBezTo>
                    <a:pt x="3988" y="7"/>
                    <a:pt x="3987" y="7"/>
                    <a:pt x="3986" y="6"/>
                  </a:cubicBezTo>
                  <a:cubicBezTo>
                    <a:pt x="3985" y="5"/>
                    <a:pt x="3984" y="5"/>
                    <a:pt x="3982" y="5"/>
                  </a:cubicBezTo>
                  <a:cubicBezTo>
                    <a:pt x="3982" y="5"/>
                    <a:pt x="3982" y="5"/>
                    <a:pt x="3982" y="5"/>
                  </a:cubicBezTo>
                  <a:cubicBezTo>
                    <a:pt x="3981" y="4"/>
                    <a:pt x="3979" y="3"/>
                    <a:pt x="3975" y="3"/>
                  </a:cubicBezTo>
                  <a:cubicBezTo>
                    <a:pt x="3972" y="2"/>
                    <a:pt x="3969" y="1"/>
                    <a:pt x="3964" y="0"/>
                  </a:cubicBezTo>
                  <a:cubicBezTo>
                    <a:pt x="3962" y="0"/>
                    <a:pt x="3959" y="1"/>
                    <a:pt x="3957" y="2"/>
                  </a:cubicBezTo>
                  <a:cubicBezTo>
                    <a:pt x="3954" y="2"/>
                    <a:pt x="3952" y="3"/>
                    <a:pt x="3949" y="5"/>
                  </a:cubicBezTo>
                  <a:cubicBezTo>
                    <a:pt x="3949" y="5"/>
                    <a:pt x="3949" y="5"/>
                    <a:pt x="3949" y="5"/>
                  </a:cubicBezTo>
                  <a:cubicBezTo>
                    <a:pt x="3946" y="7"/>
                    <a:pt x="3944" y="9"/>
                    <a:pt x="3942" y="10"/>
                  </a:cubicBezTo>
                  <a:cubicBezTo>
                    <a:pt x="3940" y="11"/>
                    <a:pt x="3938" y="11"/>
                    <a:pt x="3936" y="11"/>
                  </a:cubicBezTo>
                  <a:cubicBezTo>
                    <a:pt x="3935" y="11"/>
                    <a:pt x="3935" y="11"/>
                    <a:pt x="3934" y="11"/>
                  </a:cubicBezTo>
                  <a:cubicBezTo>
                    <a:pt x="3934" y="11"/>
                    <a:pt x="3934" y="11"/>
                    <a:pt x="3934" y="11"/>
                  </a:cubicBezTo>
                  <a:cubicBezTo>
                    <a:pt x="3930" y="10"/>
                    <a:pt x="3927" y="10"/>
                    <a:pt x="3925" y="10"/>
                  </a:cubicBezTo>
                  <a:cubicBezTo>
                    <a:pt x="3925" y="10"/>
                    <a:pt x="3925" y="10"/>
                    <a:pt x="3925" y="10"/>
                  </a:cubicBezTo>
                  <a:cubicBezTo>
                    <a:pt x="3922" y="10"/>
                    <a:pt x="3918" y="8"/>
                    <a:pt x="3914" y="7"/>
                  </a:cubicBezTo>
                  <a:cubicBezTo>
                    <a:pt x="3914" y="7"/>
                    <a:pt x="3914" y="7"/>
                    <a:pt x="3914" y="7"/>
                  </a:cubicBezTo>
                  <a:cubicBezTo>
                    <a:pt x="3914" y="7"/>
                    <a:pt x="3914" y="7"/>
                    <a:pt x="3914" y="7"/>
                  </a:cubicBezTo>
                  <a:cubicBezTo>
                    <a:pt x="3911" y="7"/>
                    <a:pt x="3909" y="7"/>
                    <a:pt x="3906" y="7"/>
                  </a:cubicBezTo>
                  <a:cubicBezTo>
                    <a:pt x="3901" y="7"/>
                    <a:pt x="3895" y="8"/>
                    <a:pt x="3890" y="11"/>
                  </a:cubicBezTo>
                  <a:cubicBezTo>
                    <a:pt x="3885" y="14"/>
                    <a:pt x="3880" y="18"/>
                    <a:pt x="3877" y="23"/>
                  </a:cubicBezTo>
                  <a:cubicBezTo>
                    <a:pt x="3877" y="23"/>
                    <a:pt x="3877" y="23"/>
                    <a:pt x="3877" y="23"/>
                  </a:cubicBezTo>
                  <a:cubicBezTo>
                    <a:pt x="3877" y="24"/>
                    <a:pt x="3877" y="24"/>
                    <a:pt x="3877" y="24"/>
                  </a:cubicBezTo>
                  <a:cubicBezTo>
                    <a:pt x="3877" y="24"/>
                    <a:pt x="3877" y="24"/>
                    <a:pt x="3877" y="24"/>
                  </a:cubicBezTo>
                  <a:cubicBezTo>
                    <a:pt x="3883" y="27"/>
                    <a:pt x="3883" y="27"/>
                    <a:pt x="3883" y="27"/>
                  </a:cubicBezTo>
                  <a:cubicBezTo>
                    <a:pt x="3878" y="22"/>
                    <a:pt x="3878" y="22"/>
                    <a:pt x="3878" y="22"/>
                  </a:cubicBezTo>
                  <a:cubicBezTo>
                    <a:pt x="3877" y="23"/>
                    <a:pt x="3877" y="24"/>
                    <a:pt x="3877" y="24"/>
                  </a:cubicBezTo>
                  <a:cubicBezTo>
                    <a:pt x="3883" y="27"/>
                    <a:pt x="3883" y="27"/>
                    <a:pt x="3883" y="27"/>
                  </a:cubicBezTo>
                  <a:cubicBezTo>
                    <a:pt x="3878" y="22"/>
                    <a:pt x="3878" y="22"/>
                    <a:pt x="3878" y="22"/>
                  </a:cubicBezTo>
                  <a:cubicBezTo>
                    <a:pt x="3886" y="30"/>
                    <a:pt x="3886" y="30"/>
                    <a:pt x="3886" y="30"/>
                  </a:cubicBezTo>
                  <a:cubicBezTo>
                    <a:pt x="3881" y="20"/>
                    <a:pt x="3881" y="20"/>
                    <a:pt x="3881" y="20"/>
                  </a:cubicBezTo>
                  <a:cubicBezTo>
                    <a:pt x="3880" y="21"/>
                    <a:pt x="3879" y="22"/>
                    <a:pt x="3878" y="22"/>
                  </a:cubicBezTo>
                  <a:cubicBezTo>
                    <a:pt x="3886" y="30"/>
                    <a:pt x="3886" y="30"/>
                    <a:pt x="3886" y="30"/>
                  </a:cubicBezTo>
                  <a:cubicBezTo>
                    <a:pt x="3881" y="20"/>
                    <a:pt x="3881" y="20"/>
                    <a:pt x="3881" y="20"/>
                  </a:cubicBezTo>
                  <a:cubicBezTo>
                    <a:pt x="3886" y="30"/>
                    <a:pt x="3886" y="30"/>
                    <a:pt x="3886" y="30"/>
                  </a:cubicBezTo>
                  <a:cubicBezTo>
                    <a:pt x="3886" y="19"/>
                    <a:pt x="3886" y="19"/>
                    <a:pt x="3886" y="19"/>
                  </a:cubicBezTo>
                  <a:cubicBezTo>
                    <a:pt x="3884" y="19"/>
                    <a:pt x="3882" y="20"/>
                    <a:pt x="3881" y="20"/>
                  </a:cubicBezTo>
                  <a:cubicBezTo>
                    <a:pt x="3886" y="30"/>
                    <a:pt x="3886" y="30"/>
                    <a:pt x="3886" y="30"/>
                  </a:cubicBezTo>
                  <a:cubicBezTo>
                    <a:pt x="3886" y="19"/>
                    <a:pt x="3886" y="19"/>
                    <a:pt x="3886" y="19"/>
                  </a:cubicBezTo>
                  <a:cubicBezTo>
                    <a:pt x="3886" y="31"/>
                    <a:pt x="3886" y="31"/>
                    <a:pt x="3886" y="31"/>
                  </a:cubicBezTo>
                  <a:cubicBezTo>
                    <a:pt x="3892" y="20"/>
                    <a:pt x="3892" y="20"/>
                    <a:pt x="3892" y="20"/>
                  </a:cubicBezTo>
                  <a:cubicBezTo>
                    <a:pt x="3890" y="20"/>
                    <a:pt x="3888" y="19"/>
                    <a:pt x="3886" y="19"/>
                  </a:cubicBezTo>
                  <a:cubicBezTo>
                    <a:pt x="3886" y="31"/>
                    <a:pt x="3886" y="31"/>
                    <a:pt x="3886" y="31"/>
                  </a:cubicBezTo>
                  <a:cubicBezTo>
                    <a:pt x="3892" y="20"/>
                    <a:pt x="3892" y="20"/>
                    <a:pt x="3892" y="20"/>
                  </a:cubicBezTo>
                  <a:cubicBezTo>
                    <a:pt x="3886" y="30"/>
                    <a:pt x="3886" y="30"/>
                    <a:pt x="3886" y="30"/>
                  </a:cubicBezTo>
                  <a:cubicBezTo>
                    <a:pt x="3895" y="24"/>
                    <a:pt x="3895" y="24"/>
                    <a:pt x="3895" y="24"/>
                  </a:cubicBezTo>
                  <a:cubicBezTo>
                    <a:pt x="3895" y="23"/>
                    <a:pt x="3894" y="22"/>
                    <a:pt x="3892" y="20"/>
                  </a:cubicBezTo>
                  <a:cubicBezTo>
                    <a:pt x="3886" y="30"/>
                    <a:pt x="3886" y="30"/>
                    <a:pt x="3886" y="30"/>
                  </a:cubicBezTo>
                  <a:cubicBezTo>
                    <a:pt x="3895" y="24"/>
                    <a:pt x="3895" y="24"/>
                    <a:pt x="3895" y="24"/>
                  </a:cubicBezTo>
                  <a:cubicBezTo>
                    <a:pt x="3889" y="28"/>
                    <a:pt x="3889" y="28"/>
                    <a:pt x="3889" y="28"/>
                  </a:cubicBezTo>
                  <a:cubicBezTo>
                    <a:pt x="3896" y="25"/>
                    <a:pt x="3896" y="25"/>
                    <a:pt x="3896" y="25"/>
                  </a:cubicBezTo>
                  <a:cubicBezTo>
                    <a:pt x="3896" y="25"/>
                    <a:pt x="3896" y="24"/>
                    <a:pt x="3895" y="24"/>
                  </a:cubicBezTo>
                  <a:cubicBezTo>
                    <a:pt x="3889" y="28"/>
                    <a:pt x="3889" y="28"/>
                    <a:pt x="3889" y="28"/>
                  </a:cubicBezTo>
                  <a:cubicBezTo>
                    <a:pt x="3896" y="25"/>
                    <a:pt x="3896" y="25"/>
                    <a:pt x="3896" y="25"/>
                  </a:cubicBezTo>
                  <a:cubicBezTo>
                    <a:pt x="3894" y="26"/>
                    <a:pt x="3894" y="26"/>
                    <a:pt x="3894" y="26"/>
                  </a:cubicBezTo>
                  <a:cubicBezTo>
                    <a:pt x="3896" y="25"/>
                    <a:pt x="3896" y="25"/>
                    <a:pt x="3896" y="25"/>
                  </a:cubicBezTo>
                  <a:cubicBezTo>
                    <a:pt x="3896" y="25"/>
                    <a:pt x="3896" y="25"/>
                    <a:pt x="3896" y="25"/>
                  </a:cubicBezTo>
                  <a:cubicBezTo>
                    <a:pt x="3894" y="26"/>
                    <a:pt x="3894" y="26"/>
                    <a:pt x="3894" y="26"/>
                  </a:cubicBezTo>
                  <a:cubicBezTo>
                    <a:pt x="3896" y="25"/>
                    <a:pt x="3896" y="25"/>
                    <a:pt x="3896" y="25"/>
                  </a:cubicBezTo>
                  <a:cubicBezTo>
                    <a:pt x="3896" y="25"/>
                    <a:pt x="3895" y="24"/>
                    <a:pt x="3894" y="22"/>
                  </a:cubicBezTo>
                  <a:cubicBezTo>
                    <a:pt x="3894" y="22"/>
                    <a:pt x="3894" y="22"/>
                    <a:pt x="3894" y="22"/>
                  </a:cubicBezTo>
                  <a:cubicBezTo>
                    <a:pt x="3894" y="22"/>
                    <a:pt x="3894" y="22"/>
                    <a:pt x="3894" y="22"/>
                  </a:cubicBezTo>
                  <a:cubicBezTo>
                    <a:pt x="3892" y="19"/>
                    <a:pt x="3889" y="16"/>
                    <a:pt x="3886" y="14"/>
                  </a:cubicBezTo>
                  <a:cubicBezTo>
                    <a:pt x="3882" y="12"/>
                    <a:pt x="3878" y="11"/>
                    <a:pt x="3874" y="11"/>
                  </a:cubicBezTo>
                  <a:cubicBezTo>
                    <a:pt x="3870" y="11"/>
                    <a:pt x="3867" y="12"/>
                    <a:pt x="3863" y="13"/>
                  </a:cubicBezTo>
                  <a:cubicBezTo>
                    <a:pt x="3863" y="13"/>
                    <a:pt x="3863" y="13"/>
                    <a:pt x="3863" y="13"/>
                  </a:cubicBezTo>
                  <a:cubicBezTo>
                    <a:pt x="3863" y="13"/>
                    <a:pt x="3862" y="13"/>
                    <a:pt x="3862" y="13"/>
                  </a:cubicBezTo>
                  <a:cubicBezTo>
                    <a:pt x="3862" y="14"/>
                    <a:pt x="3862" y="14"/>
                    <a:pt x="3862" y="14"/>
                  </a:cubicBezTo>
                  <a:cubicBezTo>
                    <a:pt x="3862" y="14"/>
                    <a:pt x="3862" y="14"/>
                    <a:pt x="3862" y="14"/>
                  </a:cubicBezTo>
                  <a:cubicBezTo>
                    <a:pt x="3862" y="14"/>
                    <a:pt x="3862" y="14"/>
                    <a:pt x="3862" y="14"/>
                  </a:cubicBezTo>
                  <a:cubicBezTo>
                    <a:pt x="3862" y="14"/>
                    <a:pt x="3862" y="14"/>
                    <a:pt x="3862" y="14"/>
                  </a:cubicBezTo>
                  <a:cubicBezTo>
                    <a:pt x="3862" y="14"/>
                    <a:pt x="3862" y="14"/>
                    <a:pt x="3862" y="14"/>
                  </a:cubicBezTo>
                  <a:cubicBezTo>
                    <a:pt x="3862" y="14"/>
                    <a:pt x="3862" y="14"/>
                    <a:pt x="3862" y="14"/>
                  </a:cubicBezTo>
                  <a:cubicBezTo>
                    <a:pt x="3862" y="13"/>
                    <a:pt x="3862" y="13"/>
                    <a:pt x="3862" y="13"/>
                  </a:cubicBezTo>
                  <a:cubicBezTo>
                    <a:pt x="3861" y="13"/>
                    <a:pt x="3861" y="13"/>
                    <a:pt x="3860" y="13"/>
                  </a:cubicBezTo>
                  <a:cubicBezTo>
                    <a:pt x="3860" y="13"/>
                    <a:pt x="3860" y="13"/>
                    <a:pt x="3860" y="13"/>
                  </a:cubicBezTo>
                  <a:cubicBezTo>
                    <a:pt x="3856" y="10"/>
                    <a:pt x="3851" y="8"/>
                    <a:pt x="3845" y="8"/>
                  </a:cubicBezTo>
                  <a:cubicBezTo>
                    <a:pt x="3842" y="8"/>
                    <a:pt x="3839" y="9"/>
                    <a:pt x="3836" y="10"/>
                  </a:cubicBezTo>
                  <a:cubicBezTo>
                    <a:pt x="3832" y="11"/>
                    <a:pt x="3830" y="13"/>
                    <a:pt x="3827" y="16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7" y="17"/>
                    <a:pt x="3827" y="17"/>
                    <a:pt x="3827" y="17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7" y="17"/>
                    <a:pt x="3827" y="17"/>
                    <a:pt x="3827" y="17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8" y="17"/>
                    <a:pt x="3828" y="17"/>
                    <a:pt x="3828" y="17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8" y="17"/>
                    <a:pt x="3828" y="17"/>
                    <a:pt x="3828" y="17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7" y="16"/>
                    <a:pt x="3827" y="16"/>
                    <a:pt x="3827" y="16"/>
                  </a:cubicBezTo>
                  <a:cubicBezTo>
                    <a:pt x="3826" y="16"/>
                    <a:pt x="3826" y="16"/>
                    <a:pt x="3826" y="16"/>
                  </a:cubicBezTo>
                  <a:cubicBezTo>
                    <a:pt x="3826" y="16"/>
                    <a:pt x="3826" y="16"/>
                    <a:pt x="3826" y="16"/>
                  </a:cubicBezTo>
                  <a:cubicBezTo>
                    <a:pt x="3826" y="16"/>
                    <a:pt x="3826" y="16"/>
                    <a:pt x="3826" y="16"/>
                  </a:cubicBezTo>
                  <a:cubicBezTo>
                    <a:pt x="3825" y="16"/>
                    <a:pt x="3825" y="16"/>
                    <a:pt x="3824" y="16"/>
                  </a:cubicBezTo>
                  <a:cubicBezTo>
                    <a:pt x="3822" y="16"/>
                    <a:pt x="3819" y="16"/>
                    <a:pt x="3816" y="17"/>
                  </a:cubicBezTo>
                  <a:cubicBezTo>
                    <a:pt x="3812" y="18"/>
                    <a:pt x="3808" y="20"/>
                    <a:pt x="3805" y="23"/>
                  </a:cubicBezTo>
                  <a:cubicBezTo>
                    <a:pt x="3802" y="26"/>
                    <a:pt x="3800" y="30"/>
                    <a:pt x="3798" y="34"/>
                  </a:cubicBezTo>
                  <a:cubicBezTo>
                    <a:pt x="3798" y="34"/>
                    <a:pt x="3798" y="34"/>
                    <a:pt x="3798" y="34"/>
                  </a:cubicBezTo>
                  <a:cubicBezTo>
                    <a:pt x="3798" y="34"/>
                    <a:pt x="3798" y="35"/>
                    <a:pt x="3798" y="35"/>
                  </a:cubicBezTo>
                  <a:cubicBezTo>
                    <a:pt x="3798" y="35"/>
                    <a:pt x="3798" y="35"/>
                    <a:pt x="3798" y="35"/>
                  </a:cubicBezTo>
                  <a:cubicBezTo>
                    <a:pt x="3798" y="35"/>
                    <a:pt x="3798" y="35"/>
                    <a:pt x="3798" y="35"/>
                  </a:cubicBezTo>
                  <a:cubicBezTo>
                    <a:pt x="3798" y="35"/>
                    <a:pt x="3798" y="35"/>
                    <a:pt x="3798" y="35"/>
                  </a:cubicBezTo>
                  <a:cubicBezTo>
                    <a:pt x="3798" y="35"/>
                    <a:pt x="3798" y="35"/>
                    <a:pt x="3798" y="35"/>
                  </a:cubicBezTo>
                  <a:cubicBezTo>
                    <a:pt x="3798" y="35"/>
                    <a:pt x="3798" y="35"/>
                    <a:pt x="3798" y="35"/>
                  </a:cubicBezTo>
                  <a:cubicBezTo>
                    <a:pt x="3801" y="38"/>
                    <a:pt x="3801" y="38"/>
                    <a:pt x="3801" y="38"/>
                  </a:cubicBezTo>
                  <a:cubicBezTo>
                    <a:pt x="3798" y="35"/>
                    <a:pt x="3798" y="35"/>
                    <a:pt x="3798" y="35"/>
                  </a:cubicBezTo>
                  <a:cubicBezTo>
                    <a:pt x="3798" y="35"/>
                    <a:pt x="3798" y="35"/>
                    <a:pt x="3798" y="35"/>
                  </a:cubicBezTo>
                  <a:cubicBezTo>
                    <a:pt x="3801" y="38"/>
                    <a:pt x="3801" y="38"/>
                    <a:pt x="3801" y="38"/>
                  </a:cubicBezTo>
                  <a:cubicBezTo>
                    <a:pt x="3798" y="35"/>
                    <a:pt x="3798" y="35"/>
                    <a:pt x="3798" y="35"/>
                  </a:cubicBezTo>
                  <a:cubicBezTo>
                    <a:pt x="3804" y="41"/>
                    <a:pt x="3804" y="41"/>
                    <a:pt x="3804" y="41"/>
                  </a:cubicBezTo>
                  <a:cubicBezTo>
                    <a:pt x="3801" y="33"/>
                    <a:pt x="3801" y="33"/>
                    <a:pt x="3801" y="33"/>
                  </a:cubicBezTo>
                  <a:cubicBezTo>
                    <a:pt x="3799" y="34"/>
                    <a:pt x="3799" y="34"/>
                    <a:pt x="3798" y="35"/>
                  </a:cubicBezTo>
                  <a:cubicBezTo>
                    <a:pt x="3804" y="41"/>
                    <a:pt x="3804" y="41"/>
                    <a:pt x="3804" y="41"/>
                  </a:cubicBezTo>
                  <a:cubicBezTo>
                    <a:pt x="3801" y="33"/>
                    <a:pt x="3801" y="33"/>
                    <a:pt x="3801" y="33"/>
                  </a:cubicBezTo>
                  <a:cubicBezTo>
                    <a:pt x="3801" y="33"/>
                    <a:pt x="3801" y="33"/>
                    <a:pt x="3801" y="33"/>
                  </a:cubicBezTo>
                  <a:cubicBezTo>
                    <a:pt x="3795" y="35"/>
                    <a:pt x="3792" y="38"/>
                    <a:pt x="3789" y="41"/>
                  </a:cubicBezTo>
                  <a:cubicBezTo>
                    <a:pt x="3786" y="44"/>
                    <a:pt x="3784" y="46"/>
                    <a:pt x="3783" y="48"/>
                  </a:cubicBezTo>
                  <a:cubicBezTo>
                    <a:pt x="3783" y="48"/>
                    <a:pt x="3783" y="48"/>
                    <a:pt x="3783" y="48"/>
                  </a:cubicBezTo>
                  <a:cubicBezTo>
                    <a:pt x="3780" y="50"/>
                    <a:pt x="3777" y="54"/>
                    <a:pt x="3776" y="57"/>
                  </a:cubicBezTo>
                  <a:cubicBezTo>
                    <a:pt x="3773" y="62"/>
                    <a:pt x="3772" y="67"/>
                    <a:pt x="3771" y="71"/>
                  </a:cubicBezTo>
                  <a:cubicBezTo>
                    <a:pt x="3770" y="76"/>
                    <a:pt x="3770" y="80"/>
                    <a:pt x="3770" y="83"/>
                  </a:cubicBezTo>
                  <a:cubicBezTo>
                    <a:pt x="3770" y="83"/>
                    <a:pt x="3770" y="83"/>
                    <a:pt x="3770" y="83"/>
                  </a:cubicBezTo>
                  <a:cubicBezTo>
                    <a:pt x="3770" y="84"/>
                    <a:pt x="3770" y="84"/>
                    <a:pt x="3770" y="84"/>
                  </a:cubicBezTo>
                  <a:cubicBezTo>
                    <a:pt x="3770" y="87"/>
                    <a:pt x="3771" y="90"/>
                    <a:pt x="3771" y="92"/>
                  </a:cubicBezTo>
                  <a:cubicBezTo>
                    <a:pt x="3771" y="95"/>
                    <a:pt x="3772" y="97"/>
                    <a:pt x="3772" y="98"/>
                  </a:cubicBezTo>
                  <a:cubicBezTo>
                    <a:pt x="3772" y="98"/>
                    <a:pt x="3772" y="98"/>
                    <a:pt x="3772" y="98"/>
                  </a:cubicBezTo>
                  <a:cubicBezTo>
                    <a:pt x="3772" y="98"/>
                    <a:pt x="3772" y="98"/>
                    <a:pt x="3772" y="98"/>
                  </a:cubicBezTo>
                  <a:cubicBezTo>
                    <a:pt x="3772" y="100"/>
                    <a:pt x="3773" y="102"/>
                    <a:pt x="3774" y="103"/>
                  </a:cubicBezTo>
                  <a:cubicBezTo>
                    <a:pt x="3775" y="105"/>
                    <a:pt x="3775" y="106"/>
                    <a:pt x="3777" y="108"/>
                  </a:cubicBezTo>
                  <a:cubicBezTo>
                    <a:pt x="3777" y="108"/>
                    <a:pt x="3777" y="108"/>
                    <a:pt x="3777" y="108"/>
                  </a:cubicBezTo>
                  <a:cubicBezTo>
                    <a:pt x="3777" y="108"/>
                    <a:pt x="3777" y="108"/>
                    <a:pt x="3777" y="108"/>
                  </a:cubicBezTo>
                  <a:cubicBezTo>
                    <a:pt x="3778" y="109"/>
                    <a:pt x="3778" y="109"/>
                    <a:pt x="3778" y="110"/>
                  </a:cubicBezTo>
                  <a:cubicBezTo>
                    <a:pt x="3779" y="111"/>
                    <a:pt x="3779" y="112"/>
                    <a:pt x="3779" y="114"/>
                  </a:cubicBezTo>
                  <a:cubicBezTo>
                    <a:pt x="3779" y="117"/>
                    <a:pt x="3779" y="120"/>
                    <a:pt x="3779" y="124"/>
                  </a:cubicBezTo>
                  <a:cubicBezTo>
                    <a:pt x="3779" y="127"/>
                    <a:pt x="3779" y="129"/>
                    <a:pt x="3779" y="132"/>
                  </a:cubicBezTo>
                  <a:cubicBezTo>
                    <a:pt x="3779" y="132"/>
                    <a:pt x="3779" y="132"/>
                    <a:pt x="3779" y="132"/>
                  </a:cubicBezTo>
                  <a:cubicBezTo>
                    <a:pt x="3786" y="131"/>
                    <a:pt x="3786" y="131"/>
                    <a:pt x="3786" y="131"/>
                  </a:cubicBezTo>
                  <a:cubicBezTo>
                    <a:pt x="3779" y="131"/>
                    <a:pt x="3779" y="131"/>
                    <a:pt x="3779" y="131"/>
                  </a:cubicBezTo>
                  <a:cubicBezTo>
                    <a:pt x="3779" y="131"/>
                    <a:pt x="3779" y="131"/>
                    <a:pt x="3779" y="132"/>
                  </a:cubicBezTo>
                  <a:cubicBezTo>
                    <a:pt x="3786" y="131"/>
                    <a:pt x="3786" y="131"/>
                    <a:pt x="3786" y="131"/>
                  </a:cubicBezTo>
                  <a:cubicBezTo>
                    <a:pt x="3779" y="131"/>
                    <a:pt x="3779" y="131"/>
                    <a:pt x="3779" y="131"/>
                  </a:cubicBezTo>
                  <a:cubicBezTo>
                    <a:pt x="3788" y="131"/>
                    <a:pt x="3788" y="131"/>
                    <a:pt x="3788" y="131"/>
                  </a:cubicBezTo>
                  <a:cubicBezTo>
                    <a:pt x="3779" y="128"/>
                    <a:pt x="3779" y="128"/>
                    <a:pt x="3779" y="128"/>
                  </a:cubicBezTo>
                  <a:cubicBezTo>
                    <a:pt x="3779" y="129"/>
                    <a:pt x="3779" y="130"/>
                    <a:pt x="3779" y="131"/>
                  </a:cubicBezTo>
                  <a:cubicBezTo>
                    <a:pt x="3788" y="131"/>
                    <a:pt x="3788" y="131"/>
                    <a:pt x="3788" y="131"/>
                  </a:cubicBezTo>
                  <a:cubicBezTo>
                    <a:pt x="3779" y="128"/>
                    <a:pt x="3779" y="128"/>
                    <a:pt x="3779" y="128"/>
                  </a:cubicBezTo>
                  <a:cubicBezTo>
                    <a:pt x="3789" y="131"/>
                    <a:pt x="3789" y="131"/>
                    <a:pt x="3789" y="131"/>
                  </a:cubicBezTo>
                  <a:cubicBezTo>
                    <a:pt x="3783" y="123"/>
                    <a:pt x="3783" y="123"/>
                    <a:pt x="3783" y="123"/>
                  </a:cubicBezTo>
                  <a:cubicBezTo>
                    <a:pt x="3781" y="125"/>
                    <a:pt x="3780" y="126"/>
                    <a:pt x="3779" y="128"/>
                  </a:cubicBezTo>
                  <a:cubicBezTo>
                    <a:pt x="3789" y="131"/>
                    <a:pt x="3789" y="131"/>
                    <a:pt x="3789" y="131"/>
                  </a:cubicBezTo>
                  <a:cubicBezTo>
                    <a:pt x="3783" y="123"/>
                    <a:pt x="3783" y="123"/>
                    <a:pt x="3783" y="123"/>
                  </a:cubicBezTo>
                  <a:cubicBezTo>
                    <a:pt x="3789" y="131"/>
                    <a:pt x="3789" y="131"/>
                    <a:pt x="3789" y="131"/>
                  </a:cubicBezTo>
                  <a:cubicBezTo>
                    <a:pt x="3789" y="121"/>
                    <a:pt x="3789" y="121"/>
                    <a:pt x="3789" y="121"/>
                  </a:cubicBezTo>
                  <a:cubicBezTo>
                    <a:pt x="3787" y="121"/>
                    <a:pt x="3785" y="122"/>
                    <a:pt x="3783" y="123"/>
                  </a:cubicBezTo>
                  <a:cubicBezTo>
                    <a:pt x="3789" y="131"/>
                    <a:pt x="3789" y="131"/>
                    <a:pt x="3789" y="131"/>
                  </a:cubicBezTo>
                  <a:cubicBezTo>
                    <a:pt x="3789" y="121"/>
                    <a:pt x="3789" y="121"/>
                    <a:pt x="3789" y="121"/>
                  </a:cubicBezTo>
                  <a:cubicBezTo>
                    <a:pt x="3789" y="128"/>
                    <a:pt x="3789" y="128"/>
                    <a:pt x="3789" y="128"/>
                  </a:cubicBezTo>
                  <a:cubicBezTo>
                    <a:pt x="3792" y="122"/>
                    <a:pt x="3792" y="122"/>
                    <a:pt x="3792" y="122"/>
                  </a:cubicBezTo>
                  <a:cubicBezTo>
                    <a:pt x="3791" y="122"/>
                    <a:pt x="3791" y="121"/>
                    <a:pt x="3789" y="121"/>
                  </a:cubicBezTo>
                  <a:cubicBezTo>
                    <a:pt x="3789" y="128"/>
                    <a:pt x="3789" y="128"/>
                    <a:pt x="3789" y="128"/>
                  </a:cubicBezTo>
                  <a:cubicBezTo>
                    <a:pt x="3792" y="122"/>
                    <a:pt x="3792" y="122"/>
                    <a:pt x="3792" y="122"/>
                  </a:cubicBezTo>
                  <a:cubicBezTo>
                    <a:pt x="3792" y="122"/>
                    <a:pt x="3792" y="122"/>
                    <a:pt x="3792" y="122"/>
                  </a:cubicBezTo>
                  <a:cubicBezTo>
                    <a:pt x="3788" y="120"/>
                    <a:pt x="3783" y="119"/>
                    <a:pt x="3779" y="119"/>
                  </a:cubicBezTo>
                  <a:cubicBezTo>
                    <a:pt x="3775" y="118"/>
                    <a:pt x="3770" y="120"/>
                    <a:pt x="3767" y="122"/>
                  </a:cubicBezTo>
                  <a:cubicBezTo>
                    <a:pt x="3763" y="124"/>
                    <a:pt x="3761" y="126"/>
                    <a:pt x="3758" y="129"/>
                  </a:cubicBezTo>
                  <a:cubicBezTo>
                    <a:pt x="3758" y="129"/>
                    <a:pt x="3758" y="129"/>
                    <a:pt x="3758" y="129"/>
                  </a:cubicBezTo>
                  <a:cubicBezTo>
                    <a:pt x="3758" y="129"/>
                    <a:pt x="3758" y="129"/>
                    <a:pt x="3758" y="129"/>
                  </a:cubicBezTo>
                  <a:cubicBezTo>
                    <a:pt x="3758" y="129"/>
                    <a:pt x="3757" y="130"/>
                    <a:pt x="3756" y="130"/>
                  </a:cubicBezTo>
                  <a:cubicBezTo>
                    <a:pt x="3755" y="131"/>
                    <a:pt x="3754" y="132"/>
                    <a:pt x="3752" y="133"/>
                  </a:cubicBezTo>
                  <a:cubicBezTo>
                    <a:pt x="3752" y="133"/>
                    <a:pt x="3752" y="133"/>
                    <a:pt x="3752" y="133"/>
                  </a:cubicBezTo>
                  <a:cubicBezTo>
                    <a:pt x="3750" y="134"/>
                    <a:pt x="3748" y="136"/>
                    <a:pt x="3746" y="138"/>
                  </a:cubicBezTo>
                  <a:cubicBezTo>
                    <a:pt x="3743" y="141"/>
                    <a:pt x="3741" y="144"/>
                    <a:pt x="3740" y="148"/>
                  </a:cubicBezTo>
                  <a:cubicBezTo>
                    <a:pt x="3738" y="151"/>
                    <a:pt x="3737" y="155"/>
                    <a:pt x="3737" y="159"/>
                  </a:cubicBezTo>
                  <a:cubicBezTo>
                    <a:pt x="3737" y="161"/>
                    <a:pt x="3738" y="163"/>
                    <a:pt x="3738" y="166"/>
                  </a:cubicBezTo>
                  <a:cubicBezTo>
                    <a:pt x="3738" y="166"/>
                    <a:pt x="3738" y="166"/>
                    <a:pt x="3738" y="166"/>
                  </a:cubicBezTo>
                  <a:cubicBezTo>
                    <a:pt x="3739" y="167"/>
                    <a:pt x="3739" y="168"/>
                    <a:pt x="3740" y="169"/>
                  </a:cubicBezTo>
                  <a:cubicBezTo>
                    <a:pt x="3740" y="170"/>
                    <a:pt x="3740" y="170"/>
                    <a:pt x="3740" y="170"/>
                  </a:cubicBezTo>
                  <a:cubicBezTo>
                    <a:pt x="3741" y="171"/>
                    <a:pt x="3741" y="171"/>
                    <a:pt x="3741" y="171"/>
                  </a:cubicBezTo>
                  <a:cubicBezTo>
                    <a:pt x="3745" y="168"/>
                    <a:pt x="3745" y="168"/>
                    <a:pt x="3745" y="168"/>
                  </a:cubicBezTo>
                  <a:cubicBezTo>
                    <a:pt x="3740" y="170"/>
                    <a:pt x="3740" y="170"/>
                    <a:pt x="3740" y="170"/>
                  </a:cubicBezTo>
                  <a:cubicBezTo>
                    <a:pt x="3740" y="170"/>
                    <a:pt x="3741" y="171"/>
                    <a:pt x="3741" y="171"/>
                  </a:cubicBezTo>
                  <a:cubicBezTo>
                    <a:pt x="3745" y="168"/>
                    <a:pt x="3745" y="168"/>
                    <a:pt x="3745" y="168"/>
                  </a:cubicBezTo>
                  <a:cubicBezTo>
                    <a:pt x="3740" y="170"/>
                    <a:pt x="3740" y="170"/>
                    <a:pt x="3740" y="170"/>
                  </a:cubicBezTo>
                  <a:cubicBezTo>
                    <a:pt x="3749" y="167"/>
                    <a:pt x="3749" y="167"/>
                    <a:pt x="3749" y="167"/>
                  </a:cubicBezTo>
                  <a:cubicBezTo>
                    <a:pt x="3740" y="167"/>
                    <a:pt x="3740" y="167"/>
                    <a:pt x="3740" y="167"/>
                  </a:cubicBezTo>
                  <a:cubicBezTo>
                    <a:pt x="3740" y="168"/>
                    <a:pt x="3740" y="169"/>
                    <a:pt x="3740" y="170"/>
                  </a:cubicBezTo>
                  <a:cubicBezTo>
                    <a:pt x="3749" y="167"/>
                    <a:pt x="3749" y="167"/>
                    <a:pt x="3749" y="167"/>
                  </a:cubicBezTo>
                  <a:cubicBezTo>
                    <a:pt x="3740" y="167"/>
                    <a:pt x="3740" y="167"/>
                    <a:pt x="3740" y="167"/>
                  </a:cubicBezTo>
                  <a:cubicBezTo>
                    <a:pt x="3749" y="167"/>
                    <a:pt x="3749" y="167"/>
                    <a:pt x="3749" y="167"/>
                  </a:cubicBezTo>
                  <a:cubicBezTo>
                    <a:pt x="3741" y="162"/>
                    <a:pt x="3741" y="162"/>
                    <a:pt x="3741" y="162"/>
                  </a:cubicBezTo>
                  <a:cubicBezTo>
                    <a:pt x="3740" y="163"/>
                    <a:pt x="3740" y="165"/>
                    <a:pt x="3740" y="167"/>
                  </a:cubicBezTo>
                  <a:cubicBezTo>
                    <a:pt x="3749" y="167"/>
                    <a:pt x="3749" y="167"/>
                    <a:pt x="3749" y="167"/>
                  </a:cubicBezTo>
                  <a:cubicBezTo>
                    <a:pt x="3741" y="162"/>
                    <a:pt x="3741" y="162"/>
                    <a:pt x="3741" y="162"/>
                  </a:cubicBezTo>
                  <a:cubicBezTo>
                    <a:pt x="3747" y="165"/>
                    <a:pt x="3747" y="165"/>
                    <a:pt x="3747" y="165"/>
                  </a:cubicBezTo>
                  <a:cubicBezTo>
                    <a:pt x="3743" y="160"/>
                    <a:pt x="3743" y="160"/>
                    <a:pt x="3743" y="160"/>
                  </a:cubicBezTo>
                  <a:cubicBezTo>
                    <a:pt x="3743" y="160"/>
                    <a:pt x="3742" y="160"/>
                    <a:pt x="3741" y="162"/>
                  </a:cubicBezTo>
                  <a:cubicBezTo>
                    <a:pt x="3747" y="165"/>
                    <a:pt x="3747" y="165"/>
                    <a:pt x="3747" y="165"/>
                  </a:cubicBezTo>
                  <a:cubicBezTo>
                    <a:pt x="3743" y="160"/>
                    <a:pt x="3743" y="160"/>
                    <a:pt x="3743" y="160"/>
                  </a:cubicBezTo>
                  <a:cubicBezTo>
                    <a:pt x="3743" y="160"/>
                    <a:pt x="3743" y="160"/>
                    <a:pt x="3743" y="160"/>
                  </a:cubicBezTo>
                  <a:cubicBezTo>
                    <a:pt x="3743" y="160"/>
                    <a:pt x="3743" y="160"/>
                    <a:pt x="3743" y="160"/>
                  </a:cubicBezTo>
                  <a:cubicBezTo>
                    <a:pt x="3741" y="161"/>
                    <a:pt x="3739" y="163"/>
                    <a:pt x="3739" y="163"/>
                  </a:cubicBezTo>
                  <a:cubicBezTo>
                    <a:pt x="3738" y="164"/>
                    <a:pt x="3738" y="164"/>
                    <a:pt x="3738" y="164"/>
                  </a:cubicBezTo>
                  <a:cubicBezTo>
                    <a:pt x="3738" y="164"/>
                    <a:pt x="3738" y="164"/>
                    <a:pt x="3738" y="164"/>
                  </a:cubicBezTo>
                  <a:cubicBezTo>
                    <a:pt x="3740" y="166"/>
                    <a:pt x="3740" y="166"/>
                    <a:pt x="3740" y="166"/>
                  </a:cubicBezTo>
                  <a:cubicBezTo>
                    <a:pt x="3739" y="163"/>
                    <a:pt x="3739" y="163"/>
                    <a:pt x="3739" y="163"/>
                  </a:cubicBezTo>
                  <a:cubicBezTo>
                    <a:pt x="3738" y="164"/>
                    <a:pt x="3738" y="164"/>
                    <a:pt x="3738" y="164"/>
                  </a:cubicBezTo>
                  <a:cubicBezTo>
                    <a:pt x="3740" y="166"/>
                    <a:pt x="3740" y="166"/>
                    <a:pt x="3740" y="166"/>
                  </a:cubicBezTo>
                  <a:cubicBezTo>
                    <a:pt x="3739" y="163"/>
                    <a:pt x="3739" y="163"/>
                    <a:pt x="3739" y="163"/>
                  </a:cubicBezTo>
                  <a:cubicBezTo>
                    <a:pt x="3741" y="169"/>
                    <a:pt x="3741" y="169"/>
                    <a:pt x="3741" y="169"/>
                  </a:cubicBezTo>
                  <a:cubicBezTo>
                    <a:pt x="3740" y="163"/>
                    <a:pt x="3740" y="163"/>
                    <a:pt x="3740" y="163"/>
                  </a:cubicBezTo>
                  <a:cubicBezTo>
                    <a:pt x="3739" y="163"/>
                    <a:pt x="3739" y="163"/>
                    <a:pt x="3739" y="163"/>
                  </a:cubicBezTo>
                  <a:cubicBezTo>
                    <a:pt x="3741" y="169"/>
                    <a:pt x="3741" y="169"/>
                    <a:pt x="3741" y="169"/>
                  </a:cubicBezTo>
                  <a:cubicBezTo>
                    <a:pt x="3740" y="163"/>
                    <a:pt x="3740" y="163"/>
                    <a:pt x="3740" y="163"/>
                  </a:cubicBezTo>
                  <a:cubicBezTo>
                    <a:pt x="3740" y="163"/>
                    <a:pt x="3740" y="163"/>
                    <a:pt x="3740" y="163"/>
                  </a:cubicBezTo>
                  <a:cubicBezTo>
                    <a:pt x="3736" y="164"/>
                    <a:pt x="3733" y="164"/>
                    <a:pt x="3730" y="165"/>
                  </a:cubicBezTo>
                  <a:cubicBezTo>
                    <a:pt x="3727" y="165"/>
                    <a:pt x="3725" y="166"/>
                    <a:pt x="3723" y="167"/>
                  </a:cubicBezTo>
                  <a:cubicBezTo>
                    <a:pt x="3720" y="168"/>
                    <a:pt x="3717" y="169"/>
                    <a:pt x="3714" y="171"/>
                  </a:cubicBezTo>
                  <a:cubicBezTo>
                    <a:pt x="3711" y="172"/>
                    <a:pt x="3708" y="174"/>
                    <a:pt x="3704" y="177"/>
                  </a:cubicBezTo>
                  <a:cubicBezTo>
                    <a:pt x="3711" y="187"/>
                    <a:pt x="3711" y="187"/>
                    <a:pt x="3711" y="187"/>
                  </a:cubicBezTo>
                  <a:cubicBezTo>
                    <a:pt x="3704" y="177"/>
                    <a:pt x="3704" y="177"/>
                    <a:pt x="3704" y="177"/>
                  </a:cubicBezTo>
                  <a:cubicBezTo>
                    <a:pt x="3706" y="179"/>
                    <a:pt x="3706" y="179"/>
                    <a:pt x="3706" y="179"/>
                  </a:cubicBezTo>
                  <a:cubicBezTo>
                    <a:pt x="3705" y="176"/>
                    <a:pt x="3705" y="176"/>
                    <a:pt x="3705" y="176"/>
                  </a:cubicBezTo>
                  <a:cubicBezTo>
                    <a:pt x="3705" y="176"/>
                    <a:pt x="3705" y="176"/>
                    <a:pt x="3704" y="177"/>
                  </a:cubicBezTo>
                  <a:cubicBezTo>
                    <a:pt x="3706" y="179"/>
                    <a:pt x="3706" y="179"/>
                    <a:pt x="3706" y="179"/>
                  </a:cubicBezTo>
                  <a:cubicBezTo>
                    <a:pt x="3705" y="176"/>
                    <a:pt x="3705" y="176"/>
                    <a:pt x="3705" y="176"/>
                  </a:cubicBezTo>
                  <a:cubicBezTo>
                    <a:pt x="3705" y="176"/>
                    <a:pt x="3705" y="176"/>
                    <a:pt x="3705" y="176"/>
                  </a:cubicBezTo>
                  <a:cubicBezTo>
                    <a:pt x="3705" y="176"/>
                    <a:pt x="3705" y="176"/>
                    <a:pt x="3705" y="176"/>
                  </a:cubicBezTo>
                  <a:cubicBezTo>
                    <a:pt x="3700" y="177"/>
                    <a:pt x="3695" y="179"/>
                    <a:pt x="3691" y="183"/>
                  </a:cubicBezTo>
                  <a:cubicBezTo>
                    <a:pt x="3687" y="186"/>
                    <a:pt x="3684" y="190"/>
                    <a:pt x="3682" y="195"/>
                  </a:cubicBezTo>
                  <a:cubicBezTo>
                    <a:pt x="3682" y="195"/>
                    <a:pt x="3682" y="195"/>
                    <a:pt x="3682" y="195"/>
                  </a:cubicBezTo>
                  <a:cubicBezTo>
                    <a:pt x="3682" y="196"/>
                    <a:pt x="3682" y="196"/>
                    <a:pt x="3682" y="197"/>
                  </a:cubicBezTo>
                  <a:cubicBezTo>
                    <a:pt x="3681" y="197"/>
                    <a:pt x="3681" y="197"/>
                    <a:pt x="3681" y="197"/>
                  </a:cubicBezTo>
                  <a:cubicBezTo>
                    <a:pt x="3681" y="197"/>
                    <a:pt x="3681" y="197"/>
                    <a:pt x="3681" y="197"/>
                  </a:cubicBezTo>
                  <a:cubicBezTo>
                    <a:pt x="3681" y="197"/>
                    <a:pt x="3681" y="197"/>
                    <a:pt x="3681" y="197"/>
                  </a:cubicBezTo>
                  <a:cubicBezTo>
                    <a:pt x="3685" y="200"/>
                    <a:pt x="3685" y="200"/>
                    <a:pt x="3685" y="200"/>
                  </a:cubicBezTo>
                  <a:cubicBezTo>
                    <a:pt x="3683" y="196"/>
                    <a:pt x="3683" y="196"/>
                    <a:pt x="3683" y="196"/>
                  </a:cubicBezTo>
                  <a:cubicBezTo>
                    <a:pt x="3682" y="197"/>
                    <a:pt x="3681" y="197"/>
                    <a:pt x="3681" y="197"/>
                  </a:cubicBezTo>
                  <a:cubicBezTo>
                    <a:pt x="3685" y="200"/>
                    <a:pt x="3685" y="200"/>
                    <a:pt x="3685" y="200"/>
                  </a:cubicBezTo>
                  <a:cubicBezTo>
                    <a:pt x="3683" y="196"/>
                    <a:pt x="3683" y="196"/>
                    <a:pt x="3683" y="196"/>
                  </a:cubicBezTo>
                  <a:cubicBezTo>
                    <a:pt x="3685" y="201"/>
                    <a:pt x="3685" y="201"/>
                    <a:pt x="3685" y="201"/>
                  </a:cubicBezTo>
                  <a:cubicBezTo>
                    <a:pt x="3685" y="195"/>
                    <a:pt x="3685" y="195"/>
                    <a:pt x="3685" y="195"/>
                  </a:cubicBezTo>
                  <a:cubicBezTo>
                    <a:pt x="3685" y="195"/>
                    <a:pt x="3684" y="196"/>
                    <a:pt x="3683" y="196"/>
                  </a:cubicBezTo>
                  <a:cubicBezTo>
                    <a:pt x="3685" y="201"/>
                    <a:pt x="3685" y="201"/>
                    <a:pt x="3685" y="201"/>
                  </a:cubicBezTo>
                  <a:cubicBezTo>
                    <a:pt x="3685" y="195"/>
                    <a:pt x="3685" y="195"/>
                    <a:pt x="3685" y="195"/>
                  </a:cubicBezTo>
                  <a:cubicBezTo>
                    <a:pt x="3685" y="197"/>
                    <a:pt x="3685" y="197"/>
                    <a:pt x="3685" y="197"/>
                  </a:cubicBezTo>
                  <a:cubicBezTo>
                    <a:pt x="3686" y="195"/>
                    <a:pt x="3686" y="195"/>
                    <a:pt x="3686" y="195"/>
                  </a:cubicBezTo>
                  <a:cubicBezTo>
                    <a:pt x="3685" y="195"/>
                    <a:pt x="3685" y="195"/>
                    <a:pt x="3685" y="195"/>
                  </a:cubicBezTo>
                  <a:cubicBezTo>
                    <a:pt x="3685" y="197"/>
                    <a:pt x="3685" y="197"/>
                    <a:pt x="3685" y="197"/>
                  </a:cubicBezTo>
                  <a:cubicBezTo>
                    <a:pt x="3686" y="195"/>
                    <a:pt x="3686" y="195"/>
                    <a:pt x="3686" y="195"/>
                  </a:cubicBezTo>
                  <a:cubicBezTo>
                    <a:pt x="3686" y="195"/>
                    <a:pt x="3686" y="195"/>
                    <a:pt x="3686" y="195"/>
                  </a:cubicBezTo>
                  <a:cubicBezTo>
                    <a:pt x="3685" y="195"/>
                    <a:pt x="3685" y="195"/>
                    <a:pt x="3685" y="195"/>
                  </a:cubicBezTo>
                  <a:cubicBezTo>
                    <a:pt x="3685" y="195"/>
                    <a:pt x="3685" y="195"/>
                    <a:pt x="3685" y="195"/>
                  </a:cubicBezTo>
                  <a:cubicBezTo>
                    <a:pt x="3685" y="195"/>
                    <a:pt x="3685" y="195"/>
                    <a:pt x="3685" y="195"/>
                  </a:cubicBezTo>
                  <a:cubicBezTo>
                    <a:pt x="3684" y="195"/>
                    <a:pt x="3683" y="195"/>
                    <a:pt x="3682" y="195"/>
                  </a:cubicBezTo>
                  <a:cubicBezTo>
                    <a:pt x="3680" y="195"/>
                    <a:pt x="3678" y="195"/>
                    <a:pt x="3677" y="196"/>
                  </a:cubicBezTo>
                  <a:cubicBezTo>
                    <a:pt x="3675" y="197"/>
                    <a:pt x="3674" y="197"/>
                    <a:pt x="3673" y="198"/>
                  </a:cubicBezTo>
                  <a:cubicBezTo>
                    <a:pt x="3672" y="198"/>
                    <a:pt x="3672" y="198"/>
                    <a:pt x="3672" y="198"/>
                  </a:cubicBezTo>
                  <a:cubicBezTo>
                    <a:pt x="3672" y="199"/>
                    <a:pt x="3672" y="199"/>
                    <a:pt x="3672" y="199"/>
                  </a:cubicBezTo>
                  <a:cubicBezTo>
                    <a:pt x="3672" y="199"/>
                    <a:pt x="3672" y="199"/>
                    <a:pt x="3672" y="199"/>
                  </a:cubicBezTo>
                  <a:cubicBezTo>
                    <a:pt x="3672" y="199"/>
                    <a:pt x="3672" y="199"/>
                    <a:pt x="3672" y="199"/>
                  </a:cubicBezTo>
                  <a:cubicBezTo>
                    <a:pt x="3672" y="199"/>
                    <a:pt x="3672" y="199"/>
                    <a:pt x="3672" y="199"/>
                  </a:cubicBezTo>
                  <a:cubicBezTo>
                    <a:pt x="3672" y="199"/>
                    <a:pt x="3672" y="199"/>
                    <a:pt x="3672" y="199"/>
                  </a:cubicBezTo>
                  <a:cubicBezTo>
                    <a:pt x="3672" y="199"/>
                    <a:pt x="3672" y="199"/>
                    <a:pt x="3672" y="199"/>
                  </a:cubicBezTo>
                  <a:cubicBezTo>
                    <a:pt x="3672" y="199"/>
                    <a:pt x="3672" y="199"/>
                    <a:pt x="3672" y="199"/>
                  </a:cubicBezTo>
                  <a:cubicBezTo>
                    <a:pt x="3671" y="199"/>
                    <a:pt x="3671" y="199"/>
                    <a:pt x="3671" y="199"/>
                  </a:cubicBezTo>
                  <a:cubicBezTo>
                    <a:pt x="3672" y="199"/>
                    <a:pt x="3672" y="199"/>
                    <a:pt x="3672" y="199"/>
                  </a:cubicBezTo>
                  <a:cubicBezTo>
                    <a:pt x="3666" y="202"/>
                    <a:pt x="3661" y="205"/>
                    <a:pt x="3656" y="206"/>
                  </a:cubicBezTo>
                  <a:cubicBezTo>
                    <a:pt x="3656" y="206"/>
                    <a:pt x="3656" y="206"/>
                    <a:pt x="3656" y="206"/>
                  </a:cubicBezTo>
                  <a:cubicBezTo>
                    <a:pt x="3653" y="208"/>
                    <a:pt x="3650" y="209"/>
                    <a:pt x="3647" y="213"/>
                  </a:cubicBezTo>
                  <a:cubicBezTo>
                    <a:pt x="3645" y="214"/>
                    <a:pt x="3644" y="217"/>
                    <a:pt x="3643" y="219"/>
                  </a:cubicBezTo>
                  <a:cubicBezTo>
                    <a:pt x="3642" y="221"/>
                    <a:pt x="3642" y="223"/>
                    <a:pt x="3642" y="226"/>
                  </a:cubicBezTo>
                  <a:cubicBezTo>
                    <a:pt x="3642" y="227"/>
                    <a:pt x="3642" y="228"/>
                    <a:pt x="3642" y="229"/>
                  </a:cubicBezTo>
                  <a:cubicBezTo>
                    <a:pt x="3642" y="229"/>
                    <a:pt x="3642" y="229"/>
                    <a:pt x="3642" y="229"/>
                  </a:cubicBezTo>
                  <a:cubicBezTo>
                    <a:pt x="3644" y="240"/>
                    <a:pt x="3646" y="250"/>
                    <a:pt x="3648" y="261"/>
                  </a:cubicBezTo>
                  <a:cubicBezTo>
                    <a:pt x="3648" y="261"/>
                    <a:pt x="3648" y="261"/>
                    <a:pt x="3648" y="261"/>
                  </a:cubicBezTo>
                  <a:cubicBezTo>
                    <a:pt x="3648" y="263"/>
                    <a:pt x="3649" y="264"/>
                    <a:pt x="3649" y="266"/>
                  </a:cubicBezTo>
                  <a:cubicBezTo>
                    <a:pt x="3650" y="268"/>
                    <a:pt x="3651" y="269"/>
                    <a:pt x="3653" y="271"/>
                  </a:cubicBezTo>
                  <a:cubicBezTo>
                    <a:pt x="3653" y="271"/>
                    <a:pt x="3653" y="271"/>
                    <a:pt x="3653" y="271"/>
                  </a:cubicBezTo>
                  <a:cubicBezTo>
                    <a:pt x="3653" y="272"/>
                    <a:pt x="3653" y="272"/>
                    <a:pt x="3653" y="272"/>
                  </a:cubicBezTo>
                  <a:cubicBezTo>
                    <a:pt x="3653" y="272"/>
                    <a:pt x="3653" y="272"/>
                    <a:pt x="3653" y="272"/>
                  </a:cubicBezTo>
                  <a:cubicBezTo>
                    <a:pt x="3653" y="272"/>
                    <a:pt x="3653" y="273"/>
                    <a:pt x="3653" y="274"/>
                  </a:cubicBezTo>
                  <a:cubicBezTo>
                    <a:pt x="3653" y="274"/>
                    <a:pt x="3653" y="274"/>
                    <a:pt x="3653" y="274"/>
                  </a:cubicBezTo>
                  <a:cubicBezTo>
                    <a:pt x="3651" y="277"/>
                    <a:pt x="3650" y="281"/>
                    <a:pt x="3650" y="285"/>
                  </a:cubicBezTo>
                  <a:cubicBezTo>
                    <a:pt x="3650" y="288"/>
                    <a:pt x="3651" y="292"/>
                    <a:pt x="3652" y="294"/>
                  </a:cubicBezTo>
                  <a:cubicBezTo>
                    <a:pt x="3653" y="297"/>
                    <a:pt x="3655" y="300"/>
                    <a:pt x="3657" y="302"/>
                  </a:cubicBezTo>
                  <a:cubicBezTo>
                    <a:pt x="3657" y="302"/>
                    <a:pt x="3657" y="302"/>
                    <a:pt x="3657" y="302"/>
                  </a:cubicBezTo>
                  <a:cubicBezTo>
                    <a:pt x="3658" y="304"/>
                    <a:pt x="3659" y="305"/>
                    <a:pt x="3659" y="305"/>
                  </a:cubicBezTo>
                  <a:cubicBezTo>
                    <a:pt x="3660" y="304"/>
                    <a:pt x="3660" y="304"/>
                    <a:pt x="3660" y="304"/>
                  </a:cubicBezTo>
                  <a:cubicBezTo>
                    <a:pt x="3659" y="305"/>
                    <a:pt x="3659" y="305"/>
                    <a:pt x="3659" y="305"/>
                  </a:cubicBezTo>
                  <a:cubicBezTo>
                    <a:pt x="3659" y="305"/>
                    <a:pt x="3659" y="305"/>
                    <a:pt x="3659" y="305"/>
                  </a:cubicBezTo>
                  <a:cubicBezTo>
                    <a:pt x="3660" y="304"/>
                    <a:pt x="3660" y="304"/>
                    <a:pt x="3660" y="304"/>
                  </a:cubicBezTo>
                  <a:cubicBezTo>
                    <a:pt x="3659" y="305"/>
                    <a:pt x="3659" y="305"/>
                    <a:pt x="3659" y="305"/>
                  </a:cubicBezTo>
                  <a:cubicBezTo>
                    <a:pt x="3663" y="302"/>
                    <a:pt x="3663" y="302"/>
                    <a:pt x="3663" y="302"/>
                  </a:cubicBezTo>
                  <a:cubicBezTo>
                    <a:pt x="3658" y="304"/>
                    <a:pt x="3658" y="304"/>
                    <a:pt x="3658" y="304"/>
                  </a:cubicBezTo>
                  <a:cubicBezTo>
                    <a:pt x="3659" y="304"/>
                    <a:pt x="3659" y="305"/>
                    <a:pt x="3659" y="305"/>
                  </a:cubicBezTo>
                  <a:cubicBezTo>
                    <a:pt x="3663" y="302"/>
                    <a:pt x="3663" y="302"/>
                    <a:pt x="3663" y="302"/>
                  </a:cubicBezTo>
                  <a:cubicBezTo>
                    <a:pt x="3658" y="304"/>
                    <a:pt x="3658" y="304"/>
                    <a:pt x="3658" y="304"/>
                  </a:cubicBezTo>
                  <a:cubicBezTo>
                    <a:pt x="3666" y="301"/>
                    <a:pt x="3666" y="301"/>
                    <a:pt x="3666" y="301"/>
                  </a:cubicBezTo>
                  <a:cubicBezTo>
                    <a:pt x="3658" y="301"/>
                    <a:pt x="3658" y="301"/>
                    <a:pt x="3658" y="301"/>
                  </a:cubicBezTo>
                  <a:cubicBezTo>
                    <a:pt x="3658" y="302"/>
                    <a:pt x="3658" y="303"/>
                    <a:pt x="3658" y="304"/>
                  </a:cubicBezTo>
                  <a:cubicBezTo>
                    <a:pt x="3666" y="301"/>
                    <a:pt x="3666" y="301"/>
                    <a:pt x="3666" y="301"/>
                  </a:cubicBezTo>
                  <a:cubicBezTo>
                    <a:pt x="3658" y="301"/>
                    <a:pt x="3658" y="301"/>
                    <a:pt x="3658" y="301"/>
                  </a:cubicBezTo>
                  <a:cubicBezTo>
                    <a:pt x="3665" y="301"/>
                    <a:pt x="3665" y="301"/>
                    <a:pt x="3665" y="301"/>
                  </a:cubicBezTo>
                  <a:cubicBezTo>
                    <a:pt x="3659" y="299"/>
                    <a:pt x="3659" y="299"/>
                    <a:pt x="3659" y="299"/>
                  </a:cubicBezTo>
                  <a:cubicBezTo>
                    <a:pt x="3658" y="299"/>
                    <a:pt x="3658" y="300"/>
                    <a:pt x="3658" y="301"/>
                  </a:cubicBezTo>
                  <a:cubicBezTo>
                    <a:pt x="3665" y="301"/>
                    <a:pt x="3665" y="301"/>
                    <a:pt x="3665" y="301"/>
                  </a:cubicBezTo>
                  <a:cubicBezTo>
                    <a:pt x="3659" y="299"/>
                    <a:pt x="3659" y="299"/>
                    <a:pt x="3659" y="299"/>
                  </a:cubicBezTo>
                  <a:cubicBezTo>
                    <a:pt x="3662" y="300"/>
                    <a:pt x="3662" y="300"/>
                    <a:pt x="3662" y="300"/>
                  </a:cubicBezTo>
                  <a:cubicBezTo>
                    <a:pt x="3659" y="299"/>
                    <a:pt x="3659" y="299"/>
                    <a:pt x="3659" y="299"/>
                  </a:cubicBezTo>
                  <a:cubicBezTo>
                    <a:pt x="3659" y="299"/>
                    <a:pt x="3659" y="299"/>
                    <a:pt x="3659" y="299"/>
                  </a:cubicBezTo>
                  <a:cubicBezTo>
                    <a:pt x="3662" y="300"/>
                    <a:pt x="3662" y="300"/>
                    <a:pt x="3662" y="300"/>
                  </a:cubicBezTo>
                  <a:cubicBezTo>
                    <a:pt x="3659" y="299"/>
                    <a:pt x="3659" y="299"/>
                    <a:pt x="3659" y="299"/>
                  </a:cubicBezTo>
                  <a:cubicBezTo>
                    <a:pt x="3660" y="299"/>
                    <a:pt x="3660" y="299"/>
                    <a:pt x="3660" y="299"/>
                  </a:cubicBezTo>
                  <a:cubicBezTo>
                    <a:pt x="3659" y="299"/>
                    <a:pt x="3659" y="299"/>
                    <a:pt x="3659" y="299"/>
                  </a:cubicBezTo>
                  <a:cubicBezTo>
                    <a:pt x="3659" y="299"/>
                    <a:pt x="3659" y="299"/>
                    <a:pt x="3659" y="299"/>
                  </a:cubicBezTo>
                  <a:cubicBezTo>
                    <a:pt x="3660" y="299"/>
                    <a:pt x="3660" y="299"/>
                    <a:pt x="3660" y="299"/>
                  </a:cubicBezTo>
                  <a:cubicBezTo>
                    <a:pt x="3659" y="299"/>
                    <a:pt x="3659" y="299"/>
                    <a:pt x="3659" y="299"/>
                  </a:cubicBezTo>
                  <a:cubicBezTo>
                    <a:pt x="3659" y="299"/>
                    <a:pt x="3659" y="299"/>
                    <a:pt x="3659" y="299"/>
                  </a:cubicBezTo>
                  <a:cubicBezTo>
                    <a:pt x="3658" y="299"/>
                    <a:pt x="3657" y="301"/>
                    <a:pt x="3656" y="303"/>
                  </a:cubicBezTo>
                  <a:cubicBezTo>
                    <a:pt x="3656" y="303"/>
                    <a:pt x="3656" y="303"/>
                    <a:pt x="3656" y="303"/>
                  </a:cubicBezTo>
                  <a:cubicBezTo>
                    <a:pt x="3656" y="303"/>
                    <a:pt x="3656" y="303"/>
                    <a:pt x="3656" y="303"/>
                  </a:cubicBezTo>
                  <a:cubicBezTo>
                    <a:pt x="3655" y="305"/>
                    <a:pt x="3653" y="307"/>
                    <a:pt x="3651" y="310"/>
                  </a:cubicBezTo>
                  <a:cubicBezTo>
                    <a:pt x="3650" y="312"/>
                    <a:pt x="3648" y="315"/>
                    <a:pt x="3647" y="319"/>
                  </a:cubicBezTo>
                  <a:cubicBezTo>
                    <a:pt x="3646" y="321"/>
                    <a:pt x="3646" y="323"/>
                    <a:pt x="3646" y="324"/>
                  </a:cubicBezTo>
                  <a:cubicBezTo>
                    <a:pt x="3645" y="324"/>
                    <a:pt x="3645" y="324"/>
                    <a:pt x="3645" y="324"/>
                  </a:cubicBezTo>
                  <a:cubicBezTo>
                    <a:pt x="3645" y="324"/>
                    <a:pt x="3645" y="324"/>
                    <a:pt x="3645" y="324"/>
                  </a:cubicBezTo>
                  <a:cubicBezTo>
                    <a:pt x="3646" y="324"/>
                    <a:pt x="3646" y="324"/>
                    <a:pt x="3646" y="324"/>
                  </a:cubicBezTo>
                  <a:cubicBezTo>
                    <a:pt x="3646" y="324"/>
                    <a:pt x="3646" y="324"/>
                    <a:pt x="3646" y="324"/>
                  </a:cubicBezTo>
                  <a:cubicBezTo>
                    <a:pt x="3645" y="324"/>
                    <a:pt x="3645" y="324"/>
                    <a:pt x="3645" y="324"/>
                  </a:cubicBezTo>
                  <a:cubicBezTo>
                    <a:pt x="3646" y="324"/>
                    <a:pt x="3646" y="324"/>
                    <a:pt x="3646" y="324"/>
                  </a:cubicBezTo>
                  <a:cubicBezTo>
                    <a:pt x="3646" y="324"/>
                    <a:pt x="3646" y="324"/>
                    <a:pt x="3646" y="324"/>
                  </a:cubicBezTo>
                  <a:cubicBezTo>
                    <a:pt x="3650" y="326"/>
                    <a:pt x="3650" y="326"/>
                    <a:pt x="3650" y="326"/>
                  </a:cubicBezTo>
                  <a:cubicBezTo>
                    <a:pt x="3647" y="322"/>
                    <a:pt x="3647" y="322"/>
                    <a:pt x="3647" y="322"/>
                  </a:cubicBezTo>
                  <a:cubicBezTo>
                    <a:pt x="3646" y="323"/>
                    <a:pt x="3646" y="324"/>
                    <a:pt x="3646" y="324"/>
                  </a:cubicBezTo>
                  <a:cubicBezTo>
                    <a:pt x="3650" y="326"/>
                    <a:pt x="3650" y="326"/>
                    <a:pt x="3650" y="326"/>
                  </a:cubicBezTo>
                  <a:cubicBezTo>
                    <a:pt x="3647" y="322"/>
                    <a:pt x="3647" y="322"/>
                    <a:pt x="3647" y="322"/>
                  </a:cubicBezTo>
                  <a:cubicBezTo>
                    <a:pt x="3651" y="327"/>
                    <a:pt x="3651" y="327"/>
                    <a:pt x="3651" y="327"/>
                  </a:cubicBezTo>
                  <a:cubicBezTo>
                    <a:pt x="3648" y="321"/>
                    <a:pt x="3648" y="321"/>
                    <a:pt x="3648" y="321"/>
                  </a:cubicBezTo>
                  <a:cubicBezTo>
                    <a:pt x="3648" y="321"/>
                    <a:pt x="3647" y="322"/>
                    <a:pt x="3647" y="322"/>
                  </a:cubicBezTo>
                  <a:cubicBezTo>
                    <a:pt x="3651" y="327"/>
                    <a:pt x="3651" y="327"/>
                    <a:pt x="3651" y="327"/>
                  </a:cubicBezTo>
                  <a:cubicBezTo>
                    <a:pt x="3648" y="321"/>
                    <a:pt x="3648" y="321"/>
                    <a:pt x="3648" y="321"/>
                  </a:cubicBezTo>
                  <a:cubicBezTo>
                    <a:pt x="3650" y="326"/>
                    <a:pt x="3650" y="326"/>
                    <a:pt x="3650" y="326"/>
                  </a:cubicBezTo>
                  <a:cubicBezTo>
                    <a:pt x="3649" y="321"/>
                    <a:pt x="3649" y="321"/>
                    <a:pt x="3649" y="321"/>
                  </a:cubicBezTo>
                  <a:cubicBezTo>
                    <a:pt x="3649" y="321"/>
                    <a:pt x="3649" y="321"/>
                    <a:pt x="3648" y="321"/>
                  </a:cubicBezTo>
                  <a:cubicBezTo>
                    <a:pt x="3650" y="326"/>
                    <a:pt x="3650" y="326"/>
                    <a:pt x="3650" y="326"/>
                  </a:cubicBezTo>
                  <a:cubicBezTo>
                    <a:pt x="3649" y="321"/>
                    <a:pt x="3649" y="321"/>
                    <a:pt x="3649" y="321"/>
                  </a:cubicBezTo>
                  <a:cubicBezTo>
                    <a:pt x="3650" y="323"/>
                    <a:pt x="3650" y="323"/>
                    <a:pt x="3650" y="323"/>
                  </a:cubicBezTo>
                  <a:cubicBezTo>
                    <a:pt x="3649" y="321"/>
                    <a:pt x="3649" y="321"/>
                    <a:pt x="3649" y="321"/>
                  </a:cubicBezTo>
                  <a:cubicBezTo>
                    <a:pt x="3649" y="321"/>
                    <a:pt x="3649" y="321"/>
                    <a:pt x="3649" y="321"/>
                  </a:cubicBezTo>
                  <a:cubicBezTo>
                    <a:pt x="3650" y="323"/>
                    <a:pt x="3650" y="323"/>
                    <a:pt x="3650" y="323"/>
                  </a:cubicBezTo>
                  <a:cubicBezTo>
                    <a:pt x="3649" y="321"/>
                    <a:pt x="3649" y="321"/>
                    <a:pt x="3649" y="321"/>
                  </a:cubicBezTo>
                  <a:cubicBezTo>
                    <a:pt x="3649" y="321"/>
                    <a:pt x="3649" y="321"/>
                    <a:pt x="3649" y="321"/>
                  </a:cubicBezTo>
                  <a:cubicBezTo>
                    <a:pt x="3649" y="321"/>
                    <a:pt x="3648" y="321"/>
                    <a:pt x="3647" y="321"/>
                  </a:cubicBezTo>
                  <a:cubicBezTo>
                    <a:pt x="3647" y="321"/>
                    <a:pt x="3647" y="321"/>
                    <a:pt x="3647" y="321"/>
                  </a:cubicBezTo>
                  <a:cubicBezTo>
                    <a:pt x="3644" y="321"/>
                    <a:pt x="3642" y="321"/>
                    <a:pt x="3640" y="322"/>
                  </a:cubicBezTo>
                  <a:cubicBezTo>
                    <a:pt x="3637" y="323"/>
                    <a:pt x="3634" y="324"/>
                    <a:pt x="3631" y="326"/>
                  </a:cubicBezTo>
                  <a:cubicBezTo>
                    <a:pt x="3629" y="328"/>
                    <a:pt x="3627" y="330"/>
                    <a:pt x="3626" y="332"/>
                  </a:cubicBezTo>
                  <a:cubicBezTo>
                    <a:pt x="3626" y="332"/>
                    <a:pt x="3626" y="332"/>
                    <a:pt x="3626" y="332"/>
                  </a:cubicBezTo>
                  <a:cubicBezTo>
                    <a:pt x="3624" y="334"/>
                    <a:pt x="3623" y="336"/>
                    <a:pt x="3623" y="337"/>
                  </a:cubicBezTo>
                  <a:cubicBezTo>
                    <a:pt x="3622" y="338"/>
                    <a:pt x="3622" y="338"/>
                    <a:pt x="3622" y="339"/>
                  </a:cubicBezTo>
                  <a:cubicBezTo>
                    <a:pt x="3622" y="339"/>
                    <a:pt x="3622" y="339"/>
                    <a:pt x="3622" y="339"/>
                  </a:cubicBezTo>
                  <a:cubicBezTo>
                    <a:pt x="3622" y="339"/>
                    <a:pt x="3622" y="339"/>
                    <a:pt x="3622" y="339"/>
                  </a:cubicBezTo>
                  <a:cubicBezTo>
                    <a:pt x="3622" y="339"/>
                    <a:pt x="3622" y="339"/>
                    <a:pt x="3622" y="339"/>
                  </a:cubicBezTo>
                  <a:cubicBezTo>
                    <a:pt x="3622" y="339"/>
                    <a:pt x="3622" y="339"/>
                    <a:pt x="3622" y="339"/>
                  </a:cubicBezTo>
                  <a:cubicBezTo>
                    <a:pt x="3622" y="339"/>
                    <a:pt x="3622" y="339"/>
                    <a:pt x="3622" y="339"/>
                  </a:cubicBezTo>
                  <a:cubicBezTo>
                    <a:pt x="3622" y="339"/>
                    <a:pt x="3622" y="339"/>
                    <a:pt x="3622" y="339"/>
                  </a:cubicBezTo>
                  <a:cubicBezTo>
                    <a:pt x="3625" y="341"/>
                    <a:pt x="3625" y="341"/>
                    <a:pt x="3625" y="341"/>
                  </a:cubicBezTo>
                  <a:cubicBezTo>
                    <a:pt x="3623" y="338"/>
                    <a:pt x="3623" y="338"/>
                    <a:pt x="3623" y="338"/>
                  </a:cubicBezTo>
                  <a:cubicBezTo>
                    <a:pt x="3622" y="338"/>
                    <a:pt x="3622" y="339"/>
                    <a:pt x="3622" y="339"/>
                  </a:cubicBezTo>
                  <a:cubicBezTo>
                    <a:pt x="3625" y="341"/>
                    <a:pt x="3625" y="341"/>
                    <a:pt x="3625" y="341"/>
                  </a:cubicBezTo>
                  <a:cubicBezTo>
                    <a:pt x="3623" y="338"/>
                    <a:pt x="3623" y="338"/>
                    <a:pt x="3623" y="338"/>
                  </a:cubicBezTo>
                  <a:cubicBezTo>
                    <a:pt x="3626" y="342"/>
                    <a:pt x="3626" y="342"/>
                    <a:pt x="3626" y="342"/>
                  </a:cubicBezTo>
                  <a:cubicBezTo>
                    <a:pt x="3626" y="337"/>
                    <a:pt x="3626" y="337"/>
                    <a:pt x="3626" y="337"/>
                  </a:cubicBezTo>
                  <a:cubicBezTo>
                    <a:pt x="3625" y="337"/>
                    <a:pt x="3624" y="337"/>
                    <a:pt x="3623" y="338"/>
                  </a:cubicBezTo>
                  <a:cubicBezTo>
                    <a:pt x="3626" y="342"/>
                    <a:pt x="3626" y="342"/>
                    <a:pt x="3626" y="342"/>
                  </a:cubicBezTo>
                  <a:cubicBezTo>
                    <a:pt x="3626" y="337"/>
                    <a:pt x="3626" y="337"/>
                    <a:pt x="3626" y="337"/>
                  </a:cubicBezTo>
                  <a:cubicBezTo>
                    <a:pt x="3626" y="338"/>
                    <a:pt x="3626" y="338"/>
                    <a:pt x="3626" y="338"/>
                  </a:cubicBezTo>
                  <a:cubicBezTo>
                    <a:pt x="3626" y="337"/>
                    <a:pt x="3626" y="337"/>
                    <a:pt x="3626" y="337"/>
                  </a:cubicBezTo>
                  <a:cubicBezTo>
                    <a:pt x="3626" y="337"/>
                    <a:pt x="3626" y="337"/>
                    <a:pt x="3626" y="337"/>
                  </a:cubicBezTo>
                  <a:cubicBezTo>
                    <a:pt x="3626" y="338"/>
                    <a:pt x="3626" y="338"/>
                    <a:pt x="3626" y="338"/>
                  </a:cubicBezTo>
                  <a:cubicBezTo>
                    <a:pt x="3626" y="337"/>
                    <a:pt x="3626" y="337"/>
                    <a:pt x="3626" y="337"/>
                  </a:cubicBezTo>
                  <a:cubicBezTo>
                    <a:pt x="3626" y="337"/>
                    <a:pt x="3626" y="337"/>
                    <a:pt x="3626" y="337"/>
                  </a:cubicBezTo>
                  <a:cubicBezTo>
                    <a:pt x="3626" y="337"/>
                    <a:pt x="3626" y="337"/>
                    <a:pt x="3626" y="337"/>
                  </a:cubicBezTo>
                  <a:cubicBezTo>
                    <a:pt x="3625" y="337"/>
                    <a:pt x="3625" y="337"/>
                    <a:pt x="3624" y="337"/>
                  </a:cubicBezTo>
                  <a:cubicBezTo>
                    <a:pt x="3622" y="337"/>
                    <a:pt x="3621" y="337"/>
                    <a:pt x="3620" y="338"/>
                  </a:cubicBezTo>
                  <a:cubicBezTo>
                    <a:pt x="3618" y="339"/>
                    <a:pt x="3616" y="340"/>
                    <a:pt x="3616" y="340"/>
                  </a:cubicBezTo>
                  <a:cubicBezTo>
                    <a:pt x="3614" y="342"/>
                    <a:pt x="3614" y="343"/>
                    <a:pt x="3613" y="343"/>
                  </a:cubicBezTo>
                  <a:cubicBezTo>
                    <a:pt x="3612" y="345"/>
                    <a:pt x="3611" y="346"/>
                    <a:pt x="3611" y="347"/>
                  </a:cubicBezTo>
                  <a:cubicBezTo>
                    <a:pt x="3610" y="349"/>
                    <a:pt x="3610" y="350"/>
                    <a:pt x="3609" y="352"/>
                  </a:cubicBezTo>
                  <a:cubicBezTo>
                    <a:pt x="3609" y="352"/>
                    <a:pt x="3609" y="352"/>
                    <a:pt x="3609" y="352"/>
                  </a:cubicBezTo>
                  <a:cubicBezTo>
                    <a:pt x="3609" y="352"/>
                    <a:pt x="3609" y="352"/>
                    <a:pt x="3609" y="352"/>
                  </a:cubicBezTo>
                  <a:cubicBezTo>
                    <a:pt x="3608" y="355"/>
                    <a:pt x="3608" y="359"/>
                    <a:pt x="3608" y="362"/>
                  </a:cubicBezTo>
                  <a:cubicBezTo>
                    <a:pt x="3608" y="368"/>
                    <a:pt x="3609" y="375"/>
                    <a:pt x="3612" y="380"/>
                  </a:cubicBezTo>
                  <a:cubicBezTo>
                    <a:pt x="3612" y="380"/>
                    <a:pt x="3612" y="380"/>
                    <a:pt x="3612" y="380"/>
                  </a:cubicBezTo>
                  <a:cubicBezTo>
                    <a:pt x="3617" y="378"/>
                    <a:pt x="3617" y="378"/>
                    <a:pt x="3617" y="378"/>
                  </a:cubicBezTo>
                  <a:cubicBezTo>
                    <a:pt x="3612" y="378"/>
                    <a:pt x="3612" y="378"/>
                    <a:pt x="3612" y="378"/>
                  </a:cubicBezTo>
                  <a:cubicBezTo>
                    <a:pt x="3612" y="379"/>
                    <a:pt x="3612" y="380"/>
                    <a:pt x="3612" y="380"/>
                  </a:cubicBezTo>
                  <a:cubicBezTo>
                    <a:pt x="3617" y="378"/>
                    <a:pt x="3617" y="378"/>
                    <a:pt x="3617" y="378"/>
                  </a:cubicBezTo>
                  <a:cubicBezTo>
                    <a:pt x="3612" y="378"/>
                    <a:pt x="3612" y="378"/>
                    <a:pt x="3612" y="378"/>
                  </a:cubicBezTo>
                  <a:cubicBezTo>
                    <a:pt x="3620" y="378"/>
                    <a:pt x="3620" y="378"/>
                    <a:pt x="3620" y="378"/>
                  </a:cubicBezTo>
                  <a:cubicBezTo>
                    <a:pt x="3612" y="374"/>
                    <a:pt x="3612" y="374"/>
                    <a:pt x="3612" y="374"/>
                  </a:cubicBezTo>
                  <a:cubicBezTo>
                    <a:pt x="3612" y="376"/>
                    <a:pt x="3612" y="377"/>
                    <a:pt x="3612" y="378"/>
                  </a:cubicBezTo>
                  <a:cubicBezTo>
                    <a:pt x="3620" y="378"/>
                    <a:pt x="3620" y="378"/>
                    <a:pt x="3620" y="378"/>
                  </a:cubicBezTo>
                  <a:cubicBezTo>
                    <a:pt x="3612" y="374"/>
                    <a:pt x="3612" y="374"/>
                    <a:pt x="3612" y="374"/>
                  </a:cubicBezTo>
                  <a:cubicBezTo>
                    <a:pt x="3621" y="378"/>
                    <a:pt x="3621" y="378"/>
                    <a:pt x="3621" y="378"/>
                  </a:cubicBezTo>
                  <a:cubicBezTo>
                    <a:pt x="3614" y="372"/>
                    <a:pt x="3614" y="372"/>
                    <a:pt x="3614" y="372"/>
                  </a:cubicBezTo>
                  <a:cubicBezTo>
                    <a:pt x="3614" y="372"/>
                    <a:pt x="3613" y="373"/>
                    <a:pt x="3612" y="374"/>
                  </a:cubicBezTo>
                  <a:cubicBezTo>
                    <a:pt x="3621" y="378"/>
                    <a:pt x="3621" y="378"/>
                    <a:pt x="3621" y="378"/>
                  </a:cubicBezTo>
                  <a:cubicBezTo>
                    <a:pt x="3614" y="372"/>
                    <a:pt x="3614" y="372"/>
                    <a:pt x="3614" y="372"/>
                  </a:cubicBezTo>
                  <a:cubicBezTo>
                    <a:pt x="3621" y="378"/>
                    <a:pt x="3621" y="378"/>
                    <a:pt x="3621" y="378"/>
                  </a:cubicBezTo>
                  <a:cubicBezTo>
                    <a:pt x="3618" y="369"/>
                    <a:pt x="3618" y="369"/>
                    <a:pt x="3618" y="369"/>
                  </a:cubicBezTo>
                  <a:cubicBezTo>
                    <a:pt x="3617" y="370"/>
                    <a:pt x="3615" y="370"/>
                    <a:pt x="3614" y="372"/>
                  </a:cubicBezTo>
                  <a:cubicBezTo>
                    <a:pt x="3621" y="378"/>
                    <a:pt x="3621" y="378"/>
                    <a:pt x="3621" y="378"/>
                  </a:cubicBezTo>
                  <a:cubicBezTo>
                    <a:pt x="3618" y="369"/>
                    <a:pt x="3618" y="369"/>
                    <a:pt x="3618" y="369"/>
                  </a:cubicBezTo>
                  <a:cubicBezTo>
                    <a:pt x="3620" y="375"/>
                    <a:pt x="3620" y="375"/>
                    <a:pt x="3620" y="375"/>
                  </a:cubicBezTo>
                  <a:cubicBezTo>
                    <a:pt x="3620" y="369"/>
                    <a:pt x="3620" y="369"/>
                    <a:pt x="3620" y="369"/>
                  </a:cubicBezTo>
                  <a:cubicBezTo>
                    <a:pt x="3619" y="369"/>
                    <a:pt x="3619" y="369"/>
                    <a:pt x="3618" y="369"/>
                  </a:cubicBezTo>
                  <a:cubicBezTo>
                    <a:pt x="3620" y="375"/>
                    <a:pt x="3620" y="375"/>
                    <a:pt x="3620" y="375"/>
                  </a:cubicBezTo>
                  <a:cubicBezTo>
                    <a:pt x="3620" y="369"/>
                    <a:pt x="3620" y="369"/>
                    <a:pt x="3620" y="369"/>
                  </a:cubicBezTo>
                  <a:cubicBezTo>
                    <a:pt x="3620" y="371"/>
                    <a:pt x="3620" y="371"/>
                    <a:pt x="3620" y="371"/>
                  </a:cubicBezTo>
                  <a:cubicBezTo>
                    <a:pt x="3620" y="369"/>
                    <a:pt x="3620" y="369"/>
                    <a:pt x="3620" y="369"/>
                  </a:cubicBezTo>
                  <a:cubicBezTo>
                    <a:pt x="3620" y="369"/>
                    <a:pt x="3620" y="369"/>
                    <a:pt x="3620" y="369"/>
                  </a:cubicBezTo>
                  <a:cubicBezTo>
                    <a:pt x="3620" y="371"/>
                    <a:pt x="3620" y="371"/>
                    <a:pt x="3620" y="371"/>
                  </a:cubicBezTo>
                  <a:cubicBezTo>
                    <a:pt x="3620" y="369"/>
                    <a:pt x="3620" y="369"/>
                    <a:pt x="3620" y="369"/>
                  </a:cubicBezTo>
                  <a:cubicBezTo>
                    <a:pt x="3620" y="369"/>
                    <a:pt x="3620" y="369"/>
                    <a:pt x="3620" y="369"/>
                  </a:cubicBezTo>
                  <a:cubicBezTo>
                    <a:pt x="3614" y="368"/>
                    <a:pt x="3607" y="367"/>
                    <a:pt x="3598" y="367"/>
                  </a:cubicBezTo>
                  <a:cubicBezTo>
                    <a:pt x="3598" y="367"/>
                    <a:pt x="3598" y="367"/>
                    <a:pt x="3598" y="367"/>
                  </a:cubicBezTo>
                  <a:cubicBezTo>
                    <a:pt x="3598" y="367"/>
                    <a:pt x="3598" y="367"/>
                    <a:pt x="3598" y="367"/>
                  </a:cubicBezTo>
                  <a:cubicBezTo>
                    <a:pt x="3598" y="371"/>
                    <a:pt x="3598" y="371"/>
                    <a:pt x="3598" y="371"/>
                  </a:cubicBezTo>
                  <a:cubicBezTo>
                    <a:pt x="3599" y="367"/>
                    <a:pt x="3599" y="367"/>
                    <a:pt x="3599" y="367"/>
                  </a:cubicBezTo>
                  <a:cubicBezTo>
                    <a:pt x="3599" y="367"/>
                    <a:pt x="3598" y="367"/>
                    <a:pt x="3598" y="367"/>
                  </a:cubicBezTo>
                  <a:cubicBezTo>
                    <a:pt x="3598" y="371"/>
                    <a:pt x="3598" y="371"/>
                    <a:pt x="3598" y="371"/>
                  </a:cubicBezTo>
                  <a:cubicBezTo>
                    <a:pt x="3599" y="367"/>
                    <a:pt x="3599" y="367"/>
                    <a:pt x="3599" y="367"/>
                  </a:cubicBezTo>
                  <a:cubicBezTo>
                    <a:pt x="3597" y="373"/>
                    <a:pt x="3597" y="373"/>
                    <a:pt x="3597" y="373"/>
                  </a:cubicBezTo>
                  <a:cubicBezTo>
                    <a:pt x="3602" y="369"/>
                    <a:pt x="3602" y="369"/>
                    <a:pt x="3602" y="369"/>
                  </a:cubicBezTo>
                  <a:cubicBezTo>
                    <a:pt x="3601" y="368"/>
                    <a:pt x="3600" y="367"/>
                    <a:pt x="3599" y="367"/>
                  </a:cubicBezTo>
                  <a:cubicBezTo>
                    <a:pt x="3597" y="373"/>
                    <a:pt x="3597" y="373"/>
                    <a:pt x="3597" y="373"/>
                  </a:cubicBezTo>
                  <a:cubicBezTo>
                    <a:pt x="3602" y="369"/>
                    <a:pt x="3602" y="369"/>
                    <a:pt x="3602" y="369"/>
                  </a:cubicBezTo>
                  <a:cubicBezTo>
                    <a:pt x="3599" y="371"/>
                    <a:pt x="3599" y="371"/>
                    <a:pt x="3599" y="371"/>
                  </a:cubicBezTo>
                  <a:cubicBezTo>
                    <a:pt x="3602" y="369"/>
                    <a:pt x="3602" y="369"/>
                    <a:pt x="3602" y="369"/>
                  </a:cubicBezTo>
                  <a:cubicBezTo>
                    <a:pt x="3602" y="369"/>
                    <a:pt x="3602" y="369"/>
                    <a:pt x="3602" y="369"/>
                  </a:cubicBezTo>
                  <a:cubicBezTo>
                    <a:pt x="3599" y="371"/>
                    <a:pt x="3599" y="371"/>
                    <a:pt x="3599" y="371"/>
                  </a:cubicBezTo>
                  <a:cubicBezTo>
                    <a:pt x="3602" y="369"/>
                    <a:pt x="3602" y="369"/>
                    <a:pt x="3602" y="369"/>
                  </a:cubicBezTo>
                  <a:cubicBezTo>
                    <a:pt x="3601" y="369"/>
                    <a:pt x="3601" y="369"/>
                    <a:pt x="3601" y="369"/>
                  </a:cubicBezTo>
                  <a:cubicBezTo>
                    <a:pt x="3602" y="369"/>
                    <a:pt x="3602" y="369"/>
                    <a:pt x="3602" y="369"/>
                  </a:cubicBezTo>
                  <a:cubicBezTo>
                    <a:pt x="3602" y="369"/>
                    <a:pt x="3602" y="369"/>
                    <a:pt x="3602" y="369"/>
                  </a:cubicBezTo>
                  <a:cubicBezTo>
                    <a:pt x="3601" y="369"/>
                    <a:pt x="3601" y="369"/>
                    <a:pt x="3601" y="369"/>
                  </a:cubicBezTo>
                  <a:cubicBezTo>
                    <a:pt x="3602" y="369"/>
                    <a:pt x="3602" y="369"/>
                    <a:pt x="3602" y="369"/>
                  </a:cubicBezTo>
                  <a:cubicBezTo>
                    <a:pt x="3602" y="369"/>
                    <a:pt x="3602" y="369"/>
                    <a:pt x="3602" y="368"/>
                  </a:cubicBezTo>
                  <a:cubicBezTo>
                    <a:pt x="3602" y="368"/>
                    <a:pt x="3602" y="368"/>
                    <a:pt x="3602" y="368"/>
                  </a:cubicBezTo>
                  <a:cubicBezTo>
                    <a:pt x="3599" y="363"/>
                    <a:pt x="3595" y="359"/>
                    <a:pt x="3590" y="356"/>
                  </a:cubicBezTo>
                  <a:cubicBezTo>
                    <a:pt x="3586" y="353"/>
                    <a:pt x="3580" y="351"/>
                    <a:pt x="3575" y="351"/>
                  </a:cubicBezTo>
                  <a:cubicBezTo>
                    <a:pt x="3568" y="351"/>
                    <a:pt x="3561" y="354"/>
                    <a:pt x="3555" y="358"/>
                  </a:cubicBezTo>
                  <a:cubicBezTo>
                    <a:pt x="3555" y="358"/>
                    <a:pt x="3555" y="358"/>
                    <a:pt x="3555" y="358"/>
                  </a:cubicBezTo>
                  <a:cubicBezTo>
                    <a:pt x="3554" y="359"/>
                    <a:pt x="3553" y="359"/>
                    <a:pt x="3552" y="360"/>
                  </a:cubicBezTo>
                  <a:cubicBezTo>
                    <a:pt x="3552" y="360"/>
                    <a:pt x="3552" y="360"/>
                    <a:pt x="3552" y="360"/>
                  </a:cubicBezTo>
                  <a:cubicBezTo>
                    <a:pt x="3553" y="362"/>
                    <a:pt x="3553" y="362"/>
                    <a:pt x="3553" y="362"/>
                  </a:cubicBezTo>
                  <a:cubicBezTo>
                    <a:pt x="3552" y="360"/>
                    <a:pt x="3552" y="360"/>
                    <a:pt x="3552" y="360"/>
                  </a:cubicBezTo>
                  <a:cubicBezTo>
                    <a:pt x="3552" y="360"/>
                    <a:pt x="3552" y="360"/>
                    <a:pt x="3552" y="360"/>
                  </a:cubicBezTo>
                  <a:cubicBezTo>
                    <a:pt x="3553" y="362"/>
                    <a:pt x="3553" y="362"/>
                    <a:pt x="3553" y="362"/>
                  </a:cubicBezTo>
                  <a:cubicBezTo>
                    <a:pt x="3552" y="360"/>
                    <a:pt x="3552" y="360"/>
                    <a:pt x="3552" y="360"/>
                  </a:cubicBezTo>
                  <a:cubicBezTo>
                    <a:pt x="3552" y="360"/>
                    <a:pt x="3552" y="360"/>
                    <a:pt x="3552" y="360"/>
                  </a:cubicBezTo>
                  <a:cubicBezTo>
                    <a:pt x="3547" y="361"/>
                    <a:pt x="3543" y="363"/>
                    <a:pt x="3540" y="366"/>
                  </a:cubicBezTo>
                  <a:cubicBezTo>
                    <a:pt x="3537" y="370"/>
                    <a:pt x="3535" y="373"/>
                    <a:pt x="3534" y="377"/>
                  </a:cubicBezTo>
                  <a:cubicBezTo>
                    <a:pt x="3534" y="377"/>
                    <a:pt x="3534" y="377"/>
                    <a:pt x="3534" y="377"/>
                  </a:cubicBezTo>
                  <a:cubicBezTo>
                    <a:pt x="3533" y="378"/>
                    <a:pt x="3532" y="379"/>
                    <a:pt x="3532" y="380"/>
                  </a:cubicBezTo>
                  <a:cubicBezTo>
                    <a:pt x="3530" y="382"/>
                    <a:pt x="3529" y="383"/>
                    <a:pt x="3526" y="385"/>
                  </a:cubicBezTo>
                  <a:cubicBezTo>
                    <a:pt x="3524" y="386"/>
                    <a:pt x="3520" y="388"/>
                    <a:pt x="3517" y="389"/>
                  </a:cubicBezTo>
                  <a:cubicBezTo>
                    <a:pt x="3517" y="389"/>
                    <a:pt x="3517" y="389"/>
                    <a:pt x="3517" y="389"/>
                  </a:cubicBezTo>
                  <a:cubicBezTo>
                    <a:pt x="3511" y="391"/>
                    <a:pt x="3507" y="395"/>
                    <a:pt x="3503" y="399"/>
                  </a:cubicBezTo>
                  <a:cubicBezTo>
                    <a:pt x="3500" y="403"/>
                    <a:pt x="3497" y="407"/>
                    <a:pt x="3496" y="412"/>
                  </a:cubicBezTo>
                  <a:cubicBezTo>
                    <a:pt x="3496" y="412"/>
                    <a:pt x="3496" y="412"/>
                    <a:pt x="3496" y="412"/>
                  </a:cubicBezTo>
                  <a:cubicBezTo>
                    <a:pt x="3494" y="416"/>
                    <a:pt x="3494" y="419"/>
                    <a:pt x="3493" y="422"/>
                  </a:cubicBezTo>
                  <a:cubicBezTo>
                    <a:pt x="3493" y="422"/>
                    <a:pt x="3493" y="422"/>
                    <a:pt x="3493" y="422"/>
                  </a:cubicBezTo>
                  <a:cubicBezTo>
                    <a:pt x="3493" y="423"/>
                    <a:pt x="3493" y="423"/>
                    <a:pt x="3493" y="423"/>
                  </a:cubicBezTo>
                  <a:cubicBezTo>
                    <a:pt x="3493" y="423"/>
                    <a:pt x="3493" y="423"/>
                    <a:pt x="3493" y="423"/>
                  </a:cubicBezTo>
                  <a:cubicBezTo>
                    <a:pt x="3493" y="423"/>
                    <a:pt x="3493" y="423"/>
                    <a:pt x="3493" y="423"/>
                  </a:cubicBezTo>
                  <a:cubicBezTo>
                    <a:pt x="3493" y="423"/>
                    <a:pt x="3493" y="423"/>
                    <a:pt x="3493" y="423"/>
                  </a:cubicBezTo>
                  <a:cubicBezTo>
                    <a:pt x="3493" y="423"/>
                    <a:pt x="3493" y="423"/>
                    <a:pt x="3493" y="423"/>
                  </a:cubicBezTo>
                  <a:cubicBezTo>
                    <a:pt x="3493" y="423"/>
                    <a:pt x="3493" y="423"/>
                    <a:pt x="3493" y="423"/>
                  </a:cubicBezTo>
                  <a:cubicBezTo>
                    <a:pt x="3493" y="423"/>
                    <a:pt x="3493" y="423"/>
                    <a:pt x="3493" y="423"/>
                  </a:cubicBezTo>
                  <a:cubicBezTo>
                    <a:pt x="3493" y="423"/>
                    <a:pt x="3493" y="423"/>
                    <a:pt x="3493" y="423"/>
                  </a:cubicBezTo>
                  <a:cubicBezTo>
                    <a:pt x="3493" y="423"/>
                    <a:pt x="3493" y="423"/>
                    <a:pt x="3493" y="423"/>
                  </a:cubicBezTo>
                  <a:cubicBezTo>
                    <a:pt x="3493" y="423"/>
                    <a:pt x="3493" y="423"/>
                    <a:pt x="3493" y="423"/>
                  </a:cubicBezTo>
                  <a:cubicBezTo>
                    <a:pt x="3493" y="423"/>
                    <a:pt x="3493" y="423"/>
                    <a:pt x="3493" y="423"/>
                  </a:cubicBezTo>
                  <a:cubicBezTo>
                    <a:pt x="3493" y="423"/>
                    <a:pt x="3493" y="423"/>
                    <a:pt x="3492" y="423"/>
                  </a:cubicBezTo>
                  <a:cubicBezTo>
                    <a:pt x="3492" y="424"/>
                    <a:pt x="3491" y="424"/>
                    <a:pt x="3489" y="425"/>
                  </a:cubicBezTo>
                  <a:cubicBezTo>
                    <a:pt x="3489" y="425"/>
                    <a:pt x="3489" y="425"/>
                    <a:pt x="3489" y="425"/>
                  </a:cubicBezTo>
                  <a:cubicBezTo>
                    <a:pt x="3480" y="429"/>
                    <a:pt x="3472" y="434"/>
                    <a:pt x="3464" y="439"/>
                  </a:cubicBezTo>
                  <a:cubicBezTo>
                    <a:pt x="3464" y="439"/>
                    <a:pt x="3464" y="439"/>
                    <a:pt x="3464" y="439"/>
                  </a:cubicBezTo>
                  <a:cubicBezTo>
                    <a:pt x="3461" y="441"/>
                    <a:pt x="3459" y="443"/>
                    <a:pt x="3456" y="445"/>
                  </a:cubicBezTo>
                  <a:cubicBezTo>
                    <a:pt x="3454" y="448"/>
                    <a:pt x="3452" y="451"/>
                    <a:pt x="3451" y="456"/>
                  </a:cubicBezTo>
                  <a:cubicBezTo>
                    <a:pt x="3451" y="456"/>
                    <a:pt x="3451" y="456"/>
                    <a:pt x="3451" y="456"/>
                  </a:cubicBezTo>
                  <a:cubicBezTo>
                    <a:pt x="3451" y="456"/>
                    <a:pt x="3451" y="456"/>
                    <a:pt x="3451" y="456"/>
                  </a:cubicBezTo>
                  <a:cubicBezTo>
                    <a:pt x="3450" y="461"/>
                    <a:pt x="3450" y="466"/>
                    <a:pt x="3450" y="471"/>
                  </a:cubicBezTo>
                  <a:cubicBezTo>
                    <a:pt x="3450" y="474"/>
                    <a:pt x="3450" y="476"/>
                    <a:pt x="3450" y="479"/>
                  </a:cubicBezTo>
                  <a:cubicBezTo>
                    <a:pt x="3450" y="479"/>
                    <a:pt x="3450" y="479"/>
                    <a:pt x="3450" y="479"/>
                  </a:cubicBezTo>
                  <a:cubicBezTo>
                    <a:pt x="3450" y="480"/>
                    <a:pt x="3450" y="480"/>
                    <a:pt x="3450" y="480"/>
                  </a:cubicBezTo>
                  <a:cubicBezTo>
                    <a:pt x="3450" y="480"/>
                    <a:pt x="3450" y="480"/>
                    <a:pt x="3450" y="480"/>
                  </a:cubicBezTo>
                  <a:cubicBezTo>
                    <a:pt x="3452" y="480"/>
                    <a:pt x="3452" y="480"/>
                    <a:pt x="3452" y="480"/>
                  </a:cubicBezTo>
                  <a:cubicBezTo>
                    <a:pt x="3450" y="480"/>
                    <a:pt x="3450" y="480"/>
                    <a:pt x="3450" y="480"/>
                  </a:cubicBezTo>
                  <a:cubicBezTo>
                    <a:pt x="3450" y="480"/>
                    <a:pt x="3450" y="480"/>
                    <a:pt x="3450" y="480"/>
                  </a:cubicBezTo>
                  <a:cubicBezTo>
                    <a:pt x="3452" y="480"/>
                    <a:pt x="3452" y="480"/>
                    <a:pt x="3452" y="480"/>
                  </a:cubicBezTo>
                  <a:cubicBezTo>
                    <a:pt x="3450" y="480"/>
                    <a:pt x="3450" y="480"/>
                    <a:pt x="3450" y="480"/>
                  </a:cubicBezTo>
                  <a:cubicBezTo>
                    <a:pt x="3454" y="481"/>
                    <a:pt x="3454" y="481"/>
                    <a:pt x="3454" y="481"/>
                  </a:cubicBezTo>
                  <a:cubicBezTo>
                    <a:pt x="3451" y="478"/>
                    <a:pt x="3451" y="478"/>
                    <a:pt x="3451" y="478"/>
                  </a:cubicBezTo>
                  <a:cubicBezTo>
                    <a:pt x="3451" y="478"/>
                    <a:pt x="3450" y="479"/>
                    <a:pt x="3450" y="480"/>
                  </a:cubicBezTo>
                  <a:cubicBezTo>
                    <a:pt x="3454" y="481"/>
                    <a:pt x="3454" y="481"/>
                    <a:pt x="3454" y="481"/>
                  </a:cubicBezTo>
                  <a:cubicBezTo>
                    <a:pt x="3451" y="478"/>
                    <a:pt x="3451" y="478"/>
                    <a:pt x="3451" y="478"/>
                  </a:cubicBezTo>
                  <a:cubicBezTo>
                    <a:pt x="3453" y="480"/>
                    <a:pt x="3453" y="480"/>
                    <a:pt x="3453" y="480"/>
                  </a:cubicBezTo>
                  <a:cubicBezTo>
                    <a:pt x="3452" y="478"/>
                    <a:pt x="3452" y="478"/>
                    <a:pt x="3452" y="478"/>
                  </a:cubicBezTo>
                  <a:cubicBezTo>
                    <a:pt x="3451" y="478"/>
                    <a:pt x="3451" y="478"/>
                    <a:pt x="3451" y="478"/>
                  </a:cubicBezTo>
                  <a:cubicBezTo>
                    <a:pt x="3453" y="480"/>
                    <a:pt x="3453" y="480"/>
                    <a:pt x="3453" y="480"/>
                  </a:cubicBezTo>
                  <a:cubicBezTo>
                    <a:pt x="3452" y="478"/>
                    <a:pt x="3452" y="478"/>
                    <a:pt x="3452" y="478"/>
                  </a:cubicBezTo>
                  <a:cubicBezTo>
                    <a:pt x="3452" y="479"/>
                    <a:pt x="3452" y="479"/>
                    <a:pt x="3452" y="479"/>
                  </a:cubicBezTo>
                  <a:cubicBezTo>
                    <a:pt x="3452" y="478"/>
                    <a:pt x="3452" y="478"/>
                    <a:pt x="3452" y="478"/>
                  </a:cubicBezTo>
                  <a:cubicBezTo>
                    <a:pt x="3452" y="478"/>
                    <a:pt x="3452" y="478"/>
                    <a:pt x="3452" y="478"/>
                  </a:cubicBezTo>
                  <a:cubicBezTo>
                    <a:pt x="3452" y="479"/>
                    <a:pt x="3452" y="479"/>
                    <a:pt x="3452" y="479"/>
                  </a:cubicBezTo>
                  <a:cubicBezTo>
                    <a:pt x="3452" y="478"/>
                    <a:pt x="3452" y="478"/>
                    <a:pt x="3452" y="478"/>
                  </a:cubicBezTo>
                  <a:cubicBezTo>
                    <a:pt x="3452" y="478"/>
                    <a:pt x="3452" y="478"/>
                    <a:pt x="3452" y="478"/>
                  </a:cubicBezTo>
                  <a:cubicBezTo>
                    <a:pt x="3449" y="478"/>
                    <a:pt x="3447" y="480"/>
                    <a:pt x="3445" y="481"/>
                  </a:cubicBezTo>
                  <a:cubicBezTo>
                    <a:pt x="3442" y="483"/>
                    <a:pt x="3440" y="486"/>
                    <a:pt x="3438" y="490"/>
                  </a:cubicBezTo>
                  <a:cubicBezTo>
                    <a:pt x="3437" y="493"/>
                    <a:pt x="3436" y="496"/>
                    <a:pt x="3436" y="499"/>
                  </a:cubicBezTo>
                  <a:cubicBezTo>
                    <a:pt x="3436" y="501"/>
                    <a:pt x="3436" y="503"/>
                    <a:pt x="3437" y="505"/>
                  </a:cubicBezTo>
                  <a:cubicBezTo>
                    <a:pt x="3437" y="505"/>
                    <a:pt x="3437" y="505"/>
                    <a:pt x="3437" y="505"/>
                  </a:cubicBezTo>
                  <a:cubicBezTo>
                    <a:pt x="3437" y="507"/>
                    <a:pt x="3438" y="510"/>
                    <a:pt x="3439" y="513"/>
                  </a:cubicBezTo>
                  <a:cubicBezTo>
                    <a:pt x="3440" y="517"/>
                    <a:pt x="3441" y="520"/>
                    <a:pt x="3445" y="524"/>
                  </a:cubicBezTo>
                  <a:cubicBezTo>
                    <a:pt x="3445" y="524"/>
                    <a:pt x="3445" y="524"/>
                    <a:pt x="3445" y="524"/>
                  </a:cubicBezTo>
                  <a:cubicBezTo>
                    <a:pt x="3446" y="525"/>
                    <a:pt x="3447" y="527"/>
                    <a:pt x="3447" y="528"/>
                  </a:cubicBezTo>
                  <a:cubicBezTo>
                    <a:pt x="3448" y="530"/>
                    <a:pt x="3448" y="533"/>
                    <a:pt x="3448" y="536"/>
                  </a:cubicBezTo>
                  <a:cubicBezTo>
                    <a:pt x="3448" y="538"/>
                    <a:pt x="3448" y="540"/>
                    <a:pt x="3448" y="543"/>
                  </a:cubicBezTo>
                  <a:cubicBezTo>
                    <a:pt x="3448" y="546"/>
                    <a:pt x="3448" y="550"/>
                    <a:pt x="3449" y="554"/>
                  </a:cubicBezTo>
                  <a:cubicBezTo>
                    <a:pt x="3449" y="554"/>
                    <a:pt x="3449" y="554"/>
                    <a:pt x="3449" y="554"/>
                  </a:cubicBezTo>
                  <a:cubicBezTo>
                    <a:pt x="3460" y="552"/>
                    <a:pt x="3460" y="552"/>
                    <a:pt x="3460" y="552"/>
                  </a:cubicBezTo>
                  <a:cubicBezTo>
                    <a:pt x="3449" y="552"/>
                    <a:pt x="3449" y="552"/>
                    <a:pt x="3449" y="552"/>
                  </a:cubicBezTo>
                  <a:cubicBezTo>
                    <a:pt x="3449" y="553"/>
                    <a:pt x="3449" y="554"/>
                    <a:pt x="3449" y="554"/>
                  </a:cubicBezTo>
                  <a:cubicBezTo>
                    <a:pt x="3460" y="552"/>
                    <a:pt x="3460" y="552"/>
                    <a:pt x="3460" y="552"/>
                  </a:cubicBezTo>
                  <a:cubicBezTo>
                    <a:pt x="3449" y="552"/>
                    <a:pt x="3449" y="552"/>
                    <a:pt x="3449" y="552"/>
                  </a:cubicBezTo>
                  <a:cubicBezTo>
                    <a:pt x="3459" y="552"/>
                    <a:pt x="3459" y="552"/>
                    <a:pt x="3459" y="552"/>
                  </a:cubicBezTo>
                  <a:cubicBezTo>
                    <a:pt x="3449" y="549"/>
                    <a:pt x="3449" y="549"/>
                    <a:pt x="3449" y="549"/>
                  </a:cubicBezTo>
                  <a:cubicBezTo>
                    <a:pt x="3449" y="550"/>
                    <a:pt x="3449" y="551"/>
                    <a:pt x="3449" y="552"/>
                  </a:cubicBezTo>
                  <a:cubicBezTo>
                    <a:pt x="3459" y="552"/>
                    <a:pt x="3459" y="552"/>
                    <a:pt x="3459" y="552"/>
                  </a:cubicBezTo>
                  <a:cubicBezTo>
                    <a:pt x="3449" y="549"/>
                    <a:pt x="3449" y="549"/>
                    <a:pt x="3449" y="549"/>
                  </a:cubicBezTo>
                  <a:cubicBezTo>
                    <a:pt x="3457" y="551"/>
                    <a:pt x="3457" y="551"/>
                    <a:pt x="3457" y="551"/>
                  </a:cubicBezTo>
                  <a:cubicBezTo>
                    <a:pt x="3450" y="547"/>
                    <a:pt x="3450" y="547"/>
                    <a:pt x="3450" y="547"/>
                  </a:cubicBezTo>
                  <a:cubicBezTo>
                    <a:pt x="3450" y="547"/>
                    <a:pt x="3450" y="547"/>
                    <a:pt x="3449" y="549"/>
                  </a:cubicBezTo>
                  <a:cubicBezTo>
                    <a:pt x="3457" y="551"/>
                    <a:pt x="3457" y="551"/>
                    <a:pt x="3457" y="551"/>
                  </a:cubicBezTo>
                  <a:cubicBezTo>
                    <a:pt x="3450" y="547"/>
                    <a:pt x="3450" y="547"/>
                    <a:pt x="3450" y="547"/>
                  </a:cubicBezTo>
                  <a:cubicBezTo>
                    <a:pt x="3453" y="549"/>
                    <a:pt x="3453" y="549"/>
                    <a:pt x="3453" y="549"/>
                  </a:cubicBezTo>
                  <a:cubicBezTo>
                    <a:pt x="3451" y="546"/>
                    <a:pt x="3451" y="546"/>
                    <a:pt x="3451" y="546"/>
                  </a:cubicBezTo>
                  <a:cubicBezTo>
                    <a:pt x="3450" y="547"/>
                    <a:pt x="3450" y="547"/>
                    <a:pt x="3450" y="547"/>
                  </a:cubicBezTo>
                  <a:cubicBezTo>
                    <a:pt x="3453" y="549"/>
                    <a:pt x="3453" y="549"/>
                    <a:pt x="3453" y="549"/>
                  </a:cubicBezTo>
                  <a:cubicBezTo>
                    <a:pt x="3451" y="546"/>
                    <a:pt x="3451" y="546"/>
                    <a:pt x="3451" y="546"/>
                  </a:cubicBezTo>
                  <a:cubicBezTo>
                    <a:pt x="3451" y="546"/>
                    <a:pt x="3450" y="547"/>
                    <a:pt x="3450" y="547"/>
                  </a:cubicBezTo>
                  <a:cubicBezTo>
                    <a:pt x="3450" y="547"/>
                    <a:pt x="3450" y="547"/>
                    <a:pt x="3450" y="547"/>
                  </a:cubicBezTo>
                  <a:cubicBezTo>
                    <a:pt x="3450" y="547"/>
                    <a:pt x="3450" y="547"/>
                    <a:pt x="3450" y="547"/>
                  </a:cubicBezTo>
                  <a:cubicBezTo>
                    <a:pt x="3448" y="549"/>
                    <a:pt x="3445" y="552"/>
                    <a:pt x="3442" y="555"/>
                  </a:cubicBezTo>
                  <a:cubicBezTo>
                    <a:pt x="3441" y="557"/>
                    <a:pt x="3440" y="559"/>
                    <a:pt x="3439" y="562"/>
                  </a:cubicBezTo>
                  <a:cubicBezTo>
                    <a:pt x="3439" y="564"/>
                    <a:pt x="3438" y="567"/>
                    <a:pt x="3438" y="569"/>
                  </a:cubicBezTo>
                  <a:cubicBezTo>
                    <a:pt x="3438" y="569"/>
                    <a:pt x="3438" y="569"/>
                    <a:pt x="3438" y="569"/>
                  </a:cubicBezTo>
                  <a:cubicBezTo>
                    <a:pt x="3448" y="570"/>
                    <a:pt x="3448" y="570"/>
                    <a:pt x="3448" y="570"/>
                  </a:cubicBezTo>
                  <a:cubicBezTo>
                    <a:pt x="3439" y="566"/>
                    <a:pt x="3439" y="566"/>
                    <a:pt x="3439" y="566"/>
                  </a:cubicBezTo>
                  <a:cubicBezTo>
                    <a:pt x="3438" y="567"/>
                    <a:pt x="3438" y="568"/>
                    <a:pt x="3438" y="569"/>
                  </a:cubicBezTo>
                  <a:cubicBezTo>
                    <a:pt x="3448" y="570"/>
                    <a:pt x="3448" y="570"/>
                    <a:pt x="3448" y="570"/>
                  </a:cubicBezTo>
                  <a:cubicBezTo>
                    <a:pt x="3439" y="566"/>
                    <a:pt x="3439" y="566"/>
                    <a:pt x="3439" y="566"/>
                  </a:cubicBezTo>
                  <a:cubicBezTo>
                    <a:pt x="3446" y="569"/>
                    <a:pt x="3446" y="569"/>
                    <a:pt x="3446" y="569"/>
                  </a:cubicBezTo>
                  <a:cubicBezTo>
                    <a:pt x="3440" y="564"/>
                    <a:pt x="3440" y="564"/>
                    <a:pt x="3440" y="564"/>
                  </a:cubicBezTo>
                  <a:cubicBezTo>
                    <a:pt x="3440" y="564"/>
                    <a:pt x="3439" y="565"/>
                    <a:pt x="3439" y="566"/>
                  </a:cubicBezTo>
                  <a:cubicBezTo>
                    <a:pt x="3446" y="569"/>
                    <a:pt x="3446" y="569"/>
                    <a:pt x="3446" y="569"/>
                  </a:cubicBezTo>
                  <a:cubicBezTo>
                    <a:pt x="3440" y="564"/>
                    <a:pt x="3440" y="564"/>
                    <a:pt x="3440" y="564"/>
                  </a:cubicBezTo>
                  <a:cubicBezTo>
                    <a:pt x="3442" y="566"/>
                    <a:pt x="3442" y="566"/>
                    <a:pt x="3442" y="566"/>
                  </a:cubicBezTo>
                  <a:cubicBezTo>
                    <a:pt x="3440" y="564"/>
                    <a:pt x="3440" y="564"/>
                    <a:pt x="3440" y="564"/>
                  </a:cubicBezTo>
                  <a:cubicBezTo>
                    <a:pt x="3440" y="564"/>
                    <a:pt x="3440" y="564"/>
                    <a:pt x="3440" y="564"/>
                  </a:cubicBezTo>
                  <a:cubicBezTo>
                    <a:pt x="3442" y="566"/>
                    <a:pt x="3442" y="566"/>
                    <a:pt x="3442" y="566"/>
                  </a:cubicBezTo>
                  <a:cubicBezTo>
                    <a:pt x="3440" y="564"/>
                    <a:pt x="3440" y="564"/>
                    <a:pt x="3440" y="564"/>
                  </a:cubicBezTo>
                  <a:cubicBezTo>
                    <a:pt x="3440" y="564"/>
                    <a:pt x="3440" y="564"/>
                    <a:pt x="3439" y="564"/>
                  </a:cubicBezTo>
                  <a:cubicBezTo>
                    <a:pt x="3439" y="564"/>
                    <a:pt x="3439" y="564"/>
                    <a:pt x="3439" y="564"/>
                  </a:cubicBezTo>
                  <a:cubicBezTo>
                    <a:pt x="3421" y="576"/>
                    <a:pt x="3403" y="587"/>
                    <a:pt x="3384" y="598"/>
                  </a:cubicBezTo>
                  <a:cubicBezTo>
                    <a:pt x="3384" y="598"/>
                    <a:pt x="3384" y="598"/>
                    <a:pt x="3384" y="598"/>
                  </a:cubicBezTo>
                  <a:cubicBezTo>
                    <a:pt x="3346" y="622"/>
                    <a:pt x="3309" y="647"/>
                    <a:pt x="3271" y="671"/>
                  </a:cubicBezTo>
                  <a:cubicBezTo>
                    <a:pt x="3271" y="671"/>
                    <a:pt x="3271" y="671"/>
                    <a:pt x="3271" y="671"/>
                  </a:cubicBezTo>
                  <a:cubicBezTo>
                    <a:pt x="3265" y="675"/>
                    <a:pt x="3258" y="679"/>
                    <a:pt x="3252" y="683"/>
                  </a:cubicBezTo>
                  <a:cubicBezTo>
                    <a:pt x="3252" y="683"/>
                    <a:pt x="3252" y="683"/>
                    <a:pt x="3252" y="683"/>
                  </a:cubicBezTo>
                  <a:cubicBezTo>
                    <a:pt x="3249" y="685"/>
                    <a:pt x="3245" y="687"/>
                    <a:pt x="3241" y="689"/>
                  </a:cubicBezTo>
                  <a:cubicBezTo>
                    <a:pt x="3241" y="689"/>
                    <a:pt x="3241" y="689"/>
                    <a:pt x="3241" y="689"/>
                  </a:cubicBezTo>
                  <a:cubicBezTo>
                    <a:pt x="3241" y="689"/>
                    <a:pt x="3241" y="689"/>
                    <a:pt x="3241" y="689"/>
                  </a:cubicBezTo>
                  <a:cubicBezTo>
                    <a:pt x="3239" y="690"/>
                    <a:pt x="3238" y="692"/>
                    <a:pt x="3235" y="693"/>
                  </a:cubicBezTo>
                  <a:cubicBezTo>
                    <a:pt x="3232" y="695"/>
                    <a:pt x="3228" y="697"/>
                    <a:pt x="3225" y="702"/>
                  </a:cubicBezTo>
                  <a:cubicBezTo>
                    <a:pt x="3223" y="704"/>
                    <a:pt x="3221" y="706"/>
                    <a:pt x="3220" y="709"/>
                  </a:cubicBezTo>
                  <a:cubicBezTo>
                    <a:pt x="3219" y="712"/>
                    <a:pt x="3219" y="715"/>
                    <a:pt x="3218" y="719"/>
                  </a:cubicBezTo>
                  <a:cubicBezTo>
                    <a:pt x="3218" y="719"/>
                    <a:pt x="3218" y="719"/>
                    <a:pt x="3218" y="719"/>
                  </a:cubicBezTo>
                  <a:cubicBezTo>
                    <a:pt x="3218" y="725"/>
                    <a:pt x="3217" y="731"/>
                    <a:pt x="3215" y="738"/>
                  </a:cubicBezTo>
                  <a:cubicBezTo>
                    <a:pt x="3215" y="738"/>
                    <a:pt x="3215" y="738"/>
                    <a:pt x="3215" y="738"/>
                  </a:cubicBezTo>
                  <a:cubicBezTo>
                    <a:pt x="3215" y="738"/>
                    <a:pt x="3215" y="738"/>
                    <a:pt x="3215" y="738"/>
                  </a:cubicBezTo>
                  <a:cubicBezTo>
                    <a:pt x="3222" y="740"/>
                    <a:pt x="3222" y="740"/>
                    <a:pt x="3222" y="740"/>
                  </a:cubicBezTo>
                  <a:cubicBezTo>
                    <a:pt x="3216" y="736"/>
                    <a:pt x="3216" y="736"/>
                    <a:pt x="3216" y="736"/>
                  </a:cubicBezTo>
                  <a:cubicBezTo>
                    <a:pt x="3216" y="736"/>
                    <a:pt x="3216" y="737"/>
                    <a:pt x="3215" y="738"/>
                  </a:cubicBezTo>
                  <a:cubicBezTo>
                    <a:pt x="3222" y="740"/>
                    <a:pt x="3222" y="740"/>
                    <a:pt x="3222" y="740"/>
                  </a:cubicBezTo>
                  <a:cubicBezTo>
                    <a:pt x="3216" y="736"/>
                    <a:pt x="3216" y="736"/>
                    <a:pt x="3216" y="736"/>
                  </a:cubicBezTo>
                  <a:cubicBezTo>
                    <a:pt x="3219" y="737"/>
                    <a:pt x="3219" y="737"/>
                    <a:pt x="3219" y="737"/>
                  </a:cubicBezTo>
                  <a:cubicBezTo>
                    <a:pt x="3217" y="736"/>
                    <a:pt x="3217" y="736"/>
                    <a:pt x="3217" y="736"/>
                  </a:cubicBezTo>
                  <a:cubicBezTo>
                    <a:pt x="3216" y="736"/>
                    <a:pt x="3216" y="736"/>
                    <a:pt x="3216" y="736"/>
                  </a:cubicBezTo>
                  <a:cubicBezTo>
                    <a:pt x="3219" y="737"/>
                    <a:pt x="3219" y="737"/>
                    <a:pt x="3219" y="737"/>
                  </a:cubicBezTo>
                  <a:cubicBezTo>
                    <a:pt x="3217" y="736"/>
                    <a:pt x="3217" y="736"/>
                    <a:pt x="3217" y="736"/>
                  </a:cubicBezTo>
                  <a:cubicBezTo>
                    <a:pt x="3217" y="736"/>
                    <a:pt x="3216" y="736"/>
                    <a:pt x="3215" y="737"/>
                  </a:cubicBezTo>
                  <a:cubicBezTo>
                    <a:pt x="3215" y="737"/>
                    <a:pt x="3215" y="737"/>
                    <a:pt x="3215" y="737"/>
                  </a:cubicBezTo>
                  <a:cubicBezTo>
                    <a:pt x="3221" y="745"/>
                    <a:pt x="3221" y="745"/>
                    <a:pt x="3221" y="745"/>
                  </a:cubicBezTo>
                  <a:cubicBezTo>
                    <a:pt x="3218" y="735"/>
                    <a:pt x="3218" y="735"/>
                    <a:pt x="3218" y="735"/>
                  </a:cubicBezTo>
                  <a:cubicBezTo>
                    <a:pt x="3217" y="736"/>
                    <a:pt x="3216" y="736"/>
                    <a:pt x="3215" y="737"/>
                  </a:cubicBezTo>
                  <a:cubicBezTo>
                    <a:pt x="3221" y="745"/>
                    <a:pt x="3221" y="745"/>
                    <a:pt x="3221" y="745"/>
                  </a:cubicBezTo>
                  <a:cubicBezTo>
                    <a:pt x="3218" y="735"/>
                    <a:pt x="3218" y="735"/>
                    <a:pt x="3218" y="735"/>
                  </a:cubicBezTo>
                  <a:cubicBezTo>
                    <a:pt x="3220" y="742"/>
                    <a:pt x="3220" y="742"/>
                    <a:pt x="3220" y="742"/>
                  </a:cubicBezTo>
                  <a:cubicBezTo>
                    <a:pt x="3220" y="735"/>
                    <a:pt x="3220" y="735"/>
                    <a:pt x="3220" y="735"/>
                  </a:cubicBezTo>
                  <a:cubicBezTo>
                    <a:pt x="3219" y="735"/>
                    <a:pt x="3219" y="735"/>
                    <a:pt x="3218" y="735"/>
                  </a:cubicBezTo>
                  <a:cubicBezTo>
                    <a:pt x="3220" y="742"/>
                    <a:pt x="3220" y="742"/>
                    <a:pt x="3220" y="742"/>
                  </a:cubicBezTo>
                  <a:cubicBezTo>
                    <a:pt x="3220" y="735"/>
                    <a:pt x="3220" y="735"/>
                    <a:pt x="3220" y="735"/>
                  </a:cubicBezTo>
                  <a:cubicBezTo>
                    <a:pt x="3220" y="735"/>
                    <a:pt x="3220" y="735"/>
                    <a:pt x="3220" y="735"/>
                  </a:cubicBezTo>
                  <a:cubicBezTo>
                    <a:pt x="3219" y="735"/>
                    <a:pt x="3219" y="735"/>
                    <a:pt x="3217" y="735"/>
                  </a:cubicBezTo>
                  <a:cubicBezTo>
                    <a:pt x="3216" y="735"/>
                    <a:pt x="3215" y="736"/>
                    <a:pt x="3213" y="736"/>
                  </a:cubicBezTo>
                  <a:cubicBezTo>
                    <a:pt x="3212" y="737"/>
                    <a:pt x="3210" y="738"/>
                    <a:pt x="3208" y="739"/>
                  </a:cubicBezTo>
                  <a:cubicBezTo>
                    <a:pt x="3209" y="739"/>
                    <a:pt x="3209" y="739"/>
                    <a:pt x="3209" y="739"/>
                  </a:cubicBezTo>
                  <a:cubicBezTo>
                    <a:pt x="3208" y="740"/>
                    <a:pt x="3207" y="740"/>
                    <a:pt x="3207" y="740"/>
                  </a:cubicBezTo>
                  <a:cubicBezTo>
                    <a:pt x="3207" y="740"/>
                    <a:pt x="3206" y="741"/>
                    <a:pt x="3205" y="741"/>
                  </a:cubicBezTo>
                  <a:cubicBezTo>
                    <a:pt x="3204" y="741"/>
                    <a:pt x="3201" y="740"/>
                    <a:pt x="3198" y="739"/>
                  </a:cubicBezTo>
                  <a:cubicBezTo>
                    <a:pt x="3194" y="739"/>
                    <a:pt x="3191" y="738"/>
                    <a:pt x="3187" y="738"/>
                  </a:cubicBezTo>
                  <a:cubicBezTo>
                    <a:pt x="3185" y="738"/>
                    <a:pt x="3182" y="738"/>
                    <a:pt x="3179" y="739"/>
                  </a:cubicBezTo>
                  <a:cubicBezTo>
                    <a:pt x="3177" y="740"/>
                    <a:pt x="3175" y="741"/>
                    <a:pt x="3174" y="742"/>
                  </a:cubicBezTo>
                  <a:cubicBezTo>
                    <a:pt x="3171" y="745"/>
                    <a:pt x="3169" y="747"/>
                    <a:pt x="3168" y="749"/>
                  </a:cubicBezTo>
                  <a:cubicBezTo>
                    <a:pt x="3167" y="751"/>
                    <a:pt x="3166" y="754"/>
                    <a:pt x="3164" y="756"/>
                  </a:cubicBezTo>
                  <a:cubicBezTo>
                    <a:pt x="3165" y="756"/>
                    <a:pt x="3165" y="756"/>
                    <a:pt x="3165" y="756"/>
                  </a:cubicBezTo>
                  <a:cubicBezTo>
                    <a:pt x="3165" y="756"/>
                    <a:pt x="3165" y="756"/>
                    <a:pt x="3165" y="756"/>
                  </a:cubicBezTo>
                  <a:cubicBezTo>
                    <a:pt x="3170" y="759"/>
                    <a:pt x="3170" y="759"/>
                    <a:pt x="3170" y="759"/>
                  </a:cubicBezTo>
                  <a:cubicBezTo>
                    <a:pt x="3166" y="754"/>
                    <a:pt x="3166" y="754"/>
                    <a:pt x="3166" y="754"/>
                  </a:cubicBezTo>
                  <a:cubicBezTo>
                    <a:pt x="3165" y="755"/>
                    <a:pt x="3165" y="756"/>
                    <a:pt x="3165" y="756"/>
                  </a:cubicBezTo>
                  <a:cubicBezTo>
                    <a:pt x="3170" y="759"/>
                    <a:pt x="3170" y="759"/>
                    <a:pt x="3170" y="759"/>
                  </a:cubicBezTo>
                  <a:cubicBezTo>
                    <a:pt x="3166" y="754"/>
                    <a:pt x="3166" y="754"/>
                    <a:pt x="3166" y="754"/>
                  </a:cubicBezTo>
                  <a:cubicBezTo>
                    <a:pt x="3173" y="761"/>
                    <a:pt x="3173" y="761"/>
                    <a:pt x="3173" y="761"/>
                  </a:cubicBezTo>
                  <a:cubicBezTo>
                    <a:pt x="3169" y="752"/>
                    <a:pt x="3169" y="752"/>
                    <a:pt x="3169" y="752"/>
                  </a:cubicBezTo>
                  <a:cubicBezTo>
                    <a:pt x="3167" y="753"/>
                    <a:pt x="3167" y="754"/>
                    <a:pt x="3166" y="754"/>
                  </a:cubicBezTo>
                  <a:cubicBezTo>
                    <a:pt x="3173" y="761"/>
                    <a:pt x="3173" y="761"/>
                    <a:pt x="3173" y="761"/>
                  </a:cubicBezTo>
                  <a:cubicBezTo>
                    <a:pt x="3169" y="752"/>
                    <a:pt x="3169" y="752"/>
                    <a:pt x="3169" y="752"/>
                  </a:cubicBezTo>
                  <a:cubicBezTo>
                    <a:pt x="3173" y="762"/>
                    <a:pt x="3173" y="762"/>
                    <a:pt x="3173" y="762"/>
                  </a:cubicBezTo>
                  <a:cubicBezTo>
                    <a:pt x="3173" y="751"/>
                    <a:pt x="3173" y="751"/>
                    <a:pt x="3173" y="751"/>
                  </a:cubicBezTo>
                  <a:cubicBezTo>
                    <a:pt x="3172" y="751"/>
                    <a:pt x="3170" y="752"/>
                    <a:pt x="3169" y="752"/>
                  </a:cubicBezTo>
                  <a:cubicBezTo>
                    <a:pt x="3173" y="762"/>
                    <a:pt x="3173" y="762"/>
                    <a:pt x="3173" y="762"/>
                  </a:cubicBezTo>
                  <a:cubicBezTo>
                    <a:pt x="3173" y="751"/>
                    <a:pt x="3173" y="751"/>
                    <a:pt x="3173" y="751"/>
                  </a:cubicBezTo>
                  <a:cubicBezTo>
                    <a:pt x="3173" y="762"/>
                    <a:pt x="3173" y="762"/>
                    <a:pt x="3173" y="762"/>
                  </a:cubicBezTo>
                  <a:cubicBezTo>
                    <a:pt x="3177" y="752"/>
                    <a:pt x="3177" y="752"/>
                    <a:pt x="3177" y="752"/>
                  </a:cubicBezTo>
                  <a:cubicBezTo>
                    <a:pt x="3176" y="752"/>
                    <a:pt x="3174" y="751"/>
                    <a:pt x="3173" y="751"/>
                  </a:cubicBezTo>
                  <a:cubicBezTo>
                    <a:pt x="3173" y="762"/>
                    <a:pt x="3173" y="762"/>
                    <a:pt x="3173" y="762"/>
                  </a:cubicBezTo>
                  <a:cubicBezTo>
                    <a:pt x="3177" y="752"/>
                    <a:pt x="3177" y="752"/>
                    <a:pt x="3177" y="752"/>
                  </a:cubicBezTo>
                  <a:cubicBezTo>
                    <a:pt x="3173" y="761"/>
                    <a:pt x="3173" y="761"/>
                    <a:pt x="3173" y="761"/>
                  </a:cubicBezTo>
                  <a:cubicBezTo>
                    <a:pt x="3180" y="754"/>
                    <a:pt x="3180" y="754"/>
                    <a:pt x="3180" y="754"/>
                  </a:cubicBezTo>
                  <a:cubicBezTo>
                    <a:pt x="3179" y="753"/>
                    <a:pt x="3178" y="753"/>
                    <a:pt x="3177" y="752"/>
                  </a:cubicBezTo>
                  <a:cubicBezTo>
                    <a:pt x="3173" y="761"/>
                    <a:pt x="3173" y="761"/>
                    <a:pt x="3173" y="761"/>
                  </a:cubicBezTo>
                  <a:cubicBezTo>
                    <a:pt x="3180" y="754"/>
                    <a:pt x="3180" y="754"/>
                    <a:pt x="3180" y="754"/>
                  </a:cubicBezTo>
                  <a:cubicBezTo>
                    <a:pt x="3175" y="759"/>
                    <a:pt x="3175" y="759"/>
                    <a:pt x="3175" y="759"/>
                  </a:cubicBezTo>
                  <a:cubicBezTo>
                    <a:pt x="3181" y="755"/>
                    <a:pt x="3181" y="755"/>
                    <a:pt x="3181" y="755"/>
                  </a:cubicBezTo>
                  <a:cubicBezTo>
                    <a:pt x="3180" y="754"/>
                    <a:pt x="3180" y="754"/>
                    <a:pt x="3180" y="754"/>
                  </a:cubicBezTo>
                  <a:cubicBezTo>
                    <a:pt x="3175" y="759"/>
                    <a:pt x="3175" y="759"/>
                    <a:pt x="3175" y="759"/>
                  </a:cubicBezTo>
                  <a:cubicBezTo>
                    <a:pt x="3181" y="755"/>
                    <a:pt x="3181" y="755"/>
                    <a:pt x="3181" y="755"/>
                  </a:cubicBezTo>
                  <a:cubicBezTo>
                    <a:pt x="3180" y="754"/>
                    <a:pt x="3180" y="754"/>
                    <a:pt x="3180" y="754"/>
                  </a:cubicBezTo>
                  <a:cubicBezTo>
                    <a:pt x="3181" y="755"/>
                    <a:pt x="3181" y="755"/>
                    <a:pt x="3181" y="755"/>
                  </a:cubicBezTo>
                  <a:cubicBezTo>
                    <a:pt x="3178" y="752"/>
                    <a:pt x="3176" y="749"/>
                    <a:pt x="3173" y="747"/>
                  </a:cubicBezTo>
                  <a:cubicBezTo>
                    <a:pt x="3168" y="744"/>
                    <a:pt x="3163" y="743"/>
                    <a:pt x="3159" y="743"/>
                  </a:cubicBezTo>
                  <a:cubicBezTo>
                    <a:pt x="3155" y="742"/>
                    <a:pt x="3151" y="742"/>
                    <a:pt x="3148" y="742"/>
                  </a:cubicBezTo>
                  <a:cubicBezTo>
                    <a:pt x="3133" y="742"/>
                    <a:pt x="3118" y="742"/>
                    <a:pt x="3104" y="742"/>
                  </a:cubicBezTo>
                  <a:cubicBezTo>
                    <a:pt x="3045" y="742"/>
                    <a:pt x="2986" y="742"/>
                    <a:pt x="2927" y="742"/>
                  </a:cubicBezTo>
                  <a:cubicBezTo>
                    <a:pt x="2927" y="742"/>
                    <a:pt x="2927" y="742"/>
                    <a:pt x="2927" y="742"/>
                  </a:cubicBezTo>
                  <a:cubicBezTo>
                    <a:pt x="2927" y="742"/>
                    <a:pt x="2927" y="742"/>
                    <a:pt x="2927" y="742"/>
                  </a:cubicBezTo>
                  <a:cubicBezTo>
                    <a:pt x="2924" y="742"/>
                    <a:pt x="2921" y="742"/>
                    <a:pt x="2918" y="742"/>
                  </a:cubicBezTo>
                  <a:cubicBezTo>
                    <a:pt x="2914" y="743"/>
                    <a:pt x="2910" y="745"/>
                    <a:pt x="2906" y="748"/>
                  </a:cubicBezTo>
                  <a:cubicBezTo>
                    <a:pt x="2903" y="751"/>
                    <a:pt x="2900" y="755"/>
                    <a:pt x="2898" y="760"/>
                  </a:cubicBezTo>
                  <a:cubicBezTo>
                    <a:pt x="2898" y="760"/>
                    <a:pt x="2898" y="760"/>
                    <a:pt x="2898" y="760"/>
                  </a:cubicBezTo>
                  <a:cubicBezTo>
                    <a:pt x="2897" y="761"/>
                    <a:pt x="2897" y="762"/>
                    <a:pt x="2897" y="762"/>
                  </a:cubicBezTo>
                  <a:cubicBezTo>
                    <a:pt x="2897" y="763"/>
                    <a:pt x="2896" y="763"/>
                    <a:pt x="2896" y="763"/>
                  </a:cubicBezTo>
                  <a:cubicBezTo>
                    <a:pt x="2897" y="763"/>
                    <a:pt x="2897" y="763"/>
                    <a:pt x="2897" y="763"/>
                  </a:cubicBezTo>
                  <a:cubicBezTo>
                    <a:pt x="2896" y="763"/>
                    <a:pt x="2896" y="763"/>
                    <a:pt x="2896" y="763"/>
                  </a:cubicBezTo>
                  <a:cubicBezTo>
                    <a:pt x="2896" y="763"/>
                    <a:pt x="2896" y="763"/>
                    <a:pt x="2896" y="763"/>
                  </a:cubicBezTo>
                  <a:cubicBezTo>
                    <a:pt x="2897" y="763"/>
                    <a:pt x="2897" y="763"/>
                    <a:pt x="2897" y="763"/>
                  </a:cubicBezTo>
                  <a:cubicBezTo>
                    <a:pt x="2896" y="763"/>
                    <a:pt x="2896" y="763"/>
                    <a:pt x="2896" y="763"/>
                  </a:cubicBezTo>
                  <a:cubicBezTo>
                    <a:pt x="2900" y="766"/>
                    <a:pt x="2900" y="766"/>
                    <a:pt x="2900" y="766"/>
                  </a:cubicBezTo>
                  <a:cubicBezTo>
                    <a:pt x="2898" y="762"/>
                    <a:pt x="2898" y="762"/>
                    <a:pt x="2898" y="762"/>
                  </a:cubicBezTo>
                  <a:cubicBezTo>
                    <a:pt x="2897" y="762"/>
                    <a:pt x="2897" y="763"/>
                    <a:pt x="2896" y="763"/>
                  </a:cubicBezTo>
                  <a:cubicBezTo>
                    <a:pt x="2900" y="766"/>
                    <a:pt x="2900" y="766"/>
                    <a:pt x="2900" y="766"/>
                  </a:cubicBezTo>
                  <a:cubicBezTo>
                    <a:pt x="2898" y="762"/>
                    <a:pt x="2898" y="762"/>
                    <a:pt x="2898" y="762"/>
                  </a:cubicBezTo>
                  <a:cubicBezTo>
                    <a:pt x="2901" y="766"/>
                    <a:pt x="2901" y="766"/>
                    <a:pt x="2901" y="766"/>
                  </a:cubicBezTo>
                  <a:cubicBezTo>
                    <a:pt x="2901" y="761"/>
                    <a:pt x="2901" y="761"/>
                    <a:pt x="2901" y="761"/>
                  </a:cubicBezTo>
                  <a:cubicBezTo>
                    <a:pt x="2900" y="761"/>
                    <a:pt x="2899" y="761"/>
                    <a:pt x="2898" y="762"/>
                  </a:cubicBezTo>
                  <a:cubicBezTo>
                    <a:pt x="2901" y="766"/>
                    <a:pt x="2901" y="766"/>
                    <a:pt x="2901" y="766"/>
                  </a:cubicBezTo>
                  <a:cubicBezTo>
                    <a:pt x="2901" y="761"/>
                    <a:pt x="2901" y="761"/>
                    <a:pt x="2901" y="761"/>
                  </a:cubicBezTo>
                  <a:cubicBezTo>
                    <a:pt x="2901" y="763"/>
                    <a:pt x="2901" y="763"/>
                    <a:pt x="2901" y="763"/>
                  </a:cubicBezTo>
                  <a:cubicBezTo>
                    <a:pt x="2901" y="761"/>
                    <a:pt x="2901" y="761"/>
                    <a:pt x="2901" y="761"/>
                  </a:cubicBezTo>
                  <a:cubicBezTo>
                    <a:pt x="2901" y="761"/>
                    <a:pt x="2901" y="761"/>
                    <a:pt x="2901" y="761"/>
                  </a:cubicBezTo>
                  <a:cubicBezTo>
                    <a:pt x="2901" y="763"/>
                    <a:pt x="2901" y="763"/>
                    <a:pt x="2901" y="763"/>
                  </a:cubicBezTo>
                  <a:cubicBezTo>
                    <a:pt x="2901" y="761"/>
                    <a:pt x="2901" y="761"/>
                    <a:pt x="2901" y="761"/>
                  </a:cubicBezTo>
                  <a:cubicBezTo>
                    <a:pt x="2901" y="761"/>
                    <a:pt x="2901" y="761"/>
                    <a:pt x="2901" y="761"/>
                  </a:cubicBezTo>
                  <a:cubicBezTo>
                    <a:pt x="2901" y="761"/>
                    <a:pt x="2901" y="761"/>
                    <a:pt x="2901" y="761"/>
                  </a:cubicBezTo>
                  <a:cubicBezTo>
                    <a:pt x="2900" y="765"/>
                    <a:pt x="2900" y="765"/>
                    <a:pt x="2900" y="765"/>
                  </a:cubicBezTo>
                  <a:cubicBezTo>
                    <a:pt x="2902" y="761"/>
                    <a:pt x="2902" y="761"/>
                    <a:pt x="2902" y="761"/>
                  </a:cubicBezTo>
                  <a:cubicBezTo>
                    <a:pt x="2901" y="761"/>
                    <a:pt x="2901" y="761"/>
                    <a:pt x="2901" y="761"/>
                  </a:cubicBezTo>
                  <a:cubicBezTo>
                    <a:pt x="2900" y="765"/>
                    <a:pt x="2900" y="765"/>
                    <a:pt x="2900" y="765"/>
                  </a:cubicBezTo>
                  <a:cubicBezTo>
                    <a:pt x="2902" y="761"/>
                    <a:pt x="2902" y="761"/>
                    <a:pt x="2902" y="761"/>
                  </a:cubicBezTo>
                  <a:cubicBezTo>
                    <a:pt x="2899" y="768"/>
                    <a:pt x="2899" y="768"/>
                    <a:pt x="2899" y="768"/>
                  </a:cubicBezTo>
                  <a:cubicBezTo>
                    <a:pt x="2905" y="764"/>
                    <a:pt x="2905" y="764"/>
                    <a:pt x="2905" y="764"/>
                  </a:cubicBezTo>
                  <a:cubicBezTo>
                    <a:pt x="2904" y="763"/>
                    <a:pt x="2903" y="762"/>
                    <a:pt x="2902" y="761"/>
                  </a:cubicBezTo>
                  <a:cubicBezTo>
                    <a:pt x="2899" y="768"/>
                    <a:pt x="2899" y="768"/>
                    <a:pt x="2899" y="768"/>
                  </a:cubicBezTo>
                  <a:cubicBezTo>
                    <a:pt x="2905" y="764"/>
                    <a:pt x="2905" y="764"/>
                    <a:pt x="2905" y="764"/>
                  </a:cubicBezTo>
                  <a:cubicBezTo>
                    <a:pt x="2900" y="767"/>
                    <a:pt x="2900" y="767"/>
                    <a:pt x="2900" y="767"/>
                  </a:cubicBezTo>
                  <a:cubicBezTo>
                    <a:pt x="2906" y="765"/>
                    <a:pt x="2906" y="765"/>
                    <a:pt x="2906" y="765"/>
                  </a:cubicBezTo>
                  <a:cubicBezTo>
                    <a:pt x="2906" y="765"/>
                    <a:pt x="2905" y="765"/>
                    <a:pt x="2905" y="764"/>
                  </a:cubicBezTo>
                  <a:cubicBezTo>
                    <a:pt x="2900" y="767"/>
                    <a:pt x="2900" y="767"/>
                    <a:pt x="2900" y="767"/>
                  </a:cubicBezTo>
                  <a:cubicBezTo>
                    <a:pt x="2906" y="765"/>
                    <a:pt x="2906" y="765"/>
                    <a:pt x="2906" y="765"/>
                  </a:cubicBezTo>
                  <a:cubicBezTo>
                    <a:pt x="2903" y="766"/>
                    <a:pt x="2903" y="766"/>
                    <a:pt x="2903" y="766"/>
                  </a:cubicBezTo>
                  <a:cubicBezTo>
                    <a:pt x="2906" y="766"/>
                    <a:pt x="2906" y="766"/>
                    <a:pt x="2906" y="766"/>
                  </a:cubicBezTo>
                  <a:cubicBezTo>
                    <a:pt x="2906" y="765"/>
                    <a:pt x="2906" y="765"/>
                    <a:pt x="2906" y="765"/>
                  </a:cubicBezTo>
                  <a:cubicBezTo>
                    <a:pt x="2903" y="766"/>
                    <a:pt x="2903" y="766"/>
                    <a:pt x="2903" y="766"/>
                  </a:cubicBezTo>
                  <a:cubicBezTo>
                    <a:pt x="2906" y="766"/>
                    <a:pt x="2906" y="766"/>
                    <a:pt x="2906" y="766"/>
                  </a:cubicBezTo>
                  <a:cubicBezTo>
                    <a:pt x="2905" y="766"/>
                    <a:pt x="2905" y="766"/>
                    <a:pt x="2905" y="766"/>
                  </a:cubicBezTo>
                  <a:cubicBezTo>
                    <a:pt x="2906" y="766"/>
                    <a:pt x="2906" y="766"/>
                    <a:pt x="2906" y="766"/>
                  </a:cubicBezTo>
                  <a:cubicBezTo>
                    <a:pt x="2906" y="766"/>
                    <a:pt x="2906" y="766"/>
                    <a:pt x="2906" y="766"/>
                  </a:cubicBezTo>
                  <a:cubicBezTo>
                    <a:pt x="2905" y="766"/>
                    <a:pt x="2905" y="766"/>
                    <a:pt x="2905" y="766"/>
                  </a:cubicBezTo>
                  <a:cubicBezTo>
                    <a:pt x="2906" y="766"/>
                    <a:pt x="2906" y="766"/>
                    <a:pt x="2906" y="766"/>
                  </a:cubicBezTo>
                  <a:cubicBezTo>
                    <a:pt x="2906" y="766"/>
                    <a:pt x="2906" y="765"/>
                    <a:pt x="2906" y="764"/>
                  </a:cubicBezTo>
                  <a:cubicBezTo>
                    <a:pt x="2906" y="764"/>
                    <a:pt x="2906" y="763"/>
                    <a:pt x="2905" y="761"/>
                  </a:cubicBezTo>
                  <a:cubicBezTo>
                    <a:pt x="2905" y="761"/>
                    <a:pt x="2905" y="761"/>
                    <a:pt x="2905" y="761"/>
                  </a:cubicBezTo>
                  <a:cubicBezTo>
                    <a:pt x="2905" y="759"/>
                    <a:pt x="2905" y="756"/>
                    <a:pt x="2903" y="754"/>
                  </a:cubicBezTo>
                  <a:cubicBezTo>
                    <a:pt x="2903" y="752"/>
                    <a:pt x="2901" y="751"/>
                    <a:pt x="2900" y="749"/>
                  </a:cubicBezTo>
                  <a:cubicBezTo>
                    <a:pt x="2898" y="747"/>
                    <a:pt x="2896" y="745"/>
                    <a:pt x="2894" y="744"/>
                  </a:cubicBezTo>
                  <a:cubicBezTo>
                    <a:pt x="2891" y="743"/>
                    <a:pt x="2889" y="743"/>
                    <a:pt x="2888" y="743"/>
                  </a:cubicBezTo>
                  <a:cubicBezTo>
                    <a:pt x="2888" y="743"/>
                    <a:pt x="2888" y="743"/>
                    <a:pt x="2888" y="743"/>
                  </a:cubicBezTo>
                  <a:cubicBezTo>
                    <a:pt x="2888" y="743"/>
                    <a:pt x="2888" y="743"/>
                    <a:pt x="2888" y="743"/>
                  </a:cubicBezTo>
                  <a:cubicBezTo>
                    <a:pt x="2884" y="742"/>
                    <a:pt x="2882" y="742"/>
                    <a:pt x="2880" y="742"/>
                  </a:cubicBezTo>
                  <a:cubicBezTo>
                    <a:pt x="2878" y="742"/>
                    <a:pt x="2877" y="742"/>
                    <a:pt x="2877" y="742"/>
                  </a:cubicBezTo>
                  <a:cubicBezTo>
                    <a:pt x="2798" y="742"/>
                    <a:pt x="2720" y="742"/>
                    <a:pt x="2642" y="742"/>
                  </a:cubicBezTo>
                  <a:cubicBezTo>
                    <a:pt x="2563" y="742"/>
                    <a:pt x="2484" y="742"/>
                    <a:pt x="2405" y="742"/>
                  </a:cubicBezTo>
                  <a:cubicBezTo>
                    <a:pt x="2394" y="742"/>
                    <a:pt x="2382" y="742"/>
                    <a:pt x="2371" y="742"/>
                  </a:cubicBezTo>
                  <a:cubicBezTo>
                    <a:pt x="2301" y="742"/>
                    <a:pt x="2230" y="741"/>
                    <a:pt x="2159" y="741"/>
                  </a:cubicBezTo>
                  <a:cubicBezTo>
                    <a:pt x="2158" y="741"/>
                    <a:pt x="2156" y="741"/>
                    <a:pt x="2154" y="741"/>
                  </a:cubicBezTo>
                  <a:cubicBezTo>
                    <a:pt x="2074" y="741"/>
                    <a:pt x="1994" y="742"/>
                    <a:pt x="1915" y="742"/>
                  </a:cubicBezTo>
                  <a:cubicBezTo>
                    <a:pt x="1842" y="742"/>
                    <a:pt x="1770" y="742"/>
                    <a:pt x="1697" y="741"/>
                  </a:cubicBezTo>
                  <a:cubicBezTo>
                    <a:pt x="1697" y="741"/>
                    <a:pt x="1697" y="741"/>
                    <a:pt x="1697" y="741"/>
                  </a:cubicBezTo>
                  <a:cubicBezTo>
                    <a:pt x="1692" y="741"/>
                    <a:pt x="1688" y="741"/>
                    <a:pt x="1683" y="741"/>
                  </a:cubicBezTo>
                  <a:cubicBezTo>
                    <a:pt x="1683" y="741"/>
                    <a:pt x="1683" y="741"/>
                    <a:pt x="1683" y="741"/>
                  </a:cubicBezTo>
                  <a:cubicBezTo>
                    <a:pt x="1670" y="739"/>
                    <a:pt x="1657" y="737"/>
                    <a:pt x="1644" y="735"/>
                  </a:cubicBezTo>
                  <a:cubicBezTo>
                    <a:pt x="1644" y="735"/>
                    <a:pt x="1644" y="735"/>
                    <a:pt x="1644" y="735"/>
                  </a:cubicBezTo>
                  <a:cubicBezTo>
                    <a:pt x="1624" y="732"/>
                    <a:pt x="1604" y="729"/>
                    <a:pt x="1584" y="726"/>
                  </a:cubicBezTo>
                  <a:cubicBezTo>
                    <a:pt x="1584" y="726"/>
                    <a:pt x="1584" y="726"/>
                    <a:pt x="1584" y="726"/>
                  </a:cubicBezTo>
                  <a:cubicBezTo>
                    <a:pt x="1561" y="722"/>
                    <a:pt x="1537" y="719"/>
                    <a:pt x="1514" y="715"/>
                  </a:cubicBezTo>
                  <a:cubicBezTo>
                    <a:pt x="1514" y="715"/>
                    <a:pt x="1514" y="715"/>
                    <a:pt x="1514" y="715"/>
                  </a:cubicBezTo>
                  <a:cubicBezTo>
                    <a:pt x="1514" y="715"/>
                    <a:pt x="1514" y="715"/>
                    <a:pt x="1514" y="715"/>
                  </a:cubicBezTo>
                  <a:cubicBezTo>
                    <a:pt x="1497" y="713"/>
                    <a:pt x="1481" y="711"/>
                    <a:pt x="1464" y="708"/>
                  </a:cubicBezTo>
                  <a:cubicBezTo>
                    <a:pt x="1464" y="708"/>
                    <a:pt x="1464" y="708"/>
                    <a:pt x="1464" y="708"/>
                  </a:cubicBezTo>
                  <a:cubicBezTo>
                    <a:pt x="1464" y="708"/>
                    <a:pt x="1464" y="708"/>
                    <a:pt x="1464" y="708"/>
                  </a:cubicBezTo>
                  <a:cubicBezTo>
                    <a:pt x="1451" y="706"/>
                    <a:pt x="1439" y="704"/>
                    <a:pt x="1426" y="702"/>
                  </a:cubicBezTo>
                  <a:cubicBezTo>
                    <a:pt x="1426" y="702"/>
                    <a:pt x="1426" y="702"/>
                    <a:pt x="1426" y="702"/>
                  </a:cubicBezTo>
                  <a:cubicBezTo>
                    <a:pt x="1414" y="701"/>
                    <a:pt x="1401" y="699"/>
                    <a:pt x="1389" y="697"/>
                  </a:cubicBezTo>
                  <a:cubicBezTo>
                    <a:pt x="1377" y="695"/>
                    <a:pt x="1365" y="694"/>
                    <a:pt x="1352" y="692"/>
                  </a:cubicBezTo>
                  <a:cubicBezTo>
                    <a:pt x="1352" y="692"/>
                    <a:pt x="1352" y="692"/>
                    <a:pt x="1352" y="692"/>
                  </a:cubicBezTo>
                  <a:cubicBezTo>
                    <a:pt x="1352" y="692"/>
                    <a:pt x="1351" y="692"/>
                    <a:pt x="1350" y="692"/>
                  </a:cubicBezTo>
                  <a:cubicBezTo>
                    <a:pt x="1347" y="692"/>
                    <a:pt x="1345" y="693"/>
                    <a:pt x="1343" y="693"/>
                  </a:cubicBezTo>
                  <a:cubicBezTo>
                    <a:pt x="1340" y="694"/>
                    <a:pt x="1338" y="696"/>
                    <a:pt x="1336" y="698"/>
                  </a:cubicBezTo>
                  <a:cubicBezTo>
                    <a:pt x="1336" y="698"/>
                    <a:pt x="1336" y="698"/>
                    <a:pt x="1336" y="698"/>
                  </a:cubicBezTo>
                  <a:cubicBezTo>
                    <a:pt x="1332" y="701"/>
                    <a:pt x="1328" y="705"/>
                    <a:pt x="1323" y="709"/>
                  </a:cubicBezTo>
                  <a:cubicBezTo>
                    <a:pt x="1319" y="713"/>
                    <a:pt x="1315" y="718"/>
                    <a:pt x="1311" y="723"/>
                  </a:cubicBezTo>
                  <a:cubicBezTo>
                    <a:pt x="1311" y="723"/>
                    <a:pt x="1311" y="723"/>
                    <a:pt x="1311" y="723"/>
                  </a:cubicBezTo>
                  <a:cubicBezTo>
                    <a:pt x="1311" y="723"/>
                    <a:pt x="1311" y="723"/>
                    <a:pt x="1311" y="723"/>
                  </a:cubicBezTo>
                  <a:cubicBezTo>
                    <a:pt x="1310" y="725"/>
                    <a:pt x="1309" y="726"/>
                    <a:pt x="1307" y="728"/>
                  </a:cubicBezTo>
                  <a:cubicBezTo>
                    <a:pt x="1306" y="729"/>
                    <a:pt x="1304" y="731"/>
                    <a:pt x="1301" y="732"/>
                  </a:cubicBezTo>
                  <a:cubicBezTo>
                    <a:pt x="1301" y="732"/>
                    <a:pt x="1301" y="732"/>
                    <a:pt x="1301" y="732"/>
                  </a:cubicBezTo>
                  <a:cubicBezTo>
                    <a:pt x="1297" y="735"/>
                    <a:pt x="1294" y="739"/>
                    <a:pt x="1291" y="743"/>
                  </a:cubicBezTo>
                  <a:cubicBezTo>
                    <a:pt x="1291" y="743"/>
                    <a:pt x="1291" y="743"/>
                    <a:pt x="1291" y="743"/>
                  </a:cubicBezTo>
                  <a:cubicBezTo>
                    <a:pt x="1291" y="744"/>
                    <a:pt x="1291" y="744"/>
                    <a:pt x="1291" y="744"/>
                  </a:cubicBezTo>
                  <a:cubicBezTo>
                    <a:pt x="1291" y="744"/>
                    <a:pt x="1291" y="744"/>
                    <a:pt x="1291" y="744"/>
                  </a:cubicBezTo>
                  <a:cubicBezTo>
                    <a:pt x="1296" y="747"/>
                    <a:pt x="1296" y="747"/>
                    <a:pt x="1296" y="747"/>
                  </a:cubicBezTo>
                  <a:cubicBezTo>
                    <a:pt x="1293" y="742"/>
                    <a:pt x="1293" y="742"/>
                    <a:pt x="1293" y="742"/>
                  </a:cubicBezTo>
                  <a:cubicBezTo>
                    <a:pt x="1291" y="743"/>
                    <a:pt x="1291" y="744"/>
                    <a:pt x="1291" y="744"/>
                  </a:cubicBezTo>
                  <a:cubicBezTo>
                    <a:pt x="1296" y="747"/>
                    <a:pt x="1296" y="747"/>
                    <a:pt x="1296" y="747"/>
                  </a:cubicBezTo>
                  <a:cubicBezTo>
                    <a:pt x="1293" y="742"/>
                    <a:pt x="1293" y="742"/>
                    <a:pt x="1293" y="742"/>
                  </a:cubicBezTo>
                  <a:cubicBezTo>
                    <a:pt x="1297" y="750"/>
                    <a:pt x="1297" y="750"/>
                    <a:pt x="1297" y="750"/>
                  </a:cubicBezTo>
                  <a:cubicBezTo>
                    <a:pt x="1297" y="741"/>
                    <a:pt x="1297" y="741"/>
                    <a:pt x="1297" y="741"/>
                  </a:cubicBezTo>
                  <a:cubicBezTo>
                    <a:pt x="1296" y="741"/>
                    <a:pt x="1294" y="741"/>
                    <a:pt x="1293" y="742"/>
                  </a:cubicBezTo>
                  <a:cubicBezTo>
                    <a:pt x="1297" y="750"/>
                    <a:pt x="1297" y="750"/>
                    <a:pt x="1297" y="750"/>
                  </a:cubicBezTo>
                  <a:cubicBezTo>
                    <a:pt x="1297" y="741"/>
                    <a:pt x="1297" y="741"/>
                    <a:pt x="1297" y="741"/>
                  </a:cubicBezTo>
                  <a:cubicBezTo>
                    <a:pt x="1297" y="748"/>
                    <a:pt x="1297" y="748"/>
                    <a:pt x="1297" y="748"/>
                  </a:cubicBezTo>
                  <a:cubicBezTo>
                    <a:pt x="1299" y="741"/>
                    <a:pt x="1299" y="741"/>
                    <a:pt x="1299" y="741"/>
                  </a:cubicBezTo>
                  <a:cubicBezTo>
                    <a:pt x="1299" y="741"/>
                    <a:pt x="1298" y="741"/>
                    <a:pt x="1297" y="741"/>
                  </a:cubicBezTo>
                  <a:cubicBezTo>
                    <a:pt x="1297" y="748"/>
                    <a:pt x="1297" y="748"/>
                    <a:pt x="1297" y="748"/>
                  </a:cubicBezTo>
                  <a:cubicBezTo>
                    <a:pt x="1299" y="741"/>
                    <a:pt x="1299" y="741"/>
                    <a:pt x="1299" y="741"/>
                  </a:cubicBezTo>
                  <a:cubicBezTo>
                    <a:pt x="1298" y="744"/>
                    <a:pt x="1298" y="744"/>
                    <a:pt x="1298" y="744"/>
                  </a:cubicBezTo>
                  <a:cubicBezTo>
                    <a:pt x="1299" y="741"/>
                    <a:pt x="1299" y="741"/>
                    <a:pt x="1299" y="741"/>
                  </a:cubicBezTo>
                  <a:cubicBezTo>
                    <a:pt x="1299" y="741"/>
                    <a:pt x="1299" y="741"/>
                    <a:pt x="1299" y="741"/>
                  </a:cubicBezTo>
                  <a:cubicBezTo>
                    <a:pt x="1298" y="744"/>
                    <a:pt x="1298" y="744"/>
                    <a:pt x="1298" y="744"/>
                  </a:cubicBezTo>
                  <a:cubicBezTo>
                    <a:pt x="1299" y="741"/>
                    <a:pt x="1299" y="741"/>
                    <a:pt x="1299" y="741"/>
                  </a:cubicBezTo>
                  <a:cubicBezTo>
                    <a:pt x="1299" y="742"/>
                    <a:pt x="1299" y="742"/>
                    <a:pt x="1299" y="742"/>
                  </a:cubicBezTo>
                  <a:cubicBezTo>
                    <a:pt x="1299" y="741"/>
                    <a:pt x="1299" y="741"/>
                    <a:pt x="1299" y="741"/>
                  </a:cubicBezTo>
                  <a:cubicBezTo>
                    <a:pt x="1299" y="741"/>
                    <a:pt x="1299" y="741"/>
                    <a:pt x="1299" y="741"/>
                  </a:cubicBezTo>
                  <a:cubicBezTo>
                    <a:pt x="1299" y="742"/>
                    <a:pt x="1299" y="742"/>
                    <a:pt x="1299" y="742"/>
                  </a:cubicBezTo>
                  <a:cubicBezTo>
                    <a:pt x="1299" y="741"/>
                    <a:pt x="1299" y="741"/>
                    <a:pt x="1299" y="741"/>
                  </a:cubicBezTo>
                  <a:cubicBezTo>
                    <a:pt x="1299" y="741"/>
                    <a:pt x="1299" y="741"/>
                    <a:pt x="1299" y="741"/>
                  </a:cubicBezTo>
                  <a:cubicBezTo>
                    <a:pt x="1299" y="741"/>
                    <a:pt x="1299" y="741"/>
                    <a:pt x="1299" y="741"/>
                  </a:cubicBezTo>
                  <a:cubicBezTo>
                    <a:pt x="1297" y="740"/>
                    <a:pt x="1294" y="739"/>
                    <a:pt x="1291" y="739"/>
                  </a:cubicBezTo>
                  <a:cubicBezTo>
                    <a:pt x="1287" y="739"/>
                    <a:pt x="1283" y="741"/>
                    <a:pt x="1281" y="742"/>
                  </a:cubicBezTo>
                  <a:cubicBezTo>
                    <a:pt x="1278" y="743"/>
                    <a:pt x="1276" y="745"/>
                    <a:pt x="1275" y="746"/>
                  </a:cubicBezTo>
                  <a:cubicBezTo>
                    <a:pt x="1275" y="746"/>
                    <a:pt x="1275" y="746"/>
                    <a:pt x="1275" y="746"/>
                  </a:cubicBezTo>
                  <a:cubicBezTo>
                    <a:pt x="1275" y="746"/>
                    <a:pt x="1275" y="746"/>
                    <a:pt x="1275" y="746"/>
                  </a:cubicBezTo>
                  <a:cubicBezTo>
                    <a:pt x="1272" y="747"/>
                    <a:pt x="1270" y="749"/>
                    <a:pt x="1269" y="752"/>
                  </a:cubicBezTo>
                  <a:cubicBezTo>
                    <a:pt x="1268" y="755"/>
                    <a:pt x="1267" y="758"/>
                    <a:pt x="1267" y="760"/>
                  </a:cubicBezTo>
                  <a:cubicBezTo>
                    <a:pt x="1267" y="763"/>
                    <a:pt x="1268" y="765"/>
                    <a:pt x="1268" y="767"/>
                  </a:cubicBezTo>
                  <a:cubicBezTo>
                    <a:pt x="1269" y="768"/>
                    <a:pt x="1269" y="769"/>
                    <a:pt x="1269" y="769"/>
                  </a:cubicBezTo>
                  <a:cubicBezTo>
                    <a:pt x="1269" y="769"/>
                    <a:pt x="1269" y="769"/>
                    <a:pt x="1269" y="769"/>
                  </a:cubicBezTo>
                  <a:cubicBezTo>
                    <a:pt x="1269" y="769"/>
                    <a:pt x="1269" y="770"/>
                    <a:pt x="1269" y="770"/>
                  </a:cubicBezTo>
                  <a:cubicBezTo>
                    <a:pt x="1269" y="770"/>
                    <a:pt x="1269" y="770"/>
                    <a:pt x="1269" y="770"/>
                  </a:cubicBezTo>
                  <a:cubicBezTo>
                    <a:pt x="1271" y="770"/>
                    <a:pt x="1271" y="770"/>
                    <a:pt x="1271" y="770"/>
                  </a:cubicBezTo>
                  <a:cubicBezTo>
                    <a:pt x="1269" y="770"/>
                    <a:pt x="1269" y="770"/>
                    <a:pt x="1269" y="770"/>
                  </a:cubicBezTo>
                  <a:cubicBezTo>
                    <a:pt x="1269" y="770"/>
                    <a:pt x="1269" y="770"/>
                    <a:pt x="1269" y="770"/>
                  </a:cubicBezTo>
                  <a:cubicBezTo>
                    <a:pt x="1271" y="770"/>
                    <a:pt x="1271" y="770"/>
                    <a:pt x="1271" y="770"/>
                  </a:cubicBezTo>
                  <a:cubicBezTo>
                    <a:pt x="1269" y="770"/>
                    <a:pt x="1269" y="770"/>
                    <a:pt x="1269" y="770"/>
                  </a:cubicBezTo>
                  <a:cubicBezTo>
                    <a:pt x="1275" y="770"/>
                    <a:pt x="1275" y="770"/>
                    <a:pt x="1275" y="770"/>
                  </a:cubicBezTo>
                  <a:cubicBezTo>
                    <a:pt x="1270" y="768"/>
                    <a:pt x="1270" y="768"/>
                    <a:pt x="1270" y="768"/>
                  </a:cubicBezTo>
                  <a:cubicBezTo>
                    <a:pt x="1269" y="769"/>
                    <a:pt x="1269" y="769"/>
                    <a:pt x="1269" y="770"/>
                  </a:cubicBezTo>
                  <a:cubicBezTo>
                    <a:pt x="1275" y="770"/>
                    <a:pt x="1275" y="770"/>
                    <a:pt x="1275" y="770"/>
                  </a:cubicBezTo>
                  <a:cubicBezTo>
                    <a:pt x="1270" y="768"/>
                    <a:pt x="1270" y="768"/>
                    <a:pt x="1270" y="768"/>
                  </a:cubicBezTo>
                  <a:cubicBezTo>
                    <a:pt x="1277" y="770"/>
                    <a:pt x="1277" y="770"/>
                    <a:pt x="1277" y="770"/>
                  </a:cubicBezTo>
                  <a:cubicBezTo>
                    <a:pt x="1271" y="765"/>
                    <a:pt x="1271" y="765"/>
                    <a:pt x="1271" y="765"/>
                  </a:cubicBezTo>
                  <a:cubicBezTo>
                    <a:pt x="1270" y="766"/>
                    <a:pt x="1270" y="767"/>
                    <a:pt x="1270" y="768"/>
                  </a:cubicBezTo>
                  <a:cubicBezTo>
                    <a:pt x="1277" y="770"/>
                    <a:pt x="1277" y="770"/>
                    <a:pt x="1277" y="770"/>
                  </a:cubicBezTo>
                  <a:cubicBezTo>
                    <a:pt x="1271" y="765"/>
                    <a:pt x="1271" y="765"/>
                    <a:pt x="1271" y="765"/>
                  </a:cubicBezTo>
                  <a:cubicBezTo>
                    <a:pt x="1276" y="770"/>
                    <a:pt x="1276" y="770"/>
                    <a:pt x="1276" y="770"/>
                  </a:cubicBezTo>
                  <a:cubicBezTo>
                    <a:pt x="1273" y="763"/>
                    <a:pt x="1273" y="763"/>
                    <a:pt x="1273" y="763"/>
                  </a:cubicBezTo>
                  <a:cubicBezTo>
                    <a:pt x="1273" y="764"/>
                    <a:pt x="1272" y="764"/>
                    <a:pt x="1271" y="765"/>
                  </a:cubicBezTo>
                  <a:cubicBezTo>
                    <a:pt x="1276" y="770"/>
                    <a:pt x="1276" y="770"/>
                    <a:pt x="1276" y="770"/>
                  </a:cubicBezTo>
                  <a:cubicBezTo>
                    <a:pt x="1273" y="763"/>
                    <a:pt x="1273" y="763"/>
                    <a:pt x="1273" y="763"/>
                  </a:cubicBezTo>
                  <a:cubicBezTo>
                    <a:pt x="1274" y="766"/>
                    <a:pt x="1274" y="766"/>
                    <a:pt x="1274" y="766"/>
                  </a:cubicBezTo>
                  <a:cubicBezTo>
                    <a:pt x="1274" y="763"/>
                    <a:pt x="1274" y="763"/>
                    <a:pt x="1274" y="763"/>
                  </a:cubicBezTo>
                  <a:cubicBezTo>
                    <a:pt x="1273" y="763"/>
                    <a:pt x="1273" y="763"/>
                    <a:pt x="1273" y="763"/>
                  </a:cubicBezTo>
                  <a:cubicBezTo>
                    <a:pt x="1274" y="766"/>
                    <a:pt x="1274" y="766"/>
                    <a:pt x="1274" y="766"/>
                  </a:cubicBezTo>
                  <a:cubicBezTo>
                    <a:pt x="1274" y="763"/>
                    <a:pt x="1274" y="763"/>
                    <a:pt x="1274" y="763"/>
                  </a:cubicBezTo>
                  <a:cubicBezTo>
                    <a:pt x="1273" y="763"/>
                    <a:pt x="1273" y="763"/>
                    <a:pt x="1273" y="763"/>
                  </a:cubicBezTo>
                  <a:cubicBezTo>
                    <a:pt x="1273" y="763"/>
                    <a:pt x="1273" y="763"/>
                    <a:pt x="1273" y="763"/>
                  </a:cubicBezTo>
                  <a:cubicBezTo>
                    <a:pt x="1271" y="764"/>
                    <a:pt x="1268" y="764"/>
                    <a:pt x="1266" y="765"/>
                  </a:cubicBezTo>
                  <a:cubicBezTo>
                    <a:pt x="1264" y="766"/>
                    <a:pt x="1262" y="768"/>
                    <a:pt x="1260" y="769"/>
                  </a:cubicBezTo>
                  <a:cubicBezTo>
                    <a:pt x="1259" y="771"/>
                    <a:pt x="1257" y="772"/>
                    <a:pt x="1257" y="774"/>
                  </a:cubicBezTo>
                  <a:cubicBezTo>
                    <a:pt x="1255" y="776"/>
                    <a:pt x="1255" y="778"/>
                    <a:pt x="1254" y="780"/>
                  </a:cubicBezTo>
                  <a:cubicBezTo>
                    <a:pt x="1254" y="782"/>
                    <a:pt x="1254" y="784"/>
                    <a:pt x="1253" y="786"/>
                  </a:cubicBezTo>
                  <a:cubicBezTo>
                    <a:pt x="1265" y="787"/>
                    <a:pt x="1265" y="787"/>
                    <a:pt x="1265" y="787"/>
                  </a:cubicBezTo>
                  <a:cubicBezTo>
                    <a:pt x="1253" y="785"/>
                    <a:pt x="1253" y="785"/>
                    <a:pt x="1253" y="785"/>
                  </a:cubicBezTo>
                  <a:cubicBezTo>
                    <a:pt x="1258" y="786"/>
                    <a:pt x="1258" y="786"/>
                    <a:pt x="1258" y="786"/>
                  </a:cubicBezTo>
                  <a:cubicBezTo>
                    <a:pt x="1254" y="785"/>
                    <a:pt x="1254" y="785"/>
                    <a:pt x="1254" y="785"/>
                  </a:cubicBezTo>
                  <a:cubicBezTo>
                    <a:pt x="1254" y="785"/>
                    <a:pt x="1253" y="785"/>
                    <a:pt x="1253" y="785"/>
                  </a:cubicBezTo>
                  <a:cubicBezTo>
                    <a:pt x="1258" y="786"/>
                    <a:pt x="1258" y="786"/>
                    <a:pt x="1258" y="786"/>
                  </a:cubicBezTo>
                  <a:cubicBezTo>
                    <a:pt x="1254" y="785"/>
                    <a:pt x="1254" y="785"/>
                    <a:pt x="1254" y="785"/>
                  </a:cubicBezTo>
                  <a:cubicBezTo>
                    <a:pt x="1255" y="785"/>
                    <a:pt x="1255" y="785"/>
                    <a:pt x="1255" y="785"/>
                  </a:cubicBezTo>
                  <a:cubicBezTo>
                    <a:pt x="1254" y="785"/>
                    <a:pt x="1254" y="785"/>
                    <a:pt x="1254" y="785"/>
                  </a:cubicBezTo>
                  <a:cubicBezTo>
                    <a:pt x="1254" y="785"/>
                    <a:pt x="1254" y="785"/>
                    <a:pt x="1254" y="785"/>
                  </a:cubicBezTo>
                  <a:cubicBezTo>
                    <a:pt x="1255" y="785"/>
                    <a:pt x="1255" y="785"/>
                    <a:pt x="1255" y="785"/>
                  </a:cubicBezTo>
                  <a:cubicBezTo>
                    <a:pt x="1254" y="785"/>
                    <a:pt x="1254" y="785"/>
                    <a:pt x="1254" y="785"/>
                  </a:cubicBezTo>
                  <a:cubicBezTo>
                    <a:pt x="1254" y="785"/>
                    <a:pt x="1253" y="786"/>
                    <a:pt x="1252" y="787"/>
                  </a:cubicBezTo>
                  <a:cubicBezTo>
                    <a:pt x="1264" y="791"/>
                    <a:pt x="1264" y="791"/>
                    <a:pt x="1264" y="791"/>
                  </a:cubicBezTo>
                  <a:cubicBezTo>
                    <a:pt x="1270" y="781"/>
                    <a:pt x="1270" y="781"/>
                    <a:pt x="1270" y="781"/>
                  </a:cubicBezTo>
                  <a:cubicBezTo>
                    <a:pt x="1269" y="781"/>
                    <a:pt x="1269" y="780"/>
                    <a:pt x="1268" y="780"/>
                  </a:cubicBezTo>
                  <a:cubicBezTo>
                    <a:pt x="1268" y="780"/>
                    <a:pt x="1268" y="780"/>
                    <a:pt x="1268" y="780"/>
                  </a:cubicBezTo>
                  <a:cubicBezTo>
                    <a:pt x="1268" y="780"/>
                    <a:pt x="1268" y="780"/>
                    <a:pt x="1268" y="780"/>
                  </a:cubicBezTo>
                  <a:cubicBezTo>
                    <a:pt x="1268" y="780"/>
                    <a:pt x="1268" y="780"/>
                    <a:pt x="1268" y="780"/>
                  </a:cubicBezTo>
                  <a:cubicBezTo>
                    <a:pt x="1267" y="780"/>
                    <a:pt x="1267" y="780"/>
                    <a:pt x="1267" y="780"/>
                  </a:cubicBezTo>
                  <a:cubicBezTo>
                    <a:pt x="1267" y="780"/>
                    <a:pt x="1267" y="780"/>
                    <a:pt x="1267" y="780"/>
                  </a:cubicBezTo>
                  <a:cubicBezTo>
                    <a:pt x="1264" y="777"/>
                    <a:pt x="1261" y="775"/>
                    <a:pt x="1257" y="772"/>
                  </a:cubicBezTo>
                  <a:cubicBezTo>
                    <a:pt x="1252" y="770"/>
                    <a:pt x="1247" y="768"/>
                    <a:pt x="1240" y="768"/>
                  </a:cubicBezTo>
                  <a:cubicBezTo>
                    <a:pt x="1236" y="768"/>
                    <a:pt x="1232" y="769"/>
                    <a:pt x="1227" y="770"/>
                  </a:cubicBezTo>
                  <a:cubicBezTo>
                    <a:pt x="1227" y="770"/>
                    <a:pt x="1227" y="770"/>
                    <a:pt x="1227" y="770"/>
                  </a:cubicBezTo>
                  <a:cubicBezTo>
                    <a:pt x="1231" y="779"/>
                    <a:pt x="1231" y="779"/>
                    <a:pt x="1231" y="779"/>
                  </a:cubicBezTo>
                  <a:cubicBezTo>
                    <a:pt x="1231" y="770"/>
                    <a:pt x="1231" y="770"/>
                    <a:pt x="1231" y="770"/>
                  </a:cubicBezTo>
                  <a:cubicBezTo>
                    <a:pt x="1231" y="770"/>
                    <a:pt x="1229" y="770"/>
                    <a:pt x="1227" y="770"/>
                  </a:cubicBezTo>
                  <a:cubicBezTo>
                    <a:pt x="1231" y="779"/>
                    <a:pt x="1231" y="779"/>
                    <a:pt x="1231" y="779"/>
                  </a:cubicBezTo>
                  <a:cubicBezTo>
                    <a:pt x="1231" y="770"/>
                    <a:pt x="1231" y="770"/>
                    <a:pt x="1231" y="770"/>
                  </a:cubicBezTo>
                  <a:cubicBezTo>
                    <a:pt x="1231" y="777"/>
                    <a:pt x="1231" y="777"/>
                    <a:pt x="1231" y="777"/>
                  </a:cubicBezTo>
                  <a:cubicBezTo>
                    <a:pt x="1232" y="770"/>
                    <a:pt x="1232" y="770"/>
                    <a:pt x="1232" y="770"/>
                  </a:cubicBezTo>
                  <a:cubicBezTo>
                    <a:pt x="1231" y="770"/>
                    <a:pt x="1231" y="770"/>
                    <a:pt x="1231" y="770"/>
                  </a:cubicBezTo>
                  <a:cubicBezTo>
                    <a:pt x="1231" y="777"/>
                    <a:pt x="1231" y="777"/>
                    <a:pt x="1231" y="777"/>
                  </a:cubicBezTo>
                  <a:cubicBezTo>
                    <a:pt x="1232" y="770"/>
                    <a:pt x="1232" y="770"/>
                    <a:pt x="1232" y="770"/>
                  </a:cubicBezTo>
                  <a:cubicBezTo>
                    <a:pt x="1232" y="773"/>
                    <a:pt x="1232" y="773"/>
                    <a:pt x="1232" y="773"/>
                  </a:cubicBezTo>
                  <a:cubicBezTo>
                    <a:pt x="1232" y="770"/>
                    <a:pt x="1232" y="770"/>
                    <a:pt x="1232" y="770"/>
                  </a:cubicBezTo>
                  <a:cubicBezTo>
                    <a:pt x="1232" y="770"/>
                    <a:pt x="1232" y="770"/>
                    <a:pt x="1232" y="770"/>
                  </a:cubicBezTo>
                  <a:cubicBezTo>
                    <a:pt x="1232" y="773"/>
                    <a:pt x="1232" y="773"/>
                    <a:pt x="1232" y="773"/>
                  </a:cubicBezTo>
                  <a:cubicBezTo>
                    <a:pt x="1232" y="770"/>
                    <a:pt x="1232" y="770"/>
                    <a:pt x="1232" y="770"/>
                  </a:cubicBezTo>
                  <a:cubicBezTo>
                    <a:pt x="1232" y="770"/>
                    <a:pt x="1232" y="770"/>
                    <a:pt x="1231" y="769"/>
                  </a:cubicBezTo>
                  <a:cubicBezTo>
                    <a:pt x="1231" y="769"/>
                    <a:pt x="1231" y="769"/>
                    <a:pt x="1231" y="769"/>
                  </a:cubicBezTo>
                  <a:cubicBezTo>
                    <a:pt x="1231" y="769"/>
                    <a:pt x="1230" y="769"/>
                    <a:pt x="1229" y="769"/>
                  </a:cubicBezTo>
                  <a:cubicBezTo>
                    <a:pt x="1227" y="769"/>
                    <a:pt x="1224" y="770"/>
                    <a:pt x="1222" y="770"/>
                  </a:cubicBezTo>
                  <a:cubicBezTo>
                    <a:pt x="1219" y="772"/>
                    <a:pt x="1216" y="773"/>
                    <a:pt x="1214" y="775"/>
                  </a:cubicBezTo>
                  <a:cubicBezTo>
                    <a:pt x="1212" y="777"/>
                    <a:pt x="1211" y="779"/>
                    <a:pt x="1209" y="781"/>
                  </a:cubicBezTo>
                  <a:cubicBezTo>
                    <a:pt x="1209" y="781"/>
                    <a:pt x="1209" y="781"/>
                    <a:pt x="1209" y="781"/>
                  </a:cubicBezTo>
                  <a:cubicBezTo>
                    <a:pt x="1208" y="783"/>
                    <a:pt x="1207" y="786"/>
                    <a:pt x="1205" y="789"/>
                  </a:cubicBezTo>
                  <a:cubicBezTo>
                    <a:pt x="1204" y="792"/>
                    <a:pt x="1204" y="795"/>
                    <a:pt x="1204" y="799"/>
                  </a:cubicBezTo>
                  <a:cubicBezTo>
                    <a:pt x="1204" y="803"/>
                    <a:pt x="1204" y="807"/>
                    <a:pt x="1206" y="811"/>
                  </a:cubicBezTo>
                  <a:cubicBezTo>
                    <a:pt x="1206" y="811"/>
                    <a:pt x="1206" y="811"/>
                    <a:pt x="1206" y="811"/>
                  </a:cubicBezTo>
                  <a:cubicBezTo>
                    <a:pt x="1208" y="814"/>
                    <a:pt x="1208" y="818"/>
                    <a:pt x="1208" y="820"/>
                  </a:cubicBezTo>
                  <a:cubicBezTo>
                    <a:pt x="1208" y="822"/>
                    <a:pt x="1208" y="823"/>
                    <a:pt x="1208" y="824"/>
                  </a:cubicBezTo>
                  <a:cubicBezTo>
                    <a:pt x="1207" y="826"/>
                    <a:pt x="1206" y="827"/>
                    <a:pt x="1205" y="829"/>
                  </a:cubicBezTo>
                  <a:cubicBezTo>
                    <a:pt x="1205" y="829"/>
                    <a:pt x="1205" y="829"/>
                    <a:pt x="1205" y="829"/>
                  </a:cubicBezTo>
                  <a:cubicBezTo>
                    <a:pt x="1203" y="831"/>
                    <a:pt x="1201" y="833"/>
                    <a:pt x="1200" y="836"/>
                  </a:cubicBezTo>
                  <a:cubicBezTo>
                    <a:pt x="1199" y="838"/>
                    <a:pt x="1199" y="841"/>
                    <a:pt x="1199" y="843"/>
                  </a:cubicBezTo>
                  <a:cubicBezTo>
                    <a:pt x="1199" y="846"/>
                    <a:pt x="1199" y="849"/>
                    <a:pt x="1200" y="851"/>
                  </a:cubicBezTo>
                  <a:cubicBezTo>
                    <a:pt x="1201" y="853"/>
                    <a:pt x="1202" y="855"/>
                    <a:pt x="1203" y="857"/>
                  </a:cubicBezTo>
                  <a:cubicBezTo>
                    <a:pt x="1203" y="857"/>
                    <a:pt x="1203" y="857"/>
                    <a:pt x="1203" y="857"/>
                  </a:cubicBezTo>
                  <a:cubicBezTo>
                    <a:pt x="1206" y="862"/>
                    <a:pt x="1209" y="867"/>
                    <a:pt x="1212" y="871"/>
                  </a:cubicBezTo>
                  <a:cubicBezTo>
                    <a:pt x="1212" y="871"/>
                    <a:pt x="1212" y="871"/>
                    <a:pt x="1212" y="871"/>
                  </a:cubicBezTo>
                  <a:cubicBezTo>
                    <a:pt x="1212" y="871"/>
                    <a:pt x="1212" y="871"/>
                    <a:pt x="1212" y="871"/>
                  </a:cubicBezTo>
                  <a:cubicBezTo>
                    <a:pt x="1212" y="871"/>
                    <a:pt x="1212" y="871"/>
                    <a:pt x="1212" y="871"/>
                  </a:cubicBezTo>
                  <a:cubicBezTo>
                    <a:pt x="1215" y="869"/>
                    <a:pt x="1215" y="869"/>
                    <a:pt x="1215" y="869"/>
                  </a:cubicBezTo>
                  <a:cubicBezTo>
                    <a:pt x="1212" y="871"/>
                    <a:pt x="1212" y="871"/>
                    <a:pt x="1212" y="871"/>
                  </a:cubicBezTo>
                  <a:cubicBezTo>
                    <a:pt x="1212" y="871"/>
                    <a:pt x="1212" y="871"/>
                    <a:pt x="1212" y="871"/>
                  </a:cubicBezTo>
                  <a:cubicBezTo>
                    <a:pt x="1215" y="869"/>
                    <a:pt x="1215" y="869"/>
                    <a:pt x="1215" y="869"/>
                  </a:cubicBezTo>
                  <a:cubicBezTo>
                    <a:pt x="1212" y="871"/>
                    <a:pt x="1212" y="871"/>
                    <a:pt x="1212" y="871"/>
                  </a:cubicBezTo>
                  <a:cubicBezTo>
                    <a:pt x="1219" y="868"/>
                    <a:pt x="1219" y="868"/>
                    <a:pt x="1219" y="868"/>
                  </a:cubicBezTo>
                  <a:cubicBezTo>
                    <a:pt x="1211" y="868"/>
                    <a:pt x="1211" y="868"/>
                    <a:pt x="1211" y="868"/>
                  </a:cubicBezTo>
                  <a:cubicBezTo>
                    <a:pt x="1211" y="869"/>
                    <a:pt x="1212" y="870"/>
                    <a:pt x="1212" y="871"/>
                  </a:cubicBezTo>
                  <a:cubicBezTo>
                    <a:pt x="1219" y="868"/>
                    <a:pt x="1219" y="868"/>
                    <a:pt x="1219" y="868"/>
                  </a:cubicBezTo>
                  <a:cubicBezTo>
                    <a:pt x="1211" y="868"/>
                    <a:pt x="1211" y="868"/>
                    <a:pt x="1211" y="868"/>
                  </a:cubicBezTo>
                  <a:cubicBezTo>
                    <a:pt x="1220" y="868"/>
                    <a:pt x="1220" y="868"/>
                    <a:pt x="1220" y="868"/>
                  </a:cubicBezTo>
                  <a:cubicBezTo>
                    <a:pt x="1212" y="865"/>
                    <a:pt x="1212" y="865"/>
                    <a:pt x="1212" y="865"/>
                  </a:cubicBezTo>
                  <a:cubicBezTo>
                    <a:pt x="1212" y="866"/>
                    <a:pt x="1211" y="867"/>
                    <a:pt x="1211" y="868"/>
                  </a:cubicBezTo>
                  <a:cubicBezTo>
                    <a:pt x="1220" y="868"/>
                    <a:pt x="1220" y="868"/>
                    <a:pt x="1220" y="868"/>
                  </a:cubicBezTo>
                  <a:cubicBezTo>
                    <a:pt x="1212" y="865"/>
                    <a:pt x="1212" y="865"/>
                    <a:pt x="1212" y="865"/>
                  </a:cubicBezTo>
                  <a:cubicBezTo>
                    <a:pt x="1219" y="868"/>
                    <a:pt x="1219" y="868"/>
                    <a:pt x="1219" y="868"/>
                  </a:cubicBezTo>
                  <a:cubicBezTo>
                    <a:pt x="1214" y="863"/>
                    <a:pt x="1214" y="863"/>
                    <a:pt x="1214" y="863"/>
                  </a:cubicBezTo>
                  <a:cubicBezTo>
                    <a:pt x="1213" y="863"/>
                    <a:pt x="1212" y="864"/>
                    <a:pt x="1212" y="865"/>
                  </a:cubicBezTo>
                  <a:cubicBezTo>
                    <a:pt x="1219" y="868"/>
                    <a:pt x="1219" y="868"/>
                    <a:pt x="1219" y="868"/>
                  </a:cubicBezTo>
                  <a:cubicBezTo>
                    <a:pt x="1214" y="863"/>
                    <a:pt x="1214" y="863"/>
                    <a:pt x="1214" y="863"/>
                  </a:cubicBezTo>
                  <a:cubicBezTo>
                    <a:pt x="1217" y="866"/>
                    <a:pt x="1217" y="866"/>
                    <a:pt x="1217" y="866"/>
                  </a:cubicBezTo>
                  <a:cubicBezTo>
                    <a:pt x="1214" y="862"/>
                    <a:pt x="1214" y="862"/>
                    <a:pt x="1214" y="862"/>
                  </a:cubicBezTo>
                  <a:cubicBezTo>
                    <a:pt x="1214" y="863"/>
                    <a:pt x="1214" y="863"/>
                    <a:pt x="1214" y="863"/>
                  </a:cubicBezTo>
                  <a:cubicBezTo>
                    <a:pt x="1217" y="866"/>
                    <a:pt x="1217" y="866"/>
                    <a:pt x="1217" y="866"/>
                  </a:cubicBezTo>
                  <a:cubicBezTo>
                    <a:pt x="1214" y="862"/>
                    <a:pt x="1214" y="862"/>
                    <a:pt x="1214" y="862"/>
                  </a:cubicBezTo>
                  <a:cubicBezTo>
                    <a:pt x="1214" y="862"/>
                    <a:pt x="1214" y="862"/>
                    <a:pt x="1214" y="862"/>
                  </a:cubicBezTo>
                  <a:cubicBezTo>
                    <a:pt x="1204" y="868"/>
                    <a:pt x="1195" y="874"/>
                    <a:pt x="1186" y="880"/>
                  </a:cubicBezTo>
                  <a:cubicBezTo>
                    <a:pt x="1149" y="904"/>
                    <a:pt x="1112" y="927"/>
                    <a:pt x="1075" y="951"/>
                  </a:cubicBezTo>
                  <a:cubicBezTo>
                    <a:pt x="1047" y="968"/>
                    <a:pt x="1018" y="986"/>
                    <a:pt x="990" y="1004"/>
                  </a:cubicBezTo>
                  <a:cubicBezTo>
                    <a:pt x="956" y="1027"/>
                    <a:pt x="922" y="1050"/>
                    <a:pt x="888" y="1073"/>
                  </a:cubicBezTo>
                  <a:cubicBezTo>
                    <a:pt x="833" y="1109"/>
                    <a:pt x="778" y="1145"/>
                    <a:pt x="723" y="1181"/>
                  </a:cubicBezTo>
                  <a:cubicBezTo>
                    <a:pt x="723" y="1181"/>
                    <a:pt x="723" y="1181"/>
                    <a:pt x="723" y="1181"/>
                  </a:cubicBezTo>
                  <a:cubicBezTo>
                    <a:pt x="721" y="1182"/>
                    <a:pt x="719" y="1184"/>
                    <a:pt x="718" y="1186"/>
                  </a:cubicBezTo>
                  <a:cubicBezTo>
                    <a:pt x="715" y="1188"/>
                    <a:pt x="713" y="1192"/>
                    <a:pt x="711" y="1195"/>
                  </a:cubicBezTo>
                  <a:cubicBezTo>
                    <a:pt x="710" y="1199"/>
                    <a:pt x="710" y="1203"/>
                    <a:pt x="710" y="1206"/>
                  </a:cubicBezTo>
                  <a:cubicBezTo>
                    <a:pt x="710" y="1207"/>
                    <a:pt x="710" y="1207"/>
                    <a:pt x="710" y="1208"/>
                  </a:cubicBezTo>
                  <a:cubicBezTo>
                    <a:pt x="710" y="1208"/>
                    <a:pt x="710" y="1208"/>
                    <a:pt x="710" y="1208"/>
                  </a:cubicBezTo>
                  <a:cubicBezTo>
                    <a:pt x="711" y="1237"/>
                    <a:pt x="711" y="1267"/>
                    <a:pt x="712" y="1297"/>
                  </a:cubicBezTo>
                  <a:cubicBezTo>
                    <a:pt x="713" y="1346"/>
                    <a:pt x="715" y="1395"/>
                    <a:pt x="716" y="1443"/>
                  </a:cubicBezTo>
                  <a:cubicBezTo>
                    <a:pt x="716" y="1443"/>
                    <a:pt x="716" y="1443"/>
                    <a:pt x="716" y="1443"/>
                  </a:cubicBezTo>
                  <a:cubicBezTo>
                    <a:pt x="717" y="1491"/>
                    <a:pt x="718" y="1540"/>
                    <a:pt x="719" y="1588"/>
                  </a:cubicBezTo>
                  <a:cubicBezTo>
                    <a:pt x="719" y="1600"/>
                    <a:pt x="719" y="1611"/>
                    <a:pt x="720" y="1623"/>
                  </a:cubicBezTo>
                  <a:cubicBezTo>
                    <a:pt x="720" y="1625"/>
                    <a:pt x="720" y="1627"/>
                    <a:pt x="721" y="1630"/>
                  </a:cubicBezTo>
                  <a:cubicBezTo>
                    <a:pt x="721" y="1631"/>
                    <a:pt x="722" y="1633"/>
                    <a:pt x="723" y="1635"/>
                  </a:cubicBezTo>
                  <a:cubicBezTo>
                    <a:pt x="724" y="1638"/>
                    <a:pt x="727" y="1640"/>
                    <a:pt x="730" y="1642"/>
                  </a:cubicBezTo>
                  <a:cubicBezTo>
                    <a:pt x="733" y="1643"/>
                    <a:pt x="736" y="1644"/>
                    <a:pt x="739" y="1644"/>
                  </a:cubicBezTo>
                  <a:cubicBezTo>
                    <a:pt x="742" y="1644"/>
                    <a:pt x="744" y="1643"/>
                    <a:pt x="747" y="1643"/>
                  </a:cubicBezTo>
                  <a:cubicBezTo>
                    <a:pt x="747" y="1643"/>
                    <a:pt x="747" y="1643"/>
                    <a:pt x="747" y="1643"/>
                  </a:cubicBezTo>
                  <a:cubicBezTo>
                    <a:pt x="761" y="1639"/>
                    <a:pt x="775" y="1635"/>
                    <a:pt x="788" y="1632"/>
                  </a:cubicBezTo>
                  <a:cubicBezTo>
                    <a:pt x="788" y="1632"/>
                    <a:pt x="788" y="1632"/>
                    <a:pt x="788" y="1632"/>
                  </a:cubicBezTo>
                  <a:cubicBezTo>
                    <a:pt x="807" y="1627"/>
                    <a:pt x="827" y="1623"/>
                    <a:pt x="847" y="1617"/>
                  </a:cubicBezTo>
                  <a:cubicBezTo>
                    <a:pt x="847" y="1617"/>
                    <a:pt x="847" y="1617"/>
                    <a:pt x="847" y="1617"/>
                  </a:cubicBezTo>
                  <a:cubicBezTo>
                    <a:pt x="847" y="1617"/>
                    <a:pt x="847" y="1617"/>
                    <a:pt x="847" y="1617"/>
                  </a:cubicBezTo>
                  <a:cubicBezTo>
                    <a:pt x="847" y="1617"/>
                    <a:pt x="847" y="1617"/>
                    <a:pt x="848" y="1617"/>
                  </a:cubicBezTo>
                  <a:cubicBezTo>
                    <a:pt x="848" y="1617"/>
                    <a:pt x="848" y="1617"/>
                    <a:pt x="848" y="1617"/>
                  </a:cubicBezTo>
                  <a:cubicBezTo>
                    <a:pt x="847" y="1615"/>
                    <a:pt x="847" y="1615"/>
                    <a:pt x="847" y="1615"/>
                  </a:cubicBezTo>
                  <a:cubicBezTo>
                    <a:pt x="847" y="1617"/>
                    <a:pt x="847" y="1617"/>
                    <a:pt x="847" y="1617"/>
                  </a:cubicBezTo>
                  <a:cubicBezTo>
                    <a:pt x="848" y="1617"/>
                    <a:pt x="848" y="1617"/>
                    <a:pt x="848" y="1617"/>
                  </a:cubicBezTo>
                  <a:cubicBezTo>
                    <a:pt x="847" y="1615"/>
                    <a:pt x="847" y="1615"/>
                    <a:pt x="847" y="1615"/>
                  </a:cubicBezTo>
                  <a:cubicBezTo>
                    <a:pt x="847" y="1617"/>
                    <a:pt x="847" y="1617"/>
                    <a:pt x="847" y="1617"/>
                  </a:cubicBezTo>
                  <a:cubicBezTo>
                    <a:pt x="847" y="1611"/>
                    <a:pt x="847" y="1611"/>
                    <a:pt x="847" y="1611"/>
                  </a:cubicBezTo>
                  <a:cubicBezTo>
                    <a:pt x="845" y="1616"/>
                    <a:pt x="845" y="1616"/>
                    <a:pt x="845" y="1616"/>
                  </a:cubicBezTo>
                  <a:cubicBezTo>
                    <a:pt x="846" y="1617"/>
                    <a:pt x="847" y="1617"/>
                    <a:pt x="847" y="1617"/>
                  </a:cubicBezTo>
                  <a:cubicBezTo>
                    <a:pt x="847" y="1611"/>
                    <a:pt x="847" y="1611"/>
                    <a:pt x="847" y="1611"/>
                  </a:cubicBezTo>
                  <a:cubicBezTo>
                    <a:pt x="845" y="1616"/>
                    <a:pt x="845" y="1616"/>
                    <a:pt x="845" y="1616"/>
                  </a:cubicBezTo>
                  <a:cubicBezTo>
                    <a:pt x="848" y="1610"/>
                    <a:pt x="848" y="1610"/>
                    <a:pt x="848" y="1610"/>
                  </a:cubicBezTo>
                  <a:cubicBezTo>
                    <a:pt x="843" y="1615"/>
                    <a:pt x="843" y="1615"/>
                    <a:pt x="843" y="1615"/>
                  </a:cubicBezTo>
                  <a:cubicBezTo>
                    <a:pt x="844" y="1616"/>
                    <a:pt x="844" y="1616"/>
                    <a:pt x="845" y="1616"/>
                  </a:cubicBezTo>
                  <a:cubicBezTo>
                    <a:pt x="848" y="1610"/>
                    <a:pt x="848" y="1610"/>
                    <a:pt x="848" y="1610"/>
                  </a:cubicBezTo>
                  <a:cubicBezTo>
                    <a:pt x="843" y="1615"/>
                    <a:pt x="843" y="1615"/>
                    <a:pt x="843" y="1615"/>
                  </a:cubicBezTo>
                  <a:cubicBezTo>
                    <a:pt x="846" y="1612"/>
                    <a:pt x="846" y="1612"/>
                    <a:pt x="846" y="1612"/>
                  </a:cubicBezTo>
                  <a:cubicBezTo>
                    <a:pt x="843" y="1615"/>
                    <a:pt x="843" y="1615"/>
                    <a:pt x="843" y="1615"/>
                  </a:cubicBezTo>
                  <a:cubicBezTo>
                    <a:pt x="843" y="1615"/>
                    <a:pt x="843" y="1615"/>
                    <a:pt x="843" y="1615"/>
                  </a:cubicBezTo>
                  <a:cubicBezTo>
                    <a:pt x="846" y="1612"/>
                    <a:pt x="846" y="1612"/>
                    <a:pt x="846" y="1612"/>
                  </a:cubicBezTo>
                  <a:cubicBezTo>
                    <a:pt x="843" y="1615"/>
                    <a:pt x="843" y="1615"/>
                    <a:pt x="843" y="1615"/>
                  </a:cubicBezTo>
                  <a:cubicBezTo>
                    <a:pt x="844" y="1613"/>
                    <a:pt x="844" y="1613"/>
                    <a:pt x="844" y="1613"/>
                  </a:cubicBezTo>
                  <a:cubicBezTo>
                    <a:pt x="843" y="1614"/>
                    <a:pt x="843" y="1614"/>
                    <a:pt x="843" y="1614"/>
                  </a:cubicBezTo>
                  <a:cubicBezTo>
                    <a:pt x="843" y="1615"/>
                    <a:pt x="843" y="1615"/>
                    <a:pt x="843" y="1615"/>
                  </a:cubicBezTo>
                  <a:cubicBezTo>
                    <a:pt x="844" y="1613"/>
                    <a:pt x="844" y="1613"/>
                    <a:pt x="844" y="1613"/>
                  </a:cubicBezTo>
                  <a:cubicBezTo>
                    <a:pt x="843" y="1614"/>
                    <a:pt x="843" y="1614"/>
                    <a:pt x="843" y="1614"/>
                  </a:cubicBezTo>
                  <a:cubicBezTo>
                    <a:pt x="843" y="1615"/>
                    <a:pt x="843" y="1615"/>
                    <a:pt x="843" y="1615"/>
                  </a:cubicBezTo>
                  <a:cubicBezTo>
                    <a:pt x="843" y="1615"/>
                    <a:pt x="843" y="1616"/>
                    <a:pt x="844" y="1617"/>
                  </a:cubicBezTo>
                  <a:cubicBezTo>
                    <a:pt x="844" y="1617"/>
                    <a:pt x="844" y="1617"/>
                    <a:pt x="844" y="1617"/>
                  </a:cubicBezTo>
                  <a:cubicBezTo>
                    <a:pt x="844" y="1617"/>
                    <a:pt x="844" y="1617"/>
                    <a:pt x="844" y="1617"/>
                  </a:cubicBezTo>
                  <a:cubicBezTo>
                    <a:pt x="850" y="1629"/>
                    <a:pt x="856" y="1640"/>
                    <a:pt x="862" y="1651"/>
                  </a:cubicBezTo>
                  <a:cubicBezTo>
                    <a:pt x="872" y="1669"/>
                    <a:pt x="883" y="1686"/>
                    <a:pt x="893" y="1704"/>
                  </a:cubicBezTo>
                  <a:cubicBezTo>
                    <a:pt x="912" y="1740"/>
                    <a:pt x="932" y="1776"/>
                    <a:pt x="951" y="1811"/>
                  </a:cubicBezTo>
                  <a:cubicBezTo>
                    <a:pt x="951" y="1811"/>
                    <a:pt x="951" y="1811"/>
                    <a:pt x="951" y="1811"/>
                  </a:cubicBezTo>
                  <a:cubicBezTo>
                    <a:pt x="953" y="1816"/>
                    <a:pt x="957" y="1820"/>
                    <a:pt x="961" y="1824"/>
                  </a:cubicBezTo>
                  <a:cubicBezTo>
                    <a:pt x="966" y="1827"/>
                    <a:pt x="971" y="1829"/>
                    <a:pt x="977" y="1830"/>
                  </a:cubicBezTo>
                  <a:cubicBezTo>
                    <a:pt x="977" y="1830"/>
                    <a:pt x="977" y="1830"/>
                    <a:pt x="977" y="1830"/>
                  </a:cubicBezTo>
                  <a:cubicBezTo>
                    <a:pt x="987" y="1832"/>
                    <a:pt x="997" y="1835"/>
                    <a:pt x="1006" y="1840"/>
                  </a:cubicBezTo>
                  <a:cubicBezTo>
                    <a:pt x="1006" y="1840"/>
                    <a:pt x="1006" y="1840"/>
                    <a:pt x="1006" y="1840"/>
                  </a:cubicBezTo>
                  <a:cubicBezTo>
                    <a:pt x="1007" y="1840"/>
                    <a:pt x="1007" y="1840"/>
                    <a:pt x="1007" y="1840"/>
                  </a:cubicBezTo>
                  <a:cubicBezTo>
                    <a:pt x="1007" y="1839"/>
                    <a:pt x="1007" y="1839"/>
                    <a:pt x="1007" y="1839"/>
                  </a:cubicBezTo>
                  <a:cubicBezTo>
                    <a:pt x="1006" y="1840"/>
                    <a:pt x="1006" y="1840"/>
                    <a:pt x="1006" y="1840"/>
                  </a:cubicBezTo>
                  <a:cubicBezTo>
                    <a:pt x="1007" y="1840"/>
                    <a:pt x="1007" y="1840"/>
                    <a:pt x="1007" y="1840"/>
                  </a:cubicBezTo>
                  <a:cubicBezTo>
                    <a:pt x="1007" y="1839"/>
                    <a:pt x="1007" y="1839"/>
                    <a:pt x="1007" y="1839"/>
                  </a:cubicBezTo>
                  <a:cubicBezTo>
                    <a:pt x="1006" y="1840"/>
                    <a:pt x="1006" y="1840"/>
                    <a:pt x="1006" y="1840"/>
                  </a:cubicBezTo>
                  <a:cubicBezTo>
                    <a:pt x="1011" y="1834"/>
                    <a:pt x="1011" y="1834"/>
                    <a:pt x="1011" y="1834"/>
                  </a:cubicBezTo>
                  <a:cubicBezTo>
                    <a:pt x="1004" y="1838"/>
                    <a:pt x="1004" y="1838"/>
                    <a:pt x="1004" y="1838"/>
                  </a:cubicBezTo>
                  <a:cubicBezTo>
                    <a:pt x="1005" y="1839"/>
                    <a:pt x="1006" y="1840"/>
                    <a:pt x="1006" y="1840"/>
                  </a:cubicBezTo>
                  <a:cubicBezTo>
                    <a:pt x="1011" y="1834"/>
                    <a:pt x="1011" y="1834"/>
                    <a:pt x="1011" y="1834"/>
                  </a:cubicBezTo>
                  <a:cubicBezTo>
                    <a:pt x="1004" y="1838"/>
                    <a:pt x="1004" y="1838"/>
                    <a:pt x="1004" y="1838"/>
                  </a:cubicBezTo>
                  <a:cubicBezTo>
                    <a:pt x="1012" y="1834"/>
                    <a:pt x="1012" y="1834"/>
                    <a:pt x="1012" y="1834"/>
                  </a:cubicBezTo>
                  <a:cubicBezTo>
                    <a:pt x="1003" y="1836"/>
                    <a:pt x="1003" y="1836"/>
                    <a:pt x="1003" y="1836"/>
                  </a:cubicBezTo>
                  <a:cubicBezTo>
                    <a:pt x="1004" y="1837"/>
                    <a:pt x="1004" y="1837"/>
                    <a:pt x="1004" y="1838"/>
                  </a:cubicBezTo>
                  <a:cubicBezTo>
                    <a:pt x="1012" y="1834"/>
                    <a:pt x="1012" y="1834"/>
                    <a:pt x="1012" y="1834"/>
                  </a:cubicBezTo>
                  <a:cubicBezTo>
                    <a:pt x="1003" y="1836"/>
                    <a:pt x="1003" y="1836"/>
                    <a:pt x="1003" y="1836"/>
                  </a:cubicBezTo>
                  <a:cubicBezTo>
                    <a:pt x="1011" y="1834"/>
                    <a:pt x="1011" y="1834"/>
                    <a:pt x="1011" y="1834"/>
                  </a:cubicBezTo>
                  <a:cubicBezTo>
                    <a:pt x="1003" y="1834"/>
                    <a:pt x="1003" y="1834"/>
                    <a:pt x="1003" y="1834"/>
                  </a:cubicBezTo>
                  <a:cubicBezTo>
                    <a:pt x="1003" y="1834"/>
                    <a:pt x="1003" y="1835"/>
                    <a:pt x="1003" y="1836"/>
                  </a:cubicBezTo>
                  <a:cubicBezTo>
                    <a:pt x="1011" y="1834"/>
                    <a:pt x="1011" y="1834"/>
                    <a:pt x="1011" y="1834"/>
                  </a:cubicBezTo>
                  <a:cubicBezTo>
                    <a:pt x="1003" y="1834"/>
                    <a:pt x="1003" y="1834"/>
                    <a:pt x="1003" y="1834"/>
                  </a:cubicBezTo>
                  <a:cubicBezTo>
                    <a:pt x="1008" y="1834"/>
                    <a:pt x="1008" y="1834"/>
                    <a:pt x="1008" y="1834"/>
                  </a:cubicBezTo>
                  <a:cubicBezTo>
                    <a:pt x="1003" y="1833"/>
                    <a:pt x="1003" y="1833"/>
                    <a:pt x="1003" y="1833"/>
                  </a:cubicBezTo>
                  <a:cubicBezTo>
                    <a:pt x="1003" y="1833"/>
                    <a:pt x="1003" y="1833"/>
                    <a:pt x="1003" y="1834"/>
                  </a:cubicBezTo>
                  <a:cubicBezTo>
                    <a:pt x="1008" y="1834"/>
                    <a:pt x="1008" y="1834"/>
                    <a:pt x="1008" y="1834"/>
                  </a:cubicBezTo>
                  <a:cubicBezTo>
                    <a:pt x="1003" y="1833"/>
                    <a:pt x="1003" y="1833"/>
                    <a:pt x="1003" y="1833"/>
                  </a:cubicBezTo>
                  <a:cubicBezTo>
                    <a:pt x="1005" y="1833"/>
                    <a:pt x="1005" y="1833"/>
                    <a:pt x="1005" y="1833"/>
                  </a:cubicBezTo>
                  <a:cubicBezTo>
                    <a:pt x="1003" y="1833"/>
                    <a:pt x="1003" y="1833"/>
                    <a:pt x="1003" y="1833"/>
                  </a:cubicBezTo>
                  <a:cubicBezTo>
                    <a:pt x="1003" y="1833"/>
                    <a:pt x="1003" y="1833"/>
                    <a:pt x="1003" y="1833"/>
                  </a:cubicBezTo>
                  <a:cubicBezTo>
                    <a:pt x="1005" y="1833"/>
                    <a:pt x="1005" y="1833"/>
                    <a:pt x="1005" y="1833"/>
                  </a:cubicBezTo>
                  <a:cubicBezTo>
                    <a:pt x="1003" y="1833"/>
                    <a:pt x="1003" y="1833"/>
                    <a:pt x="1003" y="1833"/>
                  </a:cubicBezTo>
                  <a:cubicBezTo>
                    <a:pt x="1003" y="1833"/>
                    <a:pt x="1003" y="1833"/>
                    <a:pt x="1003" y="1833"/>
                  </a:cubicBezTo>
                  <a:cubicBezTo>
                    <a:pt x="1000" y="1844"/>
                    <a:pt x="998" y="1855"/>
                    <a:pt x="996" y="1865"/>
                  </a:cubicBezTo>
                  <a:cubicBezTo>
                    <a:pt x="996" y="1865"/>
                    <a:pt x="996" y="1865"/>
                    <a:pt x="996" y="1865"/>
                  </a:cubicBezTo>
                  <a:cubicBezTo>
                    <a:pt x="991" y="1890"/>
                    <a:pt x="986" y="1914"/>
                    <a:pt x="981" y="1939"/>
                  </a:cubicBezTo>
                  <a:cubicBezTo>
                    <a:pt x="981" y="1939"/>
                    <a:pt x="981" y="1939"/>
                    <a:pt x="981" y="1939"/>
                  </a:cubicBezTo>
                  <a:cubicBezTo>
                    <a:pt x="980" y="1940"/>
                    <a:pt x="980" y="1941"/>
                    <a:pt x="980" y="1941"/>
                  </a:cubicBezTo>
                  <a:cubicBezTo>
                    <a:pt x="980" y="1941"/>
                    <a:pt x="980" y="1941"/>
                    <a:pt x="980" y="1941"/>
                  </a:cubicBezTo>
                  <a:cubicBezTo>
                    <a:pt x="981" y="1941"/>
                    <a:pt x="981" y="1941"/>
                    <a:pt x="981" y="1941"/>
                  </a:cubicBezTo>
                  <a:cubicBezTo>
                    <a:pt x="980" y="1941"/>
                    <a:pt x="980" y="1941"/>
                    <a:pt x="980" y="1941"/>
                  </a:cubicBezTo>
                  <a:cubicBezTo>
                    <a:pt x="980" y="1941"/>
                    <a:pt x="980" y="1941"/>
                    <a:pt x="980" y="1941"/>
                  </a:cubicBezTo>
                  <a:cubicBezTo>
                    <a:pt x="981" y="1941"/>
                    <a:pt x="981" y="1941"/>
                    <a:pt x="981" y="1941"/>
                  </a:cubicBezTo>
                  <a:cubicBezTo>
                    <a:pt x="980" y="1941"/>
                    <a:pt x="980" y="1941"/>
                    <a:pt x="980" y="1941"/>
                  </a:cubicBezTo>
                  <a:cubicBezTo>
                    <a:pt x="986" y="1943"/>
                    <a:pt x="986" y="1943"/>
                    <a:pt x="986" y="1943"/>
                  </a:cubicBezTo>
                  <a:cubicBezTo>
                    <a:pt x="981" y="1940"/>
                    <a:pt x="981" y="1940"/>
                    <a:pt x="981" y="1940"/>
                  </a:cubicBezTo>
                  <a:cubicBezTo>
                    <a:pt x="980" y="1941"/>
                    <a:pt x="980" y="1941"/>
                    <a:pt x="980" y="1941"/>
                  </a:cubicBezTo>
                  <a:cubicBezTo>
                    <a:pt x="986" y="1943"/>
                    <a:pt x="986" y="1943"/>
                    <a:pt x="986" y="1943"/>
                  </a:cubicBezTo>
                  <a:cubicBezTo>
                    <a:pt x="981" y="1940"/>
                    <a:pt x="981" y="1940"/>
                    <a:pt x="981" y="1940"/>
                  </a:cubicBezTo>
                  <a:cubicBezTo>
                    <a:pt x="988" y="1945"/>
                    <a:pt x="988" y="1945"/>
                    <a:pt x="988" y="1945"/>
                  </a:cubicBezTo>
                  <a:cubicBezTo>
                    <a:pt x="982" y="1938"/>
                    <a:pt x="982" y="1938"/>
                    <a:pt x="982" y="1938"/>
                  </a:cubicBezTo>
                  <a:cubicBezTo>
                    <a:pt x="982" y="1939"/>
                    <a:pt x="981" y="1939"/>
                    <a:pt x="981" y="1940"/>
                  </a:cubicBezTo>
                  <a:cubicBezTo>
                    <a:pt x="988" y="1945"/>
                    <a:pt x="988" y="1945"/>
                    <a:pt x="988" y="1945"/>
                  </a:cubicBezTo>
                  <a:cubicBezTo>
                    <a:pt x="982" y="1938"/>
                    <a:pt x="982" y="1938"/>
                    <a:pt x="982" y="1938"/>
                  </a:cubicBezTo>
                  <a:cubicBezTo>
                    <a:pt x="989" y="1945"/>
                    <a:pt x="989" y="1945"/>
                    <a:pt x="989" y="1945"/>
                  </a:cubicBezTo>
                  <a:cubicBezTo>
                    <a:pt x="986" y="1936"/>
                    <a:pt x="986" y="1936"/>
                    <a:pt x="986" y="1936"/>
                  </a:cubicBezTo>
                  <a:cubicBezTo>
                    <a:pt x="985" y="1936"/>
                    <a:pt x="983" y="1937"/>
                    <a:pt x="982" y="1938"/>
                  </a:cubicBezTo>
                  <a:cubicBezTo>
                    <a:pt x="989" y="1945"/>
                    <a:pt x="989" y="1945"/>
                    <a:pt x="989" y="1945"/>
                  </a:cubicBezTo>
                  <a:cubicBezTo>
                    <a:pt x="986" y="1936"/>
                    <a:pt x="986" y="1936"/>
                    <a:pt x="986" y="1936"/>
                  </a:cubicBezTo>
                  <a:cubicBezTo>
                    <a:pt x="988" y="1943"/>
                    <a:pt x="988" y="1943"/>
                    <a:pt x="988" y="1943"/>
                  </a:cubicBezTo>
                  <a:cubicBezTo>
                    <a:pt x="988" y="1936"/>
                    <a:pt x="988" y="1936"/>
                    <a:pt x="988" y="1936"/>
                  </a:cubicBezTo>
                  <a:cubicBezTo>
                    <a:pt x="988" y="1936"/>
                    <a:pt x="987" y="1936"/>
                    <a:pt x="986" y="1936"/>
                  </a:cubicBezTo>
                  <a:cubicBezTo>
                    <a:pt x="988" y="1943"/>
                    <a:pt x="988" y="1943"/>
                    <a:pt x="988" y="1943"/>
                  </a:cubicBezTo>
                  <a:cubicBezTo>
                    <a:pt x="988" y="1936"/>
                    <a:pt x="988" y="1936"/>
                    <a:pt x="988" y="1936"/>
                  </a:cubicBezTo>
                  <a:cubicBezTo>
                    <a:pt x="988" y="1938"/>
                    <a:pt x="988" y="1938"/>
                    <a:pt x="988" y="1938"/>
                  </a:cubicBezTo>
                  <a:cubicBezTo>
                    <a:pt x="988" y="1936"/>
                    <a:pt x="988" y="1936"/>
                    <a:pt x="988" y="1936"/>
                  </a:cubicBezTo>
                  <a:cubicBezTo>
                    <a:pt x="988" y="1936"/>
                    <a:pt x="988" y="1936"/>
                    <a:pt x="988" y="1936"/>
                  </a:cubicBezTo>
                  <a:cubicBezTo>
                    <a:pt x="988" y="1938"/>
                    <a:pt x="988" y="1938"/>
                    <a:pt x="988" y="1938"/>
                  </a:cubicBezTo>
                  <a:cubicBezTo>
                    <a:pt x="988" y="1936"/>
                    <a:pt x="988" y="1936"/>
                    <a:pt x="988" y="1936"/>
                  </a:cubicBezTo>
                  <a:cubicBezTo>
                    <a:pt x="988" y="1936"/>
                    <a:pt x="988" y="1936"/>
                    <a:pt x="988" y="1936"/>
                  </a:cubicBezTo>
                  <a:cubicBezTo>
                    <a:pt x="988" y="1936"/>
                    <a:pt x="987" y="1935"/>
                    <a:pt x="986" y="1935"/>
                  </a:cubicBezTo>
                  <a:cubicBezTo>
                    <a:pt x="986" y="1935"/>
                    <a:pt x="986" y="1935"/>
                    <a:pt x="986" y="1935"/>
                  </a:cubicBezTo>
                  <a:cubicBezTo>
                    <a:pt x="980" y="1934"/>
                    <a:pt x="975" y="1933"/>
                    <a:pt x="969" y="1932"/>
                  </a:cubicBezTo>
                  <a:cubicBezTo>
                    <a:pt x="969" y="1932"/>
                    <a:pt x="969" y="1932"/>
                    <a:pt x="969" y="1932"/>
                  </a:cubicBezTo>
                  <a:cubicBezTo>
                    <a:pt x="947" y="1927"/>
                    <a:pt x="925" y="1922"/>
                    <a:pt x="902" y="1919"/>
                  </a:cubicBezTo>
                  <a:cubicBezTo>
                    <a:pt x="902" y="1919"/>
                    <a:pt x="902" y="1919"/>
                    <a:pt x="902" y="1919"/>
                  </a:cubicBezTo>
                  <a:cubicBezTo>
                    <a:pt x="884" y="1917"/>
                    <a:pt x="865" y="1912"/>
                    <a:pt x="845" y="1908"/>
                  </a:cubicBezTo>
                  <a:cubicBezTo>
                    <a:pt x="845" y="1908"/>
                    <a:pt x="845" y="1908"/>
                    <a:pt x="845" y="1908"/>
                  </a:cubicBezTo>
                  <a:cubicBezTo>
                    <a:pt x="843" y="1907"/>
                    <a:pt x="840" y="1907"/>
                    <a:pt x="838" y="1907"/>
                  </a:cubicBezTo>
                  <a:cubicBezTo>
                    <a:pt x="835" y="1907"/>
                    <a:pt x="833" y="1907"/>
                    <a:pt x="830" y="1909"/>
                  </a:cubicBezTo>
                  <a:cubicBezTo>
                    <a:pt x="828" y="1909"/>
                    <a:pt x="826" y="1911"/>
                    <a:pt x="824" y="1912"/>
                  </a:cubicBezTo>
                  <a:cubicBezTo>
                    <a:pt x="822" y="1915"/>
                    <a:pt x="821" y="1917"/>
                    <a:pt x="820" y="1919"/>
                  </a:cubicBezTo>
                  <a:cubicBezTo>
                    <a:pt x="819" y="1922"/>
                    <a:pt x="819" y="1924"/>
                    <a:pt x="818" y="1926"/>
                  </a:cubicBezTo>
                  <a:cubicBezTo>
                    <a:pt x="818" y="1926"/>
                    <a:pt x="818" y="1926"/>
                    <a:pt x="818" y="1926"/>
                  </a:cubicBezTo>
                  <a:cubicBezTo>
                    <a:pt x="818" y="1926"/>
                    <a:pt x="818" y="1926"/>
                    <a:pt x="818" y="1926"/>
                  </a:cubicBezTo>
                  <a:cubicBezTo>
                    <a:pt x="815" y="1944"/>
                    <a:pt x="811" y="1961"/>
                    <a:pt x="808" y="1979"/>
                  </a:cubicBezTo>
                  <a:cubicBezTo>
                    <a:pt x="807" y="1980"/>
                    <a:pt x="807" y="1981"/>
                    <a:pt x="807" y="1981"/>
                  </a:cubicBezTo>
                  <a:cubicBezTo>
                    <a:pt x="807" y="1981"/>
                    <a:pt x="807" y="1981"/>
                    <a:pt x="807" y="1981"/>
                  </a:cubicBezTo>
                  <a:cubicBezTo>
                    <a:pt x="812" y="1983"/>
                    <a:pt x="812" y="1983"/>
                    <a:pt x="812" y="1983"/>
                  </a:cubicBezTo>
                  <a:cubicBezTo>
                    <a:pt x="807" y="1980"/>
                    <a:pt x="807" y="1980"/>
                    <a:pt x="807" y="1980"/>
                  </a:cubicBezTo>
                  <a:cubicBezTo>
                    <a:pt x="807" y="1981"/>
                    <a:pt x="807" y="1981"/>
                    <a:pt x="807" y="1981"/>
                  </a:cubicBezTo>
                  <a:cubicBezTo>
                    <a:pt x="812" y="1983"/>
                    <a:pt x="812" y="1983"/>
                    <a:pt x="812" y="1983"/>
                  </a:cubicBezTo>
                  <a:cubicBezTo>
                    <a:pt x="807" y="1980"/>
                    <a:pt x="807" y="1980"/>
                    <a:pt x="807" y="1980"/>
                  </a:cubicBezTo>
                  <a:cubicBezTo>
                    <a:pt x="816" y="1985"/>
                    <a:pt x="816" y="1985"/>
                    <a:pt x="816" y="1985"/>
                  </a:cubicBezTo>
                  <a:cubicBezTo>
                    <a:pt x="809" y="1979"/>
                    <a:pt x="809" y="1979"/>
                    <a:pt x="809" y="1979"/>
                  </a:cubicBezTo>
                  <a:cubicBezTo>
                    <a:pt x="808" y="1979"/>
                    <a:pt x="808" y="1980"/>
                    <a:pt x="807" y="1980"/>
                  </a:cubicBezTo>
                  <a:cubicBezTo>
                    <a:pt x="816" y="1985"/>
                    <a:pt x="816" y="1985"/>
                    <a:pt x="816" y="1985"/>
                  </a:cubicBezTo>
                  <a:cubicBezTo>
                    <a:pt x="809" y="1979"/>
                    <a:pt x="809" y="1979"/>
                    <a:pt x="809" y="1979"/>
                  </a:cubicBezTo>
                  <a:cubicBezTo>
                    <a:pt x="816" y="1985"/>
                    <a:pt x="816" y="1985"/>
                    <a:pt x="816" y="1985"/>
                  </a:cubicBezTo>
                  <a:cubicBezTo>
                    <a:pt x="813" y="1976"/>
                    <a:pt x="813" y="1976"/>
                    <a:pt x="813" y="1976"/>
                  </a:cubicBezTo>
                  <a:cubicBezTo>
                    <a:pt x="811" y="1976"/>
                    <a:pt x="810" y="1978"/>
                    <a:pt x="809" y="1979"/>
                  </a:cubicBezTo>
                  <a:cubicBezTo>
                    <a:pt x="816" y="1985"/>
                    <a:pt x="816" y="1985"/>
                    <a:pt x="816" y="1985"/>
                  </a:cubicBezTo>
                  <a:cubicBezTo>
                    <a:pt x="813" y="1976"/>
                    <a:pt x="813" y="1976"/>
                    <a:pt x="813" y="1976"/>
                  </a:cubicBezTo>
                  <a:cubicBezTo>
                    <a:pt x="816" y="1984"/>
                    <a:pt x="816" y="1984"/>
                    <a:pt x="816" y="1984"/>
                  </a:cubicBezTo>
                  <a:cubicBezTo>
                    <a:pt x="816" y="1975"/>
                    <a:pt x="816" y="1975"/>
                    <a:pt x="816" y="1975"/>
                  </a:cubicBezTo>
                  <a:cubicBezTo>
                    <a:pt x="815" y="1975"/>
                    <a:pt x="814" y="1975"/>
                    <a:pt x="813" y="1976"/>
                  </a:cubicBezTo>
                  <a:cubicBezTo>
                    <a:pt x="816" y="1984"/>
                    <a:pt x="816" y="1984"/>
                    <a:pt x="816" y="1984"/>
                  </a:cubicBezTo>
                  <a:cubicBezTo>
                    <a:pt x="816" y="1975"/>
                    <a:pt x="816" y="1975"/>
                    <a:pt x="816" y="1975"/>
                  </a:cubicBezTo>
                  <a:cubicBezTo>
                    <a:pt x="816" y="1980"/>
                    <a:pt x="816" y="1980"/>
                    <a:pt x="816" y="1980"/>
                  </a:cubicBezTo>
                  <a:cubicBezTo>
                    <a:pt x="817" y="1975"/>
                    <a:pt x="817" y="1975"/>
                    <a:pt x="817" y="1975"/>
                  </a:cubicBezTo>
                  <a:cubicBezTo>
                    <a:pt x="817" y="1975"/>
                    <a:pt x="816" y="1975"/>
                    <a:pt x="816" y="1975"/>
                  </a:cubicBezTo>
                  <a:cubicBezTo>
                    <a:pt x="816" y="1980"/>
                    <a:pt x="816" y="1980"/>
                    <a:pt x="816" y="1980"/>
                  </a:cubicBezTo>
                  <a:cubicBezTo>
                    <a:pt x="817" y="1975"/>
                    <a:pt x="817" y="1975"/>
                    <a:pt x="817" y="1975"/>
                  </a:cubicBezTo>
                  <a:cubicBezTo>
                    <a:pt x="817" y="1975"/>
                    <a:pt x="817" y="1975"/>
                    <a:pt x="817" y="1975"/>
                  </a:cubicBezTo>
                  <a:cubicBezTo>
                    <a:pt x="816" y="1975"/>
                    <a:pt x="815" y="1975"/>
                    <a:pt x="814" y="1975"/>
                  </a:cubicBezTo>
                  <a:cubicBezTo>
                    <a:pt x="785" y="1968"/>
                    <a:pt x="757" y="1962"/>
                    <a:pt x="728" y="1956"/>
                  </a:cubicBezTo>
                  <a:cubicBezTo>
                    <a:pt x="728" y="1956"/>
                    <a:pt x="728" y="1956"/>
                    <a:pt x="728" y="1956"/>
                  </a:cubicBezTo>
                  <a:cubicBezTo>
                    <a:pt x="726" y="1955"/>
                    <a:pt x="723" y="1955"/>
                    <a:pt x="720" y="1955"/>
                  </a:cubicBezTo>
                  <a:cubicBezTo>
                    <a:pt x="718" y="1955"/>
                    <a:pt x="716" y="1955"/>
                    <a:pt x="713" y="1956"/>
                  </a:cubicBezTo>
                  <a:cubicBezTo>
                    <a:pt x="712" y="1957"/>
                    <a:pt x="710" y="1958"/>
                    <a:pt x="708" y="1959"/>
                  </a:cubicBezTo>
                  <a:cubicBezTo>
                    <a:pt x="706" y="1961"/>
                    <a:pt x="704" y="1963"/>
                    <a:pt x="704" y="1965"/>
                  </a:cubicBezTo>
                  <a:cubicBezTo>
                    <a:pt x="703" y="1968"/>
                    <a:pt x="702" y="1970"/>
                    <a:pt x="702" y="1972"/>
                  </a:cubicBezTo>
                  <a:cubicBezTo>
                    <a:pt x="702" y="1972"/>
                    <a:pt x="702" y="1972"/>
                    <a:pt x="702" y="1972"/>
                  </a:cubicBezTo>
                  <a:cubicBezTo>
                    <a:pt x="698" y="1989"/>
                    <a:pt x="694" y="2006"/>
                    <a:pt x="690" y="2023"/>
                  </a:cubicBezTo>
                  <a:cubicBezTo>
                    <a:pt x="690" y="2025"/>
                    <a:pt x="690" y="2026"/>
                    <a:pt x="690" y="2027"/>
                  </a:cubicBezTo>
                  <a:cubicBezTo>
                    <a:pt x="690" y="2027"/>
                    <a:pt x="690" y="2027"/>
                    <a:pt x="690" y="2027"/>
                  </a:cubicBezTo>
                  <a:cubicBezTo>
                    <a:pt x="690" y="2027"/>
                    <a:pt x="690" y="2027"/>
                    <a:pt x="690" y="2027"/>
                  </a:cubicBezTo>
                  <a:cubicBezTo>
                    <a:pt x="692" y="2028"/>
                    <a:pt x="692" y="2028"/>
                    <a:pt x="692" y="2028"/>
                  </a:cubicBezTo>
                  <a:cubicBezTo>
                    <a:pt x="690" y="2027"/>
                    <a:pt x="690" y="2027"/>
                    <a:pt x="690" y="2027"/>
                  </a:cubicBezTo>
                  <a:cubicBezTo>
                    <a:pt x="690" y="2027"/>
                    <a:pt x="690" y="2027"/>
                    <a:pt x="690" y="2027"/>
                  </a:cubicBezTo>
                  <a:cubicBezTo>
                    <a:pt x="692" y="2028"/>
                    <a:pt x="692" y="2028"/>
                    <a:pt x="692" y="2028"/>
                  </a:cubicBezTo>
                  <a:cubicBezTo>
                    <a:pt x="690" y="2027"/>
                    <a:pt x="690" y="2027"/>
                    <a:pt x="690" y="2027"/>
                  </a:cubicBezTo>
                  <a:cubicBezTo>
                    <a:pt x="697" y="2030"/>
                    <a:pt x="697" y="2030"/>
                    <a:pt x="697" y="2030"/>
                  </a:cubicBezTo>
                  <a:cubicBezTo>
                    <a:pt x="690" y="2026"/>
                    <a:pt x="690" y="2026"/>
                    <a:pt x="690" y="2026"/>
                  </a:cubicBezTo>
                  <a:cubicBezTo>
                    <a:pt x="690" y="2026"/>
                    <a:pt x="690" y="2027"/>
                    <a:pt x="690" y="2027"/>
                  </a:cubicBezTo>
                  <a:cubicBezTo>
                    <a:pt x="697" y="2030"/>
                    <a:pt x="697" y="2030"/>
                    <a:pt x="697" y="2030"/>
                  </a:cubicBezTo>
                  <a:cubicBezTo>
                    <a:pt x="690" y="2026"/>
                    <a:pt x="690" y="2026"/>
                    <a:pt x="690" y="2026"/>
                  </a:cubicBezTo>
                  <a:cubicBezTo>
                    <a:pt x="699" y="2031"/>
                    <a:pt x="699" y="2031"/>
                    <a:pt x="699" y="2031"/>
                  </a:cubicBezTo>
                  <a:cubicBezTo>
                    <a:pt x="692" y="2024"/>
                    <a:pt x="692" y="2024"/>
                    <a:pt x="692" y="2024"/>
                  </a:cubicBezTo>
                  <a:cubicBezTo>
                    <a:pt x="691" y="2024"/>
                    <a:pt x="691" y="2025"/>
                    <a:pt x="690" y="2026"/>
                  </a:cubicBezTo>
                  <a:cubicBezTo>
                    <a:pt x="699" y="2031"/>
                    <a:pt x="699" y="2031"/>
                    <a:pt x="699" y="2031"/>
                  </a:cubicBezTo>
                  <a:cubicBezTo>
                    <a:pt x="692" y="2024"/>
                    <a:pt x="692" y="2024"/>
                    <a:pt x="692" y="2024"/>
                  </a:cubicBezTo>
                  <a:cubicBezTo>
                    <a:pt x="699" y="2031"/>
                    <a:pt x="699" y="2031"/>
                    <a:pt x="699" y="2031"/>
                  </a:cubicBezTo>
                  <a:cubicBezTo>
                    <a:pt x="696" y="2021"/>
                    <a:pt x="696" y="2021"/>
                    <a:pt x="696" y="2021"/>
                  </a:cubicBezTo>
                  <a:cubicBezTo>
                    <a:pt x="695" y="2022"/>
                    <a:pt x="693" y="2023"/>
                    <a:pt x="692" y="2024"/>
                  </a:cubicBezTo>
                  <a:cubicBezTo>
                    <a:pt x="699" y="2031"/>
                    <a:pt x="699" y="2031"/>
                    <a:pt x="699" y="2031"/>
                  </a:cubicBezTo>
                  <a:cubicBezTo>
                    <a:pt x="696" y="2021"/>
                    <a:pt x="696" y="2021"/>
                    <a:pt x="696" y="2021"/>
                  </a:cubicBezTo>
                  <a:cubicBezTo>
                    <a:pt x="699" y="2030"/>
                    <a:pt x="699" y="2030"/>
                    <a:pt x="699" y="2030"/>
                  </a:cubicBezTo>
                  <a:cubicBezTo>
                    <a:pt x="699" y="2021"/>
                    <a:pt x="699" y="2021"/>
                    <a:pt x="699" y="2021"/>
                  </a:cubicBezTo>
                  <a:cubicBezTo>
                    <a:pt x="698" y="2021"/>
                    <a:pt x="697" y="2021"/>
                    <a:pt x="696" y="2021"/>
                  </a:cubicBezTo>
                  <a:cubicBezTo>
                    <a:pt x="699" y="2030"/>
                    <a:pt x="699" y="2030"/>
                    <a:pt x="699" y="2030"/>
                  </a:cubicBezTo>
                  <a:cubicBezTo>
                    <a:pt x="699" y="2021"/>
                    <a:pt x="699" y="2021"/>
                    <a:pt x="699" y="2021"/>
                  </a:cubicBezTo>
                  <a:cubicBezTo>
                    <a:pt x="699" y="2025"/>
                    <a:pt x="699" y="2025"/>
                    <a:pt x="699" y="2025"/>
                  </a:cubicBezTo>
                  <a:cubicBezTo>
                    <a:pt x="699" y="2021"/>
                    <a:pt x="699" y="2021"/>
                    <a:pt x="699" y="2021"/>
                  </a:cubicBezTo>
                  <a:cubicBezTo>
                    <a:pt x="699" y="2021"/>
                    <a:pt x="699" y="2021"/>
                    <a:pt x="699" y="2021"/>
                  </a:cubicBezTo>
                  <a:cubicBezTo>
                    <a:pt x="699" y="2025"/>
                    <a:pt x="699" y="2025"/>
                    <a:pt x="699" y="2025"/>
                  </a:cubicBezTo>
                  <a:cubicBezTo>
                    <a:pt x="699" y="2021"/>
                    <a:pt x="699" y="2021"/>
                    <a:pt x="699" y="2021"/>
                  </a:cubicBezTo>
                  <a:cubicBezTo>
                    <a:pt x="699" y="2021"/>
                    <a:pt x="698" y="2021"/>
                    <a:pt x="696" y="2020"/>
                  </a:cubicBezTo>
                  <a:cubicBezTo>
                    <a:pt x="679" y="2016"/>
                    <a:pt x="663" y="2013"/>
                    <a:pt x="646" y="2009"/>
                  </a:cubicBezTo>
                  <a:cubicBezTo>
                    <a:pt x="646" y="2009"/>
                    <a:pt x="646" y="2009"/>
                    <a:pt x="646" y="2009"/>
                  </a:cubicBezTo>
                  <a:cubicBezTo>
                    <a:pt x="644" y="2009"/>
                    <a:pt x="642" y="2008"/>
                    <a:pt x="640" y="2008"/>
                  </a:cubicBezTo>
                  <a:cubicBezTo>
                    <a:pt x="635" y="2008"/>
                    <a:pt x="630" y="2010"/>
                    <a:pt x="626" y="2013"/>
                  </a:cubicBezTo>
                  <a:cubicBezTo>
                    <a:pt x="622" y="2016"/>
                    <a:pt x="619" y="2021"/>
                    <a:pt x="618" y="2026"/>
                  </a:cubicBezTo>
                  <a:cubicBezTo>
                    <a:pt x="614" y="2044"/>
                    <a:pt x="610" y="2061"/>
                    <a:pt x="606" y="2079"/>
                  </a:cubicBezTo>
                  <a:cubicBezTo>
                    <a:pt x="606" y="2080"/>
                    <a:pt x="606" y="2080"/>
                    <a:pt x="606" y="2080"/>
                  </a:cubicBezTo>
                  <a:cubicBezTo>
                    <a:pt x="606" y="2080"/>
                    <a:pt x="606" y="2080"/>
                    <a:pt x="606" y="2080"/>
                  </a:cubicBezTo>
                  <a:cubicBezTo>
                    <a:pt x="606" y="2080"/>
                    <a:pt x="606" y="2080"/>
                    <a:pt x="606" y="2080"/>
                  </a:cubicBezTo>
                  <a:cubicBezTo>
                    <a:pt x="606" y="2080"/>
                    <a:pt x="606" y="2080"/>
                    <a:pt x="606" y="2080"/>
                  </a:cubicBezTo>
                  <a:cubicBezTo>
                    <a:pt x="606" y="2080"/>
                    <a:pt x="606" y="2080"/>
                    <a:pt x="606" y="2080"/>
                  </a:cubicBezTo>
                  <a:cubicBezTo>
                    <a:pt x="606" y="2080"/>
                    <a:pt x="606" y="2080"/>
                    <a:pt x="606" y="2080"/>
                  </a:cubicBezTo>
                  <a:cubicBezTo>
                    <a:pt x="606" y="2080"/>
                    <a:pt x="606" y="2080"/>
                    <a:pt x="606" y="2080"/>
                  </a:cubicBezTo>
                  <a:cubicBezTo>
                    <a:pt x="611" y="2082"/>
                    <a:pt x="611" y="2082"/>
                    <a:pt x="611" y="2082"/>
                  </a:cubicBezTo>
                  <a:cubicBezTo>
                    <a:pt x="607" y="2079"/>
                    <a:pt x="607" y="2079"/>
                    <a:pt x="607" y="2079"/>
                  </a:cubicBezTo>
                  <a:cubicBezTo>
                    <a:pt x="606" y="2080"/>
                    <a:pt x="606" y="2080"/>
                    <a:pt x="606" y="2080"/>
                  </a:cubicBezTo>
                  <a:cubicBezTo>
                    <a:pt x="611" y="2082"/>
                    <a:pt x="611" y="2082"/>
                    <a:pt x="611" y="2082"/>
                  </a:cubicBezTo>
                  <a:cubicBezTo>
                    <a:pt x="607" y="2079"/>
                    <a:pt x="607" y="2079"/>
                    <a:pt x="607" y="2079"/>
                  </a:cubicBezTo>
                  <a:cubicBezTo>
                    <a:pt x="614" y="2083"/>
                    <a:pt x="614" y="2083"/>
                    <a:pt x="614" y="2083"/>
                  </a:cubicBezTo>
                  <a:cubicBezTo>
                    <a:pt x="610" y="2076"/>
                    <a:pt x="610" y="2076"/>
                    <a:pt x="610" y="2076"/>
                  </a:cubicBezTo>
                  <a:cubicBezTo>
                    <a:pt x="608" y="2077"/>
                    <a:pt x="607" y="2078"/>
                    <a:pt x="607" y="2079"/>
                  </a:cubicBezTo>
                  <a:cubicBezTo>
                    <a:pt x="614" y="2083"/>
                    <a:pt x="614" y="2083"/>
                    <a:pt x="614" y="2083"/>
                  </a:cubicBezTo>
                  <a:cubicBezTo>
                    <a:pt x="610" y="2076"/>
                    <a:pt x="610" y="2076"/>
                    <a:pt x="610" y="2076"/>
                  </a:cubicBezTo>
                  <a:cubicBezTo>
                    <a:pt x="613" y="2082"/>
                    <a:pt x="613" y="2082"/>
                    <a:pt x="613" y="2082"/>
                  </a:cubicBezTo>
                  <a:cubicBezTo>
                    <a:pt x="613" y="2075"/>
                    <a:pt x="613" y="2075"/>
                    <a:pt x="613" y="2075"/>
                  </a:cubicBezTo>
                  <a:cubicBezTo>
                    <a:pt x="613" y="2075"/>
                    <a:pt x="611" y="2075"/>
                    <a:pt x="610" y="2076"/>
                  </a:cubicBezTo>
                  <a:cubicBezTo>
                    <a:pt x="613" y="2082"/>
                    <a:pt x="613" y="2082"/>
                    <a:pt x="613" y="2082"/>
                  </a:cubicBezTo>
                  <a:cubicBezTo>
                    <a:pt x="613" y="2075"/>
                    <a:pt x="613" y="2075"/>
                    <a:pt x="613" y="2075"/>
                  </a:cubicBezTo>
                  <a:cubicBezTo>
                    <a:pt x="613" y="2078"/>
                    <a:pt x="613" y="2078"/>
                    <a:pt x="613" y="2078"/>
                  </a:cubicBezTo>
                  <a:cubicBezTo>
                    <a:pt x="613" y="2075"/>
                    <a:pt x="613" y="2075"/>
                    <a:pt x="613" y="2075"/>
                  </a:cubicBezTo>
                  <a:cubicBezTo>
                    <a:pt x="613" y="2075"/>
                    <a:pt x="613" y="2075"/>
                    <a:pt x="613" y="2075"/>
                  </a:cubicBezTo>
                  <a:cubicBezTo>
                    <a:pt x="613" y="2078"/>
                    <a:pt x="613" y="2078"/>
                    <a:pt x="613" y="2078"/>
                  </a:cubicBezTo>
                  <a:cubicBezTo>
                    <a:pt x="613" y="2075"/>
                    <a:pt x="613" y="2075"/>
                    <a:pt x="613" y="2075"/>
                  </a:cubicBezTo>
                  <a:cubicBezTo>
                    <a:pt x="613" y="2075"/>
                    <a:pt x="613" y="2075"/>
                    <a:pt x="613" y="2075"/>
                  </a:cubicBezTo>
                  <a:cubicBezTo>
                    <a:pt x="613" y="2075"/>
                    <a:pt x="613" y="2075"/>
                    <a:pt x="613" y="2075"/>
                  </a:cubicBezTo>
                  <a:cubicBezTo>
                    <a:pt x="603" y="2074"/>
                    <a:pt x="593" y="2072"/>
                    <a:pt x="583" y="2071"/>
                  </a:cubicBezTo>
                  <a:cubicBezTo>
                    <a:pt x="583" y="2071"/>
                    <a:pt x="583" y="2071"/>
                    <a:pt x="583" y="2071"/>
                  </a:cubicBezTo>
                  <a:cubicBezTo>
                    <a:pt x="583" y="2071"/>
                    <a:pt x="582" y="2071"/>
                    <a:pt x="582" y="2070"/>
                  </a:cubicBezTo>
                  <a:cubicBezTo>
                    <a:pt x="582" y="2070"/>
                    <a:pt x="582" y="2070"/>
                    <a:pt x="582" y="2070"/>
                  </a:cubicBezTo>
                  <a:cubicBezTo>
                    <a:pt x="581" y="2071"/>
                    <a:pt x="581" y="2071"/>
                    <a:pt x="581" y="2071"/>
                  </a:cubicBezTo>
                  <a:cubicBezTo>
                    <a:pt x="582" y="2070"/>
                    <a:pt x="582" y="2070"/>
                    <a:pt x="582" y="2070"/>
                  </a:cubicBezTo>
                  <a:cubicBezTo>
                    <a:pt x="582" y="2070"/>
                    <a:pt x="582" y="2070"/>
                    <a:pt x="582" y="2070"/>
                  </a:cubicBezTo>
                  <a:cubicBezTo>
                    <a:pt x="581" y="2071"/>
                    <a:pt x="581" y="2071"/>
                    <a:pt x="581" y="2071"/>
                  </a:cubicBezTo>
                  <a:cubicBezTo>
                    <a:pt x="582" y="2070"/>
                    <a:pt x="582" y="2070"/>
                    <a:pt x="582" y="2070"/>
                  </a:cubicBezTo>
                  <a:cubicBezTo>
                    <a:pt x="581" y="2071"/>
                    <a:pt x="581" y="2071"/>
                    <a:pt x="581" y="2071"/>
                  </a:cubicBezTo>
                  <a:cubicBezTo>
                    <a:pt x="582" y="2071"/>
                    <a:pt x="582" y="2071"/>
                    <a:pt x="582" y="2071"/>
                  </a:cubicBezTo>
                  <a:cubicBezTo>
                    <a:pt x="582" y="2070"/>
                    <a:pt x="582" y="2070"/>
                    <a:pt x="582" y="2070"/>
                  </a:cubicBezTo>
                  <a:cubicBezTo>
                    <a:pt x="581" y="2071"/>
                    <a:pt x="581" y="2071"/>
                    <a:pt x="581" y="2071"/>
                  </a:cubicBezTo>
                  <a:cubicBezTo>
                    <a:pt x="582" y="2071"/>
                    <a:pt x="582" y="2071"/>
                    <a:pt x="582" y="2071"/>
                  </a:cubicBezTo>
                  <a:cubicBezTo>
                    <a:pt x="582" y="2071"/>
                    <a:pt x="582" y="2071"/>
                    <a:pt x="582" y="2071"/>
                  </a:cubicBezTo>
                  <a:cubicBezTo>
                    <a:pt x="582" y="2071"/>
                    <a:pt x="582" y="2071"/>
                    <a:pt x="582" y="2071"/>
                  </a:cubicBezTo>
                  <a:cubicBezTo>
                    <a:pt x="582" y="2071"/>
                    <a:pt x="582" y="2071"/>
                    <a:pt x="582" y="2071"/>
                  </a:cubicBezTo>
                  <a:cubicBezTo>
                    <a:pt x="582" y="2071"/>
                    <a:pt x="582" y="2071"/>
                    <a:pt x="582" y="2071"/>
                  </a:cubicBezTo>
                  <a:cubicBezTo>
                    <a:pt x="582" y="2071"/>
                    <a:pt x="582" y="2071"/>
                    <a:pt x="582" y="2071"/>
                  </a:cubicBezTo>
                  <a:cubicBezTo>
                    <a:pt x="582" y="2071"/>
                    <a:pt x="582" y="2070"/>
                    <a:pt x="582" y="2070"/>
                  </a:cubicBezTo>
                  <a:cubicBezTo>
                    <a:pt x="582" y="2070"/>
                    <a:pt x="582" y="2070"/>
                    <a:pt x="582" y="2070"/>
                  </a:cubicBezTo>
                  <a:cubicBezTo>
                    <a:pt x="582" y="2070"/>
                    <a:pt x="582" y="2070"/>
                    <a:pt x="582" y="2070"/>
                  </a:cubicBezTo>
                  <a:cubicBezTo>
                    <a:pt x="581" y="2061"/>
                    <a:pt x="579" y="2055"/>
                    <a:pt x="580" y="2049"/>
                  </a:cubicBezTo>
                  <a:cubicBezTo>
                    <a:pt x="580" y="2047"/>
                    <a:pt x="580" y="2045"/>
                    <a:pt x="581" y="2042"/>
                  </a:cubicBezTo>
                  <a:cubicBezTo>
                    <a:pt x="581" y="2042"/>
                    <a:pt x="581" y="2042"/>
                    <a:pt x="581" y="2042"/>
                  </a:cubicBezTo>
                  <a:cubicBezTo>
                    <a:pt x="581" y="2040"/>
                    <a:pt x="582" y="2038"/>
                    <a:pt x="582" y="2035"/>
                  </a:cubicBezTo>
                  <a:cubicBezTo>
                    <a:pt x="582" y="2032"/>
                    <a:pt x="581" y="2029"/>
                    <a:pt x="580" y="2027"/>
                  </a:cubicBezTo>
                  <a:cubicBezTo>
                    <a:pt x="579" y="2025"/>
                    <a:pt x="577" y="2023"/>
                    <a:pt x="576" y="2022"/>
                  </a:cubicBezTo>
                  <a:cubicBezTo>
                    <a:pt x="573" y="2019"/>
                    <a:pt x="571" y="2018"/>
                    <a:pt x="568" y="2018"/>
                  </a:cubicBezTo>
                  <a:cubicBezTo>
                    <a:pt x="566" y="2017"/>
                    <a:pt x="563" y="2017"/>
                    <a:pt x="561" y="2017"/>
                  </a:cubicBezTo>
                  <a:cubicBezTo>
                    <a:pt x="561" y="2017"/>
                    <a:pt x="561" y="2017"/>
                    <a:pt x="561" y="2017"/>
                  </a:cubicBezTo>
                  <a:cubicBezTo>
                    <a:pt x="532" y="2016"/>
                    <a:pt x="502" y="2015"/>
                    <a:pt x="473" y="2015"/>
                  </a:cubicBezTo>
                  <a:cubicBezTo>
                    <a:pt x="473" y="2015"/>
                    <a:pt x="473" y="2015"/>
                    <a:pt x="473" y="2015"/>
                  </a:cubicBezTo>
                  <a:cubicBezTo>
                    <a:pt x="456" y="2014"/>
                    <a:pt x="440" y="2013"/>
                    <a:pt x="423" y="2012"/>
                  </a:cubicBezTo>
                  <a:cubicBezTo>
                    <a:pt x="423" y="2012"/>
                    <a:pt x="423" y="2012"/>
                    <a:pt x="423" y="2012"/>
                  </a:cubicBezTo>
                  <a:cubicBezTo>
                    <a:pt x="420" y="2012"/>
                    <a:pt x="417" y="2012"/>
                    <a:pt x="414" y="2012"/>
                  </a:cubicBezTo>
                  <a:cubicBezTo>
                    <a:pt x="390" y="2012"/>
                    <a:pt x="368" y="2016"/>
                    <a:pt x="348" y="2017"/>
                  </a:cubicBezTo>
                  <a:cubicBezTo>
                    <a:pt x="348" y="2017"/>
                    <a:pt x="348" y="2017"/>
                    <a:pt x="348" y="2017"/>
                  </a:cubicBezTo>
                  <a:cubicBezTo>
                    <a:pt x="335" y="2018"/>
                    <a:pt x="323" y="2020"/>
                    <a:pt x="312" y="2021"/>
                  </a:cubicBezTo>
                  <a:cubicBezTo>
                    <a:pt x="312" y="2021"/>
                    <a:pt x="312" y="2021"/>
                    <a:pt x="312" y="2021"/>
                  </a:cubicBezTo>
                  <a:cubicBezTo>
                    <a:pt x="301" y="2023"/>
                    <a:pt x="290" y="2024"/>
                    <a:pt x="280" y="2026"/>
                  </a:cubicBezTo>
                  <a:cubicBezTo>
                    <a:pt x="280" y="2026"/>
                    <a:pt x="280" y="2026"/>
                    <a:pt x="280" y="2026"/>
                  </a:cubicBezTo>
                  <a:cubicBezTo>
                    <a:pt x="272" y="2027"/>
                    <a:pt x="264" y="2028"/>
                    <a:pt x="256" y="2031"/>
                  </a:cubicBezTo>
                  <a:cubicBezTo>
                    <a:pt x="249" y="2033"/>
                    <a:pt x="241" y="2037"/>
                    <a:pt x="234" y="2043"/>
                  </a:cubicBezTo>
                  <a:cubicBezTo>
                    <a:pt x="234" y="2043"/>
                    <a:pt x="234" y="2043"/>
                    <a:pt x="234" y="2043"/>
                  </a:cubicBezTo>
                  <a:cubicBezTo>
                    <a:pt x="233" y="2044"/>
                    <a:pt x="231" y="2045"/>
                    <a:pt x="229" y="2046"/>
                  </a:cubicBezTo>
                  <a:cubicBezTo>
                    <a:pt x="227" y="2047"/>
                    <a:pt x="225" y="2048"/>
                    <a:pt x="222" y="2050"/>
                  </a:cubicBezTo>
                  <a:cubicBezTo>
                    <a:pt x="221" y="2051"/>
                    <a:pt x="220" y="2051"/>
                    <a:pt x="220" y="2051"/>
                  </a:cubicBezTo>
                  <a:cubicBezTo>
                    <a:pt x="219" y="2051"/>
                    <a:pt x="219" y="2051"/>
                    <a:pt x="219" y="2051"/>
                  </a:cubicBezTo>
                  <a:cubicBezTo>
                    <a:pt x="218" y="2051"/>
                    <a:pt x="218" y="2051"/>
                    <a:pt x="217" y="2051"/>
                  </a:cubicBezTo>
                  <a:cubicBezTo>
                    <a:pt x="217" y="2051"/>
                    <a:pt x="217" y="2051"/>
                    <a:pt x="217" y="2051"/>
                  </a:cubicBezTo>
                  <a:cubicBezTo>
                    <a:pt x="214" y="2050"/>
                    <a:pt x="211" y="2049"/>
                    <a:pt x="206" y="2049"/>
                  </a:cubicBezTo>
                  <a:cubicBezTo>
                    <a:pt x="203" y="2049"/>
                    <a:pt x="199" y="2050"/>
                    <a:pt x="195" y="2052"/>
                  </a:cubicBezTo>
                  <a:cubicBezTo>
                    <a:pt x="191" y="2054"/>
                    <a:pt x="188" y="2057"/>
                    <a:pt x="186" y="2061"/>
                  </a:cubicBezTo>
                  <a:cubicBezTo>
                    <a:pt x="186" y="2061"/>
                    <a:pt x="186" y="2061"/>
                    <a:pt x="186" y="2061"/>
                  </a:cubicBezTo>
                  <a:cubicBezTo>
                    <a:pt x="193" y="2065"/>
                    <a:pt x="193" y="2065"/>
                    <a:pt x="193" y="2065"/>
                  </a:cubicBezTo>
                  <a:cubicBezTo>
                    <a:pt x="188" y="2059"/>
                    <a:pt x="188" y="2059"/>
                    <a:pt x="188" y="2059"/>
                  </a:cubicBezTo>
                  <a:cubicBezTo>
                    <a:pt x="187" y="2059"/>
                    <a:pt x="187" y="2060"/>
                    <a:pt x="186" y="2061"/>
                  </a:cubicBezTo>
                  <a:cubicBezTo>
                    <a:pt x="193" y="2065"/>
                    <a:pt x="193" y="2065"/>
                    <a:pt x="193" y="2065"/>
                  </a:cubicBezTo>
                  <a:cubicBezTo>
                    <a:pt x="188" y="2059"/>
                    <a:pt x="188" y="2059"/>
                    <a:pt x="188" y="2059"/>
                  </a:cubicBezTo>
                  <a:cubicBezTo>
                    <a:pt x="190" y="2062"/>
                    <a:pt x="190" y="2062"/>
                    <a:pt x="190" y="2062"/>
                  </a:cubicBezTo>
                  <a:cubicBezTo>
                    <a:pt x="189" y="2058"/>
                    <a:pt x="189" y="2058"/>
                    <a:pt x="189" y="2058"/>
                  </a:cubicBezTo>
                  <a:cubicBezTo>
                    <a:pt x="189" y="2058"/>
                    <a:pt x="189" y="2058"/>
                    <a:pt x="188" y="2059"/>
                  </a:cubicBezTo>
                  <a:cubicBezTo>
                    <a:pt x="190" y="2062"/>
                    <a:pt x="190" y="2062"/>
                    <a:pt x="190" y="2062"/>
                  </a:cubicBezTo>
                  <a:cubicBezTo>
                    <a:pt x="189" y="2058"/>
                    <a:pt x="189" y="2058"/>
                    <a:pt x="189" y="2058"/>
                  </a:cubicBezTo>
                  <a:cubicBezTo>
                    <a:pt x="191" y="2062"/>
                    <a:pt x="191" y="2062"/>
                    <a:pt x="191" y="2062"/>
                  </a:cubicBezTo>
                  <a:cubicBezTo>
                    <a:pt x="191" y="2058"/>
                    <a:pt x="191" y="2058"/>
                    <a:pt x="191" y="2058"/>
                  </a:cubicBezTo>
                  <a:cubicBezTo>
                    <a:pt x="190" y="2058"/>
                    <a:pt x="189" y="2058"/>
                    <a:pt x="189" y="2058"/>
                  </a:cubicBezTo>
                  <a:cubicBezTo>
                    <a:pt x="191" y="2062"/>
                    <a:pt x="191" y="2062"/>
                    <a:pt x="191" y="2062"/>
                  </a:cubicBezTo>
                  <a:cubicBezTo>
                    <a:pt x="191" y="2058"/>
                    <a:pt x="191" y="2058"/>
                    <a:pt x="191" y="2058"/>
                  </a:cubicBezTo>
                  <a:cubicBezTo>
                    <a:pt x="191" y="2066"/>
                    <a:pt x="191" y="2066"/>
                    <a:pt x="191" y="2066"/>
                  </a:cubicBezTo>
                  <a:cubicBezTo>
                    <a:pt x="192" y="2058"/>
                    <a:pt x="192" y="2058"/>
                    <a:pt x="192" y="2058"/>
                  </a:cubicBezTo>
                  <a:cubicBezTo>
                    <a:pt x="191" y="2058"/>
                    <a:pt x="191" y="2058"/>
                    <a:pt x="191" y="2058"/>
                  </a:cubicBezTo>
                  <a:cubicBezTo>
                    <a:pt x="191" y="2066"/>
                    <a:pt x="191" y="2066"/>
                    <a:pt x="191" y="2066"/>
                  </a:cubicBezTo>
                  <a:cubicBezTo>
                    <a:pt x="192" y="2058"/>
                    <a:pt x="192" y="2058"/>
                    <a:pt x="192" y="2058"/>
                  </a:cubicBezTo>
                  <a:cubicBezTo>
                    <a:pt x="192" y="2058"/>
                    <a:pt x="192" y="2058"/>
                    <a:pt x="192" y="2058"/>
                  </a:cubicBezTo>
                  <a:cubicBezTo>
                    <a:pt x="181" y="2057"/>
                    <a:pt x="170" y="2054"/>
                    <a:pt x="159" y="2053"/>
                  </a:cubicBezTo>
                  <a:cubicBezTo>
                    <a:pt x="159" y="2053"/>
                    <a:pt x="159" y="2053"/>
                    <a:pt x="159" y="2053"/>
                  </a:cubicBezTo>
                  <a:cubicBezTo>
                    <a:pt x="144" y="2051"/>
                    <a:pt x="128" y="2049"/>
                    <a:pt x="113" y="2047"/>
                  </a:cubicBezTo>
                  <a:cubicBezTo>
                    <a:pt x="112" y="2047"/>
                    <a:pt x="112" y="2047"/>
                    <a:pt x="112" y="2047"/>
                  </a:cubicBezTo>
                  <a:cubicBezTo>
                    <a:pt x="113" y="2047"/>
                    <a:pt x="113" y="2047"/>
                    <a:pt x="113" y="2047"/>
                  </a:cubicBezTo>
                  <a:cubicBezTo>
                    <a:pt x="111" y="2047"/>
                    <a:pt x="110" y="2047"/>
                    <a:pt x="109" y="2047"/>
                  </a:cubicBezTo>
                  <a:cubicBezTo>
                    <a:pt x="104" y="2047"/>
                    <a:pt x="99" y="2048"/>
                    <a:pt x="94" y="2051"/>
                  </a:cubicBezTo>
                  <a:cubicBezTo>
                    <a:pt x="78" y="2058"/>
                    <a:pt x="61" y="2065"/>
                    <a:pt x="45" y="2074"/>
                  </a:cubicBezTo>
                  <a:cubicBezTo>
                    <a:pt x="45" y="2074"/>
                    <a:pt x="45" y="2074"/>
                    <a:pt x="45" y="2074"/>
                  </a:cubicBezTo>
                  <a:cubicBezTo>
                    <a:pt x="45" y="2074"/>
                    <a:pt x="45" y="2074"/>
                    <a:pt x="45" y="2074"/>
                  </a:cubicBezTo>
                  <a:cubicBezTo>
                    <a:pt x="33" y="2080"/>
                    <a:pt x="22" y="2087"/>
                    <a:pt x="11" y="2094"/>
                  </a:cubicBezTo>
                  <a:cubicBezTo>
                    <a:pt x="11" y="2094"/>
                    <a:pt x="11" y="2094"/>
                    <a:pt x="11" y="2094"/>
                  </a:cubicBezTo>
                  <a:cubicBezTo>
                    <a:pt x="11" y="2094"/>
                    <a:pt x="11" y="2094"/>
                    <a:pt x="11" y="2094"/>
                  </a:cubicBezTo>
                  <a:cubicBezTo>
                    <a:pt x="9" y="2096"/>
                    <a:pt x="6" y="2097"/>
                    <a:pt x="4" y="2100"/>
                  </a:cubicBezTo>
                  <a:cubicBezTo>
                    <a:pt x="3" y="2101"/>
                    <a:pt x="2" y="2103"/>
                    <a:pt x="1" y="2105"/>
                  </a:cubicBezTo>
                  <a:cubicBezTo>
                    <a:pt x="1" y="2107"/>
                    <a:pt x="0" y="2109"/>
                    <a:pt x="0" y="2111"/>
                  </a:cubicBezTo>
                  <a:cubicBezTo>
                    <a:pt x="0" y="2114"/>
                    <a:pt x="1" y="2117"/>
                    <a:pt x="2" y="2119"/>
                  </a:cubicBezTo>
                  <a:cubicBezTo>
                    <a:pt x="3" y="2121"/>
                    <a:pt x="4" y="2123"/>
                    <a:pt x="5" y="2124"/>
                  </a:cubicBezTo>
                  <a:cubicBezTo>
                    <a:pt x="5" y="2124"/>
                    <a:pt x="5" y="2124"/>
                    <a:pt x="5" y="2124"/>
                  </a:cubicBezTo>
                  <a:cubicBezTo>
                    <a:pt x="15" y="2139"/>
                    <a:pt x="26" y="2154"/>
                    <a:pt x="37" y="2169"/>
                  </a:cubicBezTo>
                  <a:cubicBezTo>
                    <a:pt x="37" y="2169"/>
                    <a:pt x="37" y="2169"/>
                    <a:pt x="37" y="2169"/>
                  </a:cubicBezTo>
                  <a:cubicBezTo>
                    <a:pt x="41" y="2174"/>
                    <a:pt x="46" y="2180"/>
                    <a:pt x="52" y="2184"/>
                  </a:cubicBezTo>
                  <a:cubicBezTo>
                    <a:pt x="52" y="2184"/>
                    <a:pt x="52" y="2184"/>
                    <a:pt x="52" y="2184"/>
                  </a:cubicBezTo>
                  <a:cubicBezTo>
                    <a:pt x="71" y="2197"/>
                    <a:pt x="91" y="2209"/>
                    <a:pt x="109" y="2222"/>
                  </a:cubicBezTo>
                  <a:cubicBezTo>
                    <a:pt x="109" y="2222"/>
                    <a:pt x="109" y="2222"/>
                    <a:pt x="109" y="2222"/>
                  </a:cubicBezTo>
                  <a:cubicBezTo>
                    <a:pt x="113" y="2225"/>
                    <a:pt x="116" y="2226"/>
                    <a:pt x="120" y="2228"/>
                  </a:cubicBezTo>
                  <a:cubicBezTo>
                    <a:pt x="124" y="2229"/>
                    <a:pt x="128" y="2230"/>
                    <a:pt x="132" y="2231"/>
                  </a:cubicBezTo>
                  <a:cubicBezTo>
                    <a:pt x="132" y="2231"/>
                    <a:pt x="132" y="2231"/>
                    <a:pt x="132" y="2231"/>
                  </a:cubicBezTo>
                  <a:cubicBezTo>
                    <a:pt x="138" y="2232"/>
                    <a:pt x="144" y="2233"/>
                    <a:pt x="149" y="2234"/>
                  </a:cubicBezTo>
                  <a:cubicBezTo>
                    <a:pt x="155" y="2235"/>
                    <a:pt x="160" y="2236"/>
                    <a:pt x="164" y="2238"/>
                  </a:cubicBezTo>
                  <a:cubicBezTo>
                    <a:pt x="172" y="2241"/>
                    <a:pt x="180" y="2245"/>
                    <a:pt x="188" y="2248"/>
                  </a:cubicBezTo>
                  <a:cubicBezTo>
                    <a:pt x="188" y="2248"/>
                    <a:pt x="188" y="2248"/>
                    <a:pt x="188" y="2248"/>
                  </a:cubicBezTo>
                  <a:cubicBezTo>
                    <a:pt x="202" y="2253"/>
                    <a:pt x="215" y="2260"/>
                    <a:pt x="227" y="2269"/>
                  </a:cubicBezTo>
                  <a:cubicBezTo>
                    <a:pt x="228" y="2269"/>
                    <a:pt x="228" y="2269"/>
                    <a:pt x="228" y="2269"/>
                  </a:cubicBezTo>
                  <a:cubicBezTo>
                    <a:pt x="227" y="2269"/>
                    <a:pt x="227" y="2269"/>
                    <a:pt x="227" y="2269"/>
                  </a:cubicBezTo>
                  <a:cubicBezTo>
                    <a:pt x="243" y="2280"/>
                    <a:pt x="258" y="2292"/>
                    <a:pt x="273" y="2304"/>
                  </a:cubicBezTo>
                  <a:cubicBezTo>
                    <a:pt x="273" y="2304"/>
                    <a:pt x="273" y="2304"/>
                    <a:pt x="273" y="2304"/>
                  </a:cubicBezTo>
                  <a:cubicBezTo>
                    <a:pt x="275" y="2306"/>
                    <a:pt x="278" y="2307"/>
                    <a:pt x="280" y="2309"/>
                  </a:cubicBezTo>
                  <a:cubicBezTo>
                    <a:pt x="281" y="2311"/>
                    <a:pt x="283" y="2312"/>
                    <a:pt x="283" y="2314"/>
                  </a:cubicBezTo>
                  <a:cubicBezTo>
                    <a:pt x="283" y="2314"/>
                    <a:pt x="283" y="2314"/>
                    <a:pt x="283" y="2314"/>
                  </a:cubicBezTo>
                  <a:cubicBezTo>
                    <a:pt x="294" y="2332"/>
                    <a:pt x="303" y="2350"/>
                    <a:pt x="312" y="2369"/>
                  </a:cubicBezTo>
                  <a:cubicBezTo>
                    <a:pt x="312" y="2369"/>
                    <a:pt x="312" y="2369"/>
                    <a:pt x="312" y="2369"/>
                  </a:cubicBezTo>
                  <a:cubicBezTo>
                    <a:pt x="315" y="2374"/>
                    <a:pt x="317" y="2382"/>
                    <a:pt x="318" y="2389"/>
                  </a:cubicBezTo>
                  <a:cubicBezTo>
                    <a:pt x="318" y="2391"/>
                    <a:pt x="318" y="2392"/>
                    <a:pt x="318" y="2394"/>
                  </a:cubicBezTo>
                  <a:cubicBezTo>
                    <a:pt x="318" y="2400"/>
                    <a:pt x="316" y="2406"/>
                    <a:pt x="313" y="2412"/>
                  </a:cubicBezTo>
                  <a:cubicBezTo>
                    <a:pt x="313" y="2412"/>
                    <a:pt x="313" y="2412"/>
                    <a:pt x="313" y="2412"/>
                  </a:cubicBezTo>
                  <a:cubicBezTo>
                    <a:pt x="310" y="2416"/>
                    <a:pt x="308" y="2420"/>
                    <a:pt x="306" y="2425"/>
                  </a:cubicBezTo>
                  <a:cubicBezTo>
                    <a:pt x="304" y="2430"/>
                    <a:pt x="303" y="2436"/>
                    <a:pt x="303" y="2442"/>
                  </a:cubicBezTo>
                  <a:cubicBezTo>
                    <a:pt x="303" y="2446"/>
                    <a:pt x="304" y="2451"/>
                    <a:pt x="305" y="2456"/>
                  </a:cubicBezTo>
                  <a:cubicBezTo>
                    <a:pt x="305" y="2456"/>
                    <a:pt x="305" y="2456"/>
                    <a:pt x="305" y="2456"/>
                  </a:cubicBezTo>
                  <a:cubicBezTo>
                    <a:pt x="312" y="2454"/>
                    <a:pt x="312" y="2454"/>
                    <a:pt x="312" y="2454"/>
                  </a:cubicBezTo>
                  <a:cubicBezTo>
                    <a:pt x="305" y="2454"/>
                    <a:pt x="305" y="2454"/>
                    <a:pt x="305" y="2454"/>
                  </a:cubicBezTo>
                  <a:cubicBezTo>
                    <a:pt x="305" y="2454"/>
                    <a:pt x="305" y="2455"/>
                    <a:pt x="305" y="2456"/>
                  </a:cubicBezTo>
                  <a:cubicBezTo>
                    <a:pt x="312" y="2454"/>
                    <a:pt x="312" y="2454"/>
                    <a:pt x="312" y="2454"/>
                  </a:cubicBezTo>
                  <a:cubicBezTo>
                    <a:pt x="305" y="2454"/>
                    <a:pt x="305" y="2454"/>
                    <a:pt x="305" y="2454"/>
                  </a:cubicBezTo>
                  <a:cubicBezTo>
                    <a:pt x="308" y="2454"/>
                    <a:pt x="308" y="2454"/>
                    <a:pt x="308" y="2454"/>
                  </a:cubicBezTo>
                  <a:cubicBezTo>
                    <a:pt x="305" y="2453"/>
                    <a:pt x="305" y="2453"/>
                    <a:pt x="305" y="2453"/>
                  </a:cubicBezTo>
                  <a:cubicBezTo>
                    <a:pt x="305" y="2454"/>
                    <a:pt x="305" y="2454"/>
                    <a:pt x="305" y="2454"/>
                  </a:cubicBezTo>
                  <a:cubicBezTo>
                    <a:pt x="308" y="2454"/>
                    <a:pt x="308" y="2454"/>
                    <a:pt x="308" y="2454"/>
                  </a:cubicBezTo>
                  <a:cubicBezTo>
                    <a:pt x="305" y="2453"/>
                    <a:pt x="305" y="2453"/>
                    <a:pt x="305" y="2453"/>
                  </a:cubicBezTo>
                  <a:cubicBezTo>
                    <a:pt x="305" y="2453"/>
                    <a:pt x="305" y="2453"/>
                    <a:pt x="305" y="2453"/>
                  </a:cubicBezTo>
                  <a:cubicBezTo>
                    <a:pt x="305" y="2453"/>
                    <a:pt x="305" y="2453"/>
                    <a:pt x="305" y="2453"/>
                  </a:cubicBezTo>
                  <a:cubicBezTo>
                    <a:pt x="305" y="2453"/>
                    <a:pt x="305" y="2453"/>
                    <a:pt x="305" y="2453"/>
                  </a:cubicBezTo>
                  <a:cubicBezTo>
                    <a:pt x="305" y="2453"/>
                    <a:pt x="305" y="2453"/>
                    <a:pt x="305" y="2453"/>
                  </a:cubicBezTo>
                  <a:cubicBezTo>
                    <a:pt x="305" y="2453"/>
                    <a:pt x="305" y="2453"/>
                    <a:pt x="305" y="2453"/>
                  </a:cubicBezTo>
                  <a:cubicBezTo>
                    <a:pt x="305" y="2453"/>
                    <a:pt x="305" y="2454"/>
                    <a:pt x="305" y="2454"/>
                  </a:cubicBezTo>
                  <a:cubicBezTo>
                    <a:pt x="305" y="2455"/>
                    <a:pt x="304" y="2456"/>
                    <a:pt x="304" y="2457"/>
                  </a:cubicBezTo>
                  <a:cubicBezTo>
                    <a:pt x="304" y="2457"/>
                    <a:pt x="304" y="2457"/>
                    <a:pt x="304" y="2457"/>
                  </a:cubicBezTo>
                  <a:cubicBezTo>
                    <a:pt x="304" y="2461"/>
                    <a:pt x="304" y="2465"/>
                    <a:pt x="304" y="2469"/>
                  </a:cubicBezTo>
                  <a:cubicBezTo>
                    <a:pt x="304" y="2476"/>
                    <a:pt x="304" y="2482"/>
                    <a:pt x="307" y="2489"/>
                  </a:cubicBezTo>
                  <a:cubicBezTo>
                    <a:pt x="309" y="2496"/>
                    <a:pt x="313" y="2502"/>
                    <a:pt x="319" y="2508"/>
                  </a:cubicBezTo>
                  <a:cubicBezTo>
                    <a:pt x="318" y="2508"/>
                    <a:pt x="318" y="2508"/>
                    <a:pt x="318" y="2508"/>
                  </a:cubicBezTo>
                  <a:cubicBezTo>
                    <a:pt x="320" y="2509"/>
                    <a:pt x="321" y="2510"/>
                    <a:pt x="321" y="2512"/>
                  </a:cubicBezTo>
                  <a:cubicBezTo>
                    <a:pt x="322" y="2514"/>
                    <a:pt x="323" y="2516"/>
                    <a:pt x="324" y="2519"/>
                  </a:cubicBezTo>
                  <a:cubicBezTo>
                    <a:pt x="324" y="2519"/>
                    <a:pt x="324" y="2519"/>
                    <a:pt x="324" y="2519"/>
                  </a:cubicBezTo>
                  <a:cubicBezTo>
                    <a:pt x="324" y="2522"/>
                    <a:pt x="325" y="2525"/>
                    <a:pt x="326" y="2528"/>
                  </a:cubicBezTo>
                  <a:cubicBezTo>
                    <a:pt x="327" y="2530"/>
                    <a:pt x="329" y="2532"/>
                    <a:pt x="330" y="2534"/>
                  </a:cubicBezTo>
                  <a:cubicBezTo>
                    <a:pt x="332" y="2536"/>
                    <a:pt x="333" y="2537"/>
                    <a:pt x="335" y="2538"/>
                  </a:cubicBezTo>
                  <a:cubicBezTo>
                    <a:pt x="338" y="2540"/>
                    <a:pt x="341" y="2541"/>
                    <a:pt x="343" y="2542"/>
                  </a:cubicBezTo>
                  <a:cubicBezTo>
                    <a:pt x="346" y="2542"/>
                    <a:pt x="349" y="2542"/>
                    <a:pt x="351" y="2542"/>
                  </a:cubicBezTo>
                  <a:cubicBezTo>
                    <a:pt x="352" y="2542"/>
                    <a:pt x="352" y="2542"/>
                    <a:pt x="353" y="2542"/>
                  </a:cubicBezTo>
                  <a:cubicBezTo>
                    <a:pt x="353" y="2542"/>
                    <a:pt x="353" y="2542"/>
                    <a:pt x="353" y="2542"/>
                  </a:cubicBezTo>
                  <a:cubicBezTo>
                    <a:pt x="353" y="2542"/>
                    <a:pt x="353" y="2542"/>
                    <a:pt x="353" y="2542"/>
                  </a:cubicBezTo>
                  <a:cubicBezTo>
                    <a:pt x="353" y="2542"/>
                    <a:pt x="353" y="2542"/>
                    <a:pt x="353" y="2542"/>
                  </a:cubicBezTo>
                  <a:cubicBezTo>
                    <a:pt x="356" y="2542"/>
                    <a:pt x="358" y="2543"/>
                    <a:pt x="360" y="2544"/>
                  </a:cubicBezTo>
                  <a:cubicBezTo>
                    <a:pt x="363" y="2546"/>
                    <a:pt x="365" y="2548"/>
                    <a:pt x="369" y="2551"/>
                  </a:cubicBezTo>
                  <a:cubicBezTo>
                    <a:pt x="369" y="2551"/>
                    <a:pt x="369" y="2551"/>
                    <a:pt x="369" y="2551"/>
                  </a:cubicBezTo>
                  <a:cubicBezTo>
                    <a:pt x="372" y="2554"/>
                    <a:pt x="376" y="2558"/>
                    <a:pt x="381" y="2562"/>
                  </a:cubicBezTo>
                  <a:cubicBezTo>
                    <a:pt x="381" y="2562"/>
                    <a:pt x="381" y="2562"/>
                    <a:pt x="381" y="2562"/>
                  </a:cubicBezTo>
                  <a:cubicBezTo>
                    <a:pt x="385" y="2566"/>
                    <a:pt x="390" y="2571"/>
                    <a:pt x="396" y="2576"/>
                  </a:cubicBezTo>
                  <a:cubicBezTo>
                    <a:pt x="399" y="2578"/>
                    <a:pt x="403" y="2581"/>
                    <a:pt x="407" y="2582"/>
                  </a:cubicBezTo>
                  <a:cubicBezTo>
                    <a:pt x="412" y="2584"/>
                    <a:pt x="417" y="2585"/>
                    <a:pt x="422" y="2585"/>
                  </a:cubicBezTo>
                  <a:cubicBezTo>
                    <a:pt x="423" y="2585"/>
                    <a:pt x="423" y="2585"/>
                    <a:pt x="423" y="2585"/>
                  </a:cubicBezTo>
                  <a:cubicBezTo>
                    <a:pt x="423" y="2585"/>
                    <a:pt x="423" y="2585"/>
                    <a:pt x="423" y="2585"/>
                  </a:cubicBezTo>
                  <a:cubicBezTo>
                    <a:pt x="423" y="2582"/>
                    <a:pt x="423" y="2582"/>
                    <a:pt x="423" y="2582"/>
                  </a:cubicBezTo>
                  <a:cubicBezTo>
                    <a:pt x="423" y="2585"/>
                    <a:pt x="423" y="2585"/>
                    <a:pt x="423" y="2585"/>
                  </a:cubicBezTo>
                  <a:cubicBezTo>
                    <a:pt x="423" y="2585"/>
                    <a:pt x="423" y="2585"/>
                    <a:pt x="423" y="2585"/>
                  </a:cubicBezTo>
                  <a:cubicBezTo>
                    <a:pt x="423" y="2582"/>
                    <a:pt x="423" y="2582"/>
                    <a:pt x="423" y="2582"/>
                  </a:cubicBezTo>
                  <a:cubicBezTo>
                    <a:pt x="423" y="2585"/>
                    <a:pt x="423" y="2585"/>
                    <a:pt x="423" y="2585"/>
                  </a:cubicBezTo>
                  <a:cubicBezTo>
                    <a:pt x="423" y="2585"/>
                    <a:pt x="423" y="2585"/>
                    <a:pt x="423" y="2585"/>
                  </a:cubicBezTo>
                  <a:cubicBezTo>
                    <a:pt x="424" y="2585"/>
                    <a:pt x="427" y="2586"/>
                    <a:pt x="429" y="2586"/>
                  </a:cubicBezTo>
                  <a:cubicBezTo>
                    <a:pt x="429" y="2586"/>
                    <a:pt x="429" y="2586"/>
                    <a:pt x="429" y="2586"/>
                  </a:cubicBezTo>
                  <a:cubicBezTo>
                    <a:pt x="429" y="2586"/>
                    <a:pt x="429" y="2586"/>
                    <a:pt x="429" y="2586"/>
                  </a:cubicBezTo>
                  <a:cubicBezTo>
                    <a:pt x="430" y="2586"/>
                    <a:pt x="430" y="2586"/>
                    <a:pt x="430" y="2586"/>
                  </a:cubicBezTo>
                  <a:cubicBezTo>
                    <a:pt x="430" y="2586"/>
                    <a:pt x="430" y="2586"/>
                    <a:pt x="430" y="2586"/>
                  </a:cubicBezTo>
                  <a:cubicBezTo>
                    <a:pt x="431" y="2580"/>
                    <a:pt x="431" y="2580"/>
                    <a:pt x="431" y="2580"/>
                  </a:cubicBezTo>
                  <a:cubicBezTo>
                    <a:pt x="429" y="2586"/>
                    <a:pt x="429" y="2586"/>
                    <a:pt x="429" y="2586"/>
                  </a:cubicBezTo>
                  <a:cubicBezTo>
                    <a:pt x="429" y="2586"/>
                    <a:pt x="430" y="2586"/>
                    <a:pt x="430" y="2586"/>
                  </a:cubicBezTo>
                  <a:cubicBezTo>
                    <a:pt x="431" y="2580"/>
                    <a:pt x="431" y="2580"/>
                    <a:pt x="431" y="2580"/>
                  </a:cubicBezTo>
                  <a:cubicBezTo>
                    <a:pt x="429" y="2586"/>
                    <a:pt x="429" y="2586"/>
                    <a:pt x="429" y="2586"/>
                  </a:cubicBezTo>
                  <a:cubicBezTo>
                    <a:pt x="432" y="2577"/>
                    <a:pt x="432" y="2577"/>
                    <a:pt x="432" y="2577"/>
                  </a:cubicBezTo>
                  <a:cubicBezTo>
                    <a:pt x="427" y="2584"/>
                    <a:pt x="427" y="2584"/>
                    <a:pt x="427" y="2584"/>
                  </a:cubicBezTo>
                  <a:cubicBezTo>
                    <a:pt x="428" y="2585"/>
                    <a:pt x="428" y="2585"/>
                    <a:pt x="429" y="2586"/>
                  </a:cubicBezTo>
                  <a:cubicBezTo>
                    <a:pt x="432" y="2577"/>
                    <a:pt x="432" y="2577"/>
                    <a:pt x="432" y="2577"/>
                  </a:cubicBezTo>
                  <a:cubicBezTo>
                    <a:pt x="427" y="2584"/>
                    <a:pt x="427" y="2584"/>
                    <a:pt x="427" y="2584"/>
                  </a:cubicBezTo>
                  <a:cubicBezTo>
                    <a:pt x="433" y="2577"/>
                    <a:pt x="433" y="2577"/>
                    <a:pt x="433" y="2577"/>
                  </a:cubicBezTo>
                  <a:cubicBezTo>
                    <a:pt x="424" y="2581"/>
                    <a:pt x="424" y="2581"/>
                    <a:pt x="424" y="2581"/>
                  </a:cubicBezTo>
                  <a:cubicBezTo>
                    <a:pt x="424" y="2582"/>
                    <a:pt x="426" y="2584"/>
                    <a:pt x="427" y="2584"/>
                  </a:cubicBezTo>
                  <a:cubicBezTo>
                    <a:pt x="433" y="2577"/>
                    <a:pt x="433" y="2577"/>
                    <a:pt x="433" y="2577"/>
                  </a:cubicBezTo>
                  <a:cubicBezTo>
                    <a:pt x="424" y="2581"/>
                    <a:pt x="424" y="2581"/>
                    <a:pt x="424" y="2581"/>
                  </a:cubicBezTo>
                  <a:cubicBezTo>
                    <a:pt x="431" y="2577"/>
                    <a:pt x="431" y="2577"/>
                    <a:pt x="431" y="2577"/>
                  </a:cubicBezTo>
                  <a:cubicBezTo>
                    <a:pt x="423" y="2577"/>
                    <a:pt x="423" y="2577"/>
                    <a:pt x="423" y="2577"/>
                  </a:cubicBezTo>
                  <a:cubicBezTo>
                    <a:pt x="423" y="2578"/>
                    <a:pt x="423" y="2579"/>
                    <a:pt x="424" y="2581"/>
                  </a:cubicBezTo>
                  <a:cubicBezTo>
                    <a:pt x="431" y="2577"/>
                    <a:pt x="431" y="2577"/>
                    <a:pt x="431" y="2577"/>
                  </a:cubicBezTo>
                  <a:cubicBezTo>
                    <a:pt x="423" y="2577"/>
                    <a:pt x="423" y="2577"/>
                    <a:pt x="423" y="2577"/>
                  </a:cubicBezTo>
                  <a:cubicBezTo>
                    <a:pt x="427" y="2577"/>
                    <a:pt x="427" y="2577"/>
                    <a:pt x="427" y="2577"/>
                  </a:cubicBezTo>
                  <a:cubicBezTo>
                    <a:pt x="423" y="2577"/>
                    <a:pt x="423" y="2577"/>
                    <a:pt x="423" y="2577"/>
                  </a:cubicBezTo>
                  <a:cubicBezTo>
                    <a:pt x="423" y="2577"/>
                    <a:pt x="423" y="2577"/>
                    <a:pt x="423" y="2577"/>
                  </a:cubicBezTo>
                  <a:cubicBezTo>
                    <a:pt x="427" y="2577"/>
                    <a:pt x="427" y="2577"/>
                    <a:pt x="427" y="2577"/>
                  </a:cubicBezTo>
                  <a:cubicBezTo>
                    <a:pt x="423" y="2577"/>
                    <a:pt x="423" y="2577"/>
                    <a:pt x="423" y="2577"/>
                  </a:cubicBezTo>
                  <a:cubicBezTo>
                    <a:pt x="423" y="2577"/>
                    <a:pt x="423" y="2577"/>
                    <a:pt x="423" y="2577"/>
                  </a:cubicBezTo>
                  <a:cubicBezTo>
                    <a:pt x="423" y="2577"/>
                    <a:pt x="423" y="2577"/>
                    <a:pt x="423" y="2577"/>
                  </a:cubicBezTo>
                  <a:cubicBezTo>
                    <a:pt x="422" y="2585"/>
                    <a:pt x="421" y="2592"/>
                    <a:pt x="421" y="2600"/>
                  </a:cubicBezTo>
                  <a:cubicBezTo>
                    <a:pt x="421" y="2599"/>
                    <a:pt x="421" y="2599"/>
                    <a:pt x="421" y="2599"/>
                  </a:cubicBezTo>
                  <a:cubicBezTo>
                    <a:pt x="421" y="2602"/>
                    <a:pt x="421" y="2603"/>
                    <a:pt x="420" y="2605"/>
                  </a:cubicBezTo>
                  <a:cubicBezTo>
                    <a:pt x="419" y="2607"/>
                    <a:pt x="418" y="2608"/>
                    <a:pt x="417" y="2610"/>
                  </a:cubicBezTo>
                  <a:cubicBezTo>
                    <a:pt x="411" y="2619"/>
                    <a:pt x="405" y="2627"/>
                    <a:pt x="399" y="2637"/>
                  </a:cubicBezTo>
                  <a:cubicBezTo>
                    <a:pt x="399" y="2637"/>
                    <a:pt x="399" y="2637"/>
                    <a:pt x="399" y="2637"/>
                  </a:cubicBezTo>
                  <a:cubicBezTo>
                    <a:pt x="399" y="2638"/>
                    <a:pt x="399" y="2638"/>
                    <a:pt x="399" y="2638"/>
                  </a:cubicBezTo>
                  <a:cubicBezTo>
                    <a:pt x="397" y="2641"/>
                    <a:pt x="396" y="2643"/>
                    <a:pt x="393" y="2645"/>
                  </a:cubicBezTo>
                  <a:cubicBezTo>
                    <a:pt x="393" y="2645"/>
                    <a:pt x="393" y="2645"/>
                    <a:pt x="393" y="2645"/>
                  </a:cubicBezTo>
                  <a:cubicBezTo>
                    <a:pt x="393" y="2645"/>
                    <a:pt x="393" y="2645"/>
                    <a:pt x="393" y="2645"/>
                  </a:cubicBezTo>
                  <a:cubicBezTo>
                    <a:pt x="387" y="2650"/>
                    <a:pt x="381" y="2655"/>
                    <a:pt x="375" y="2659"/>
                  </a:cubicBezTo>
                  <a:cubicBezTo>
                    <a:pt x="375" y="2659"/>
                    <a:pt x="375" y="2659"/>
                    <a:pt x="375" y="2659"/>
                  </a:cubicBezTo>
                  <a:cubicBezTo>
                    <a:pt x="363" y="2669"/>
                    <a:pt x="352" y="2679"/>
                    <a:pt x="340" y="2690"/>
                  </a:cubicBezTo>
                  <a:cubicBezTo>
                    <a:pt x="340" y="2690"/>
                    <a:pt x="340" y="2690"/>
                    <a:pt x="340" y="2690"/>
                  </a:cubicBezTo>
                  <a:cubicBezTo>
                    <a:pt x="337" y="2692"/>
                    <a:pt x="335" y="2694"/>
                    <a:pt x="333" y="2696"/>
                  </a:cubicBezTo>
                  <a:cubicBezTo>
                    <a:pt x="332" y="2698"/>
                    <a:pt x="331" y="2700"/>
                    <a:pt x="330" y="2702"/>
                  </a:cubicBezTo>
                  <a:cubicBezTo>
                    <a:pt x="329" y="2704"/>
                    <a:pt x="329" y="2706"/>
                    <a:pt x="329" y="2708"/>
                  </a:cubicBezTo>
                  <a:cubicBezTo>
                    <a:pt x="329" y="2711"/>
                    <a:pt x="330" y="2713"/>
                    <a:pt x="330" y="2715"/>
                  </a:cubicBezTo>
                  <a:cubicBezTo>
                    <a:pt x="331" y="2717"/>
                    <a:pt x="332" y="2719"/>
                    <a:pt x="332" y="2721"/>
                  </a:cubicBezTo>
                  <a:cubicBezTo>
                    <a:pt x="332" y="2721"/>
                    <a:pt x="332" y="2721"/>
                    <a:pt x="332" y="2721"/>
                  </a:cubicBezTo>
                  <a:cubicBezTo>
                    <a:pt x="339" y="2737"/>
                    <a:pt x="346" y="2752"/>
                    <a:pt x="353" y="2768"/>
                  </a:cubicBezTo>
                  <a:cubicBezTo>
                    <a:pt x="353" y="2768"/>
                    <a:pt x="353" y="2768"/>
                    <a:pt x="353" y="2768"/>
                  </a:cubicBezTo>
                  <a:cubicBezTo>
                    <a:pt x="356" y="2774"/>
                    <a:pt x="358" y="2779"/>
                    <a:pt x="359" y="2782"/>
                  </a:cubicBezTo>
                  <a:cubicBezTo>
                    <a:pt x="361" y="2788"/>
                    <a:pt x="362" y="2791"/>
                    <a:pt x="363" y="2795"/>
                  </a:cubicBezTo>
                  <a:cubicBezTo>
                    <a:pt x="363" y="2799"/>
                    <a:pt x="363" y="2804"/>
                    <a:pt x="363" y="2813"/>
                  </a:cubicBezTo>
                  <a:cubicBezTo>
                    <a:pt x="363" y="2815"/>
                    <a:pt x="363" y="2817"/>
                    <a:pt x="363" y="2820"/>
                  </a:cubicBezTo>
                  <a:cubicBezTo>
                    <a:pt x="363" y="2834"/>
                    <a:pt x="363" y="2847"/>
                    <a:pt x="363" y="2861"/>
                  </a:cubicBezTo>
                  <a:cubicBezTo>
                    <a:pt x="363" y="2861"/>
                    <a:pt x="363" y="2861"/>
                    <a:pt x="363" y="2861"/>
                  </a:cubicBezTo>
                  <a:cubicBezTo>
                    <a:pt x="363" y="2864"/>
                    <a:pt x="363" y="2867"/>
                    <a:pt x="363" y="2869"/>
                  </a:cubicBezTo>
                  <a:cubicBezTo>
                    <a:pt x="363" y="2869"/>
                    <a:pt x="363" y="2869"/>
                    <a:pt x="363" y="2869"/>
                  </a:cubicBezTo>
                  <a:cubicBezTo>
                    <a:pt x="363" y="2869"/>
                    <a:pt x="363" y="2869"/>
                    <a:pt x="363" y="2869"/>
                  </a:cubicBezTo>
                  <a:cubicBezTo>
                    <a:pt x="363" y="2883"/>
                    <a:pt x="362" y="2897"/>
                    <a:pt x="361" y="2911"/>
                  </a:cubicBezTo>
                  <a:cubicBezTo>
                    <a:pt x="361" y="2912"/>
                    <a:pt x="361" y="2912"/>
                    <a:pt x="361" y="2912"/>
                  </a:cubicBezTo>
                  <a:cubicBezTo>
                    <a:pt x="361" y="2914"/>
                    <a:pt x="362" y="2917"/>
                    <a:pt x="362" y="2920"/>
                  </a:cubicBezTo>
                  <a:cubicBezTo>
                    <a:pt x="363" y="2922"/>
                    <a:pt x="364" y="2924"/>
                    <a:pt x="366" y="2926"/>
                  </a:cubicBezTo>
                  <a:cubicBezTo>
                    <a:pt x="367" y="2928"/>
                    <a:pt x="368" y="2929"/>
                    <a:pt x="370" y="2930"/>
                  </a:cubicBezTo>
                  <a:cubicBezTo>
                    <a:pt x="372" y="2932"/>
                    <a:pt x="374" y="2933"/>
                    <a:pt x="377" y="2933"/>
                  </a:cubicBezTo>
                  <a:cubicBezTo>
                    <a:pt x="379" y="2934"/>
                    <a:pt x="381" y="2934"/>
                    <a:pt x="383" y="2934"/>
                  </a:cubicBezTo>
                  <a:cubicBezTo>
                    <a:pt x="383" y="2934"/>
                    <a:pt x="383" y="2934"/>
                    <a:pt x="383" y="2934"/>
                  </a:cubicBezTo>
                  <a:cubicBezTo>
                    <a:pt x="386" y="2935"/>
                    <a:pt x="389" y="2935"/>
                    <a:pt x="392" y="2935"/>
                  </a:cubicBezTo>
                  <a:cubicBezTo>
                    <a:pt x="393" y="2935"/>
                    <a:pt x="394" y="2935"/>
                    <a:pt x="394" y="2935"/>
                  </a:cubicBezTo>
                  <a:cubicBezTo>
                    <a:pt x="396" y="2935"/>
                    <a:pt x="397" y="2935"/>
                    <a:pt x="398" y="2935"/>
                  </a:cubicBezTo>
                  <a:cubicBezTo>
                    <a:pt x="398" y="2935"/>
                    <a:pt x="398" y="2935"/>
                    <a:pt x="398" y="2935"/>
                  </a:cubicBezTo>
                  <a:cubicBezTo>
                    <a:pt x="399" y="2935"/>
                    <a:pt x="400" y="2935"/>
                    <a:pt x="400" y="2935"/>
                  </a:cubicBezTo>
                  <a:cubicBezTo>
                    <a:pt x="400" y="2935"/>
                    <a:pt x="401" y="2935"/>
                    <a:pt x="401" y="2935"/>
                  </a:cubicBezTo>
                  <a:cubicBezTo>
                    <a:pt x="401" y="2933"/>
                    <a:pt x="401" y="2933"/>
                    <a:pt x="401" y="2933"/>
                  </a:cubicBezTo>
                  <a:cubicBezTo>
                    <a:pt x="401" y="2935"/>
                    <a:pt x="401" y="2935"/>
                    <a:pt x="401" y="2935"/>
                  </a:cubicBezTo>
                  <a:cubicBezTo>
                    <a:pt x="401" y="2935"/>
                    <a:pt x="401" y="2935"/>
                    <a:pt x="401" y="2935"/>
                  </a:cubicBezTo>
                  <a:cubicBezTo>
                    <a:pt x="401" y="2933"/>
                    <a:pt x="401" y="2933"/>
                    <a:pt x="401" y="2933"/>
                  </a:cubicBezTo>
                  <a:cubicBezTo>
                    <a:pt x="401" y="2935"/>
                    <a:pt x="401" y="2935"/>
                    <a:pt x="401" y="2935"/>
                  </a:cubicBezTo>
                  <a:cubicBezTo>
                    <a:pt x="402" y="2928"/>
                    <a:pt x="402" y="2928"/>
                    <a:pt x="402" y="2928"/>
                  </a:cubicBezTo>
                  <a:cubicBezTo>
                    <a:pt x="400" y="2934"/>
                    <a:pt x="400" y="2934"/>
                    <a:pt x="400" y="2934"/>
                  </a:cubicBezTo>
                  <a:cubicBezTo>
                    <a:pt x="400" y="2935"/>
                    <a:pt x="400" y="2935"/>
                    <a:pt x="401" y="2935"/>
                  </a:cubicBezTo>
                  <a:cubicBezTo>
                    <a:pt x="402" y="2928"/>
                    <a:pt x="402" y="2928"/>
                    <a:pt x="402" y="2928"/>
                  </a:cubicBezTo>
                  <a:cubicBezTo>
                    <a:pt x="400" y="2934"/>
                    <a:pt x="400" y="2934"/>
                    <a:pt x="400" y="2934"/>
                  </a:cubicBezTo>
                  <a:cubicBezTo>
                    <a:pt x="403" y="2926"/>
                    <a:pt x="403" y="2926"/>
                    <a:pt x="403" y="2926"/>
                  </a:cubicBezTo>
                  <a:cubicBezTo>
                    <a:pt x="398" y="2933"/>
                    <a:pt x="398" y="2933"/>
                    <a:pt x="398" y="2933"/>
                  </a:cubicBezTo>
                  <a:cubicBezTo>
                    <a:pt x="398" y="2934"/>
                    <a:pt x="399" y="2934"/>
                    <a:pt x="400" y="2934"/>
                  </a:cubicBezTo>
                  <a:cubicBezTo>
                    <a:pt x="403" y="2926"/>
                    <a:pt x="403" y="2926"/>
                    <a:pt x="403" y="2926"/>
                  </a:cubicBezTo>
                  <a:cubicBezTo>
                    <a:pt x="398" y="2933"/>
                    <a:pt x="398" y="2933"/>
                    <a:pt x="398" y="2933"/>
                  </a:cubicBezTo>
                  <a:cubicBezTo>
                    <a:pt x="403" y="2925"/>
                    <a:pt x="403" y="2925"/>
                    <a:pt x="403" y="2925"/>
                  </a:cubicBezTo>
                  <a:cubicBezTo>
                    <a:pt x="394" y="2930"/>
                    <a:pt x="394" y="2930"/>
                    <a:pt x="394" y="2930"/>
                  </a:cubicBezTo>
                  <a:cubicBezTo>
                    <a:pt x="395" y="2931"/>
                    <a:pt x="396" y="2933"/>
                    <a:pt x="398" y="2933"/>
                  </a:cubicBezTo>
                  <a:cubicBezTo>
                    <a:pt x="403" y="2925"/>
                    <a:pt x="403" y="2925"/>
                    <a:pt x="403" y="2925"/>
                  </a:cubicBezTo>
                  <a:cubicBezTo>
                    <a:pt x="394" y="2930"/>
                    <a:pt x="394" y="2930"/>
                    <a:pt x="394" y="2930"/>
                  </a:cubicBezTo>
                  <a:cubicBezTo>
                    <a:pt x="402" y="2926"/>
                    <a:pt x="402" y="2926"/>
                    <a:pt x="402" y="2926"/>
                  </a:cubicBezTo>
                  <a:cubicBezTo>
                    <a:pt x="394" y="2928"/>
                    <a:pt x="394" y="2928"/>
                    <a:pt x="394" y="2928"/>
                  </a:cubicBezTo>
                  <a:cubicBezTo>
                    <a:pt x="394" y="2928"/>
                    <a:pt x="394" y="2929"/>
                    <a:pt x="394" y="2930"/>
                  </a:cubicBezTo>
                  <a:cubicBezTo>
                    <a:pt x="402" y="2926"/>
                    <a:pt x="402" y="2926"/>
                    <a:pt x="402" y="2926"/>
                  </a:cubicBezTo>
                  <a:cubicBezTo>
                    <a:pt x="394" y="2928"/>
                    <a:pt x="394" y="2928"/>
                    <a:pt x="394" y="2928"/>
                  </a:cubicBezTo>
                  <a:cubicBezTo>
                    <a:pt x="397" y="2927"/>
                    <a:pt x="397" y="2927"/>
                    <a:pt x="397" y="2927"/>
                  </a:cubicBezTo>
                  <a:cubicBezTo>
                    <a:pt x="394" y="2928"/>
                    <a:pt x="394" y="2928"/>
                    <a:pt x="394" y="2928"/>
                  </a:cubicBezTo>
                  <a:cubicBezTo>
                    <a:pt x="394" y="2928"/>
                    <a:pt x="394" y="2928"/>
                    <a:pt x="394" y="2928"/>
                  </a:cubicBezTo>
                  <a:cubicBezTo>
                    <a:pt x="397" y="2927"/>
                    <a:pt x="397" y="2927"/>
                    <a:pt x="397" y="2927"/>
                  </a:cubicBezTo>
                  <a:cubicBezTo>
                    <a:pt x="394" y="2928"/>
                    <a:pt x="394" y="2928"/>
                    <a:pt x="394" y="2928"/>
                  </a:cubicBezTo>
                  <a:cubicBezTo>
                    <a:pt x="394" y="2928"/>
                    <a:pt x="394" y="2929"/>
                    <a:pt x="394" y="2930"/>
                  </a:cubicBezTo>
                  <a:cubicBezTo>
                    <a:pt x="394" y="2930"/>
                    <a:pt x="394" y="2930"/>
                    <a:pt x="394" y="2930"/>
                  </a:cubicBezTo>
                  <a:cubicBezTo>
                    <a:pt x="394" y="2931"/>
                    <a:pt x="394" y="2931"/>
                    <a:pt x="394" y="2931"/>
                  </a:cubicBezTo>
                  <a:cubicBezTo>
                    <a:pt x="394" y="2932"/>
                    <a:pt x="394" y="2934"/>
                    <a:pt x="394" y="2935"/>
                  </a:cubicBezTo>
                  <a:cubicBezTo>
                    <a:pt x="394" y="2935"/>
                    <a:pt x="394" y="2935"/>
                    <a:pt x="394" y="2935"/>
                  </a:cubicBezTo>
                  <a:cubicBezTo>
                    <a:pt x="393" y="2948"/>
                    <a:pt x="392" y="2962"/>
                    <a:pt x="392" y="2976"/>
                  </a:cubicBezTo>
                  <a:cubicBezTo>
                    <a:pt x="392" y="2976"/>
                    <a:pt x="392" y="2977"/>
                    <a:pt x="392" y="2977"/>
                  </a:cubicBezTo>
                  <a:cubicBezTo>
                    <a:pt x="392" y="2980"/>
                    <a:pt x="392" y="2982"/>
                    <a:pt x="393" y="2985"/>
                  </a:cubicBezTo>
                  <a:cubicBezTo>
                    <a:pt x="394" y="2988"/>
                    <a:pt x="395" y="2990"/>
                    <a:pt x="396" y="2992"/>
                  </a:cubicBezTo>
                  <a:cubicBezTo>
                    <a:pt x="398" y="2993"/>
                    <a:pt x="399" y="2995"/>
                    <a:pt x="401" y="2996"/>
                  </a:cubicBezTo>
                  <a:cubicBezTo>
                    <a:pt x="403" y="2997"/>
                    <a:pt x="405" y="2998"/>
                    <a:pt x="408" y="2999"/>
                  </a:cubicBezTo>
                  <a:cubicBezTo>
                    <a:pt x="410" y="2999"/>
                    <a:pt x="412" y="2999"/>
                    <a:pt x="414" y="3000"/>
                  </a:cubicBezTo>
                  <a:cubicBezTo>
                    <a:pt x="414" y="3000"/>
                    <a:pt x="414" y="3000"/>
                    <a:pt x="414" y="3000"/>
                  </a:cubicBezTo>
                  <a:cubicBezTo>
                    <a:pt x="420" y="3000"/>
                    <a:pt x="425" y="3000"/>
                    <a:pt x="430" y="3000"/>
                  </a:cubicBezTo>
                  <a:cubicBezTo>
                    <a:pt x="430" y="3000"/>
                    <a:pt x="430" y="3000"/>
                    <a:pt x="430" y="3000"/>
                  </a:cubicBezTo>
                  <a:cubicBezTo>
                    <a:pt x="440" y="3001"/>
                    <a:pt x="449" y="3001"/>
                    <a:pt x="458" y="3002"/>
                  </a:cubicBezTo>
                  <a:cubicBezTo>
                    <a:pt x="458" y="3002"/>
                    <a:pt x="458" y="3002"/>
                    <a:pt x="458" y="3002"/>
                  </a:cubicBezTo>
                  <a:cubicBezTo>
                    <a:pt x="459" y="3002"/>
                    <a:pt x="459" y="3002"/>
                    <a:pt x="460" y="3002"/>
                  </a:cubicBezTo>
                  <a:cubicBezTo>
                    <a:pt x="462" y="3002"/>
                    <a:pt x="465" y="3001"/>
                    <a:pt x="467" y="3000"/>
                  </a:cubicBezTo>
                  <a:cubicBezTo>
                    <a:pt x="469" y="3000"/>
                    <a:pt x="471" y="2999"/>
                    <a:pt x="473" y="2997"/>
                  </a:cubicBezTo>
                  <a:cubicBezTo>
                    <a:pt x="475" y="2995"/>
                    <a:pt x="476" y="2993"/>
                    <a:pt x="477" y="2991"/>
                  </a:cubicBezTo>
                  <a:cubicBezTo>
                    <a:pt x="478" y="2989"/>
                    <a:pt x="479" y="2987"/>
                    <a:pt x="479" y="2985"/>
                  </a:cubicBezTo>
                  <a:cubicBezTo>
                    <a:pt x="479" y="2985"/>
                    <a:pt x="479" y="2985"/>
                    <a:pt x="479" y="2985"/>
                  </a:cubicBezTo>
                  <a:cubicBezTo>
                    <a:pt x="479" y="2985"/>
                    <a:pt x="479" y="2985"/>
                    <a:pt x="479" y="2985"/>
                  </a:cubicBezTo>
                  <a:cubicBezTo>
                    <a:pt x="480" y="2982"/>
                    <a:pt x="480" y="2980"/>
                    <a:pt x="480" y="2979"/>
                  </a:cubicBezTo>
                  <a:cubicBezTo>
                    <a:pt x="480" y="2979"/>
                    <a:pt x="480" y="2979"/>
                    <a:pt x="480" y="2979"/>
                  </a:cubicBezTo>
                  <a:cubicBezTo>
                    <a:pt x="480" y="2978"/>
                    <a:pt x="480" y="2978"/>
                    <a:pt x="480" y="2978"/>
                  </a:cubicBezTo>
                  <a:cubicBezTo>
                    <a:pt x="480" y="2977"/>
                    <a:pt x="480" y="2977"/>
                    <a:pt x="480" y="2977"/>
                  </a:cubicBezTo>
                  <a:cubicBezTo>
                    <a:pt x="481" y="2963"/>
                    <a:pt x="481" y="2948"/>
                    <a:pt x="482" y="2933"/>
                  </a:cubicBezTo>
                  <a:cubicBezTo>
                    <a:pt x="482" y="2933"/>
                    <a:pt x="482" y="2933"/>
                    <a:pt x="482" y="2933"/>
                  </a:cubicBezTo>
                  <a:cubicBezTo>
                    <a:pt x="482" y="2933"/>
                    <a:pt x="482" y="2933"/>
                    <a:pt x="482" y="2933"/>
                  </a:cubicBezTo>
                  <a:cubicBezTo>
                    <a:pt x="482" y="2933"/>
                    <a:pt x="482" y="2933"/>
                    <a:pt x="482" y="2933"/>
                  </a:cubicBezTo>
                  <a:cubicBezTo>
                    <a:pt x="482" y="2933"/>
                    <a:pt x="482" y="2933"/>
                    <a:pt x="482" y="2933"/>
                  </a:cubicBezTo>
                  <a:cubicBezTo>
                    <a:pt x="477" y="2932"/>
                    <a:pt x="477" y="2932"/>
                    <a:pt x="477" y="2932"/>
                  </a:cubicBezTo>
                  <a:cubicBezTo>
                    <a:pt x="482" y="2934"/>
                    <a:pt x="482" y="2934"/>
                    <a:pt x="482" y="2934"/>
                  </a:cubicBezTo>
                  <a:cubicBezTo>
                    <a:pt x="482" y="2933"/>
                    <a:pt x="482" y="2933"/>
                    <a:pt x="482" y="2933"/>
                  </a:cubicBezTo>
                  <a:cubicBezTo>
                    <a:pt x="477" y="2932"/>
                    <a:pt x="477" y="2932"/>
                    <a:pt x="477" y="2932"/>
                  </a:cubicBezTo>
                  <a:cubicBezTo>
                    <a:pt x="482" y="2934"/>
                    <a:pt x="482" y="2934"/>
                    <a:pt x="482" y="2934"/>
                  </a:cubicBezTo>
                  <a:cubicBezTo>
                    <a:pt x="474" y="2931"/>
                    <a:pt x="474" y="2931"/>
                    <a:pt x="474" y="2931"/>
                  </a:cubicBezTo>
                  <a:cubicBezTo>
                    <a:pt x="480" y="2936"/>
                    <a:pt x="480" y="2936"/>
                    <a:pt x="480" y="2936"/>
                  </a:cubicBezTo>
                  <a:cubicBezTo>
                    <a:pt x="481" y="2935"/>
                    <a:pt x="481" y="2934"/>
                    <a:pt x="482" y="2934"/>
                  </a:cubicBezTo>
                  <a:cubicBezTo>
                    <a:pt x="474" y="2931"/>
                    <a:pt x="474" y="2931"/>
                    <a:pt x="474" y="2931"/>
                  </a:cubicBezTo>
                  <a:cubicBezTo>
                    <a:pt x="480" y="2936"/>
                    <a:pt x="480" y="2936"/>
                    <a:pt x="480" y="2936"/>
                  </a:cubicBezTo>
                  <a:cubicBezTo>
                    <a:pt x="474" y="2930"/>
                    <a:pt x="474" y="2930"/>
                    <a:pt x="474" y="2930"/>
                  </a:cubicBezTo>
                  <a:cubicBezTo>
                    <a:pt x="477" y="2938"/>
                    <a:pt x="477" y="2938"/>
                    <a:pt x="477" y="2938"/>
                  </a:cubicBezTo>
                  <a:cubicBezTo>
                    <a:pt x="478" y="2938"/>
                    <a:pt x="479" y="2937"/>
                    <a:pt x="480" y="2936"/>
                  </a:cubicBezTo>
                  <a:cubicBezTo>
                    <a:pt x="474" y="2930"/>
                    <a:pt x="474" y="2930"/>
                    <a:pt x="474" y="2930"/>
                  </a:cubicBezTo>
                  <a:cubicBezTo>
                    <a:pt x="477" y="2938"/>
                    <a:pt x="477" y="2938"/>
                    <a:pt x="477" y="2938"/>
                  </a:cubicBezTo>
                  <a:cubicBezTo>
                    <a:pt x="475" y="2933"/>
                    <a:pt x="475" y="2933"/>
                    <a:pt x="475" y="2933"/>
                  </a:cubicBezTo>
                  <a:cubicBezTo>
                    <a:pt x="475" y="2939"/>
                    <a:pt x="475" y="2939"/>
                    <a:pt x="475" y="2939"/>
                  </a:cubicBezTo>
                  <a:cubicBezTo>
                    <a:pt x="475" y="2939"/>
                    <a:pt x="476" y="2939"/>
                    <a:pt x="477" y="2938"/>
                  </a:cubicBezTo>
                  <a:cubicBezTo>
                    <a:pt x="475" y="2933"/>
                    <a:pt x="475" y="2933"/>
                    <a:pt x="475" y="2933"/>
                  </a:cubicBezTo>
                  <a:cubicBezTo>
                    <a:pt x="475" y="2939"/>
                    <a:pt x="475" y="2939"/>
                    <a:pt x="475" y="2939"/>
                  </a:cubicBezTo>
                  <a:cubicBezTo>
                    <a:pt x="475" y="2938"/>
                    <a:pt x="475" y="2938"/>
                    <a:pt x="475" y="2938"/>
                  </a:cubicBezTo>
                  <a:cubicBezTo>
                    <a:pt x="475" y="2939"/>
                    <a:pt x="475" y="2939"/>
                    <a:pt x="475" y="2939"/>
                  </a:cubicBezTo>
                  <a:cubicBezTo>
                    <a:pt x="475" y="2939"/>
                    <a:pt x="475" y="2939"/>
                    <a:pt x="475" y="2939"/>
                  </a:cubicBezTo>
                  <a:cubicBezTo>
                    <a:pt x="475" y="2938"/>
                    <a:pt x="475" y="2938"/>
                    <a:pt x="475" y="2938"/>
                  </a:cubicBezTo>
                  <a:cubicBezTo>
                    <a:pt x="475" y="2939"/>
                    <a:pt x="475" y="2939"/>
                    <a:pt x="475" y="2939"/>
                  </a:cubicBezTo>
                  <a:cubicBezTo>
                    <a:pt x="475" y="2939"/>
                    <a:pt x="475" y="2939"/>
                    <a:pt x="475" y="2939"/>
                  </a:cubicBezTo>
                  <a:cubicBezTo>
                    <a:pt x="475" y="2939"/>
                    <a:pt x="475" y="2939"/>
                    <a:pt x="475" y="2939"/>
                  </a:cubicBezTo>
                  <a:cubicBezTo>
                    <a:pt x="477" y="2939"/>
                    <a:pt x="480" y="2939"/>
                    <a:pt x="482" y="2939"/>
                  </a:cubicBezTo>
                  <a:cubicBezTo>
                    <a:pt x="484" y="2939"/>
                    <a:pt x="485" y="2939"/>
                    <a:pt x="487" y="2939"/>
                  </a:cubicBezTo>
                  <a:cubicBezTo>
                    <a:pt x="490" y="2939"/>
                    <a:pt x="492" y="2939"/>
                    <a:pt x="494" y="2939"/>
                  </a:cubicBezTo>
                  <a:cubicBezTo>
                    <a:pt x="494" y="2939"/>
                    <a:pt x="494" y="2939"/>
                    <a:pt x="494" y="2939"/>
                  </a:cubicBezTo>
                  <a:cubicBezTo>
                    <a:pt x="512" y="2940"/>
                    <a:pt x="529" y="2942"/>
                    <a:pt x="547" y="2943"/>
                  </a:cubicBezTo>
                  <a:cubicBezTo>
                    <a:pt x="548" y="2943"/>
                    <a:pt x="548" y="2943"/>
                    <a:pt x="548" y="2943"/>
                  </a:cubicBezTo>
                  <a:cubicBezTo>
                    <a:pt x="547" y="2943"/>
                    <a:pt x="547" y="2943"/>
                    <a:pt x="547" y="2943"/>
                  </a:cubicBezTo>
                  <a:cubicBezTo>
                    <a:pt x="561" y="2944"/>
                    <a:pt x="575" y="2945"/>
                    <a:pt x="589" y="2946"/>
                  </a:cubicBezTo>
                  <a:cubicBezTo>
                    <a:pt x="589" y="2946"/>
                    <a:pt x="589" y="2946"/>
                    <a:pt x="589" y="2946"/>
                  </a:cubicBezTo>
                  <a:cubicBezTo>
                    <a:pt x="590" y="2946"/>
                    <a:pt x="592" y="2946"/>
                    <a:pt x="593" y="2946"/>
                  </a:cubicBezTo>
                  <a:cubicBezTo>
                    <a:pt x="595" y="2946"/>
                    <a:pt x="598" y="2946"/>
                    <a:pt x="600" y="2945"/>
                  </a:cubicBezTo>
                  <a:cubicBezTo>
                    <a:pt x="602" y="2944"/>
                    <a:pt x="604" y="2944"/>
                    <a:pt x="606" y="2942"/>
                  </a:cubicBezTo>
                  <a:cubicBezTo>
                    <a:pt x="608" y="2941"/>
                    <a:pt x="609" y="2940"/>
                    <a:pt x="610" y="2938"/>
                  </a:cubicBezTo>
                  <a:cubicBezTo>
                    <a:pt x="612" y="2936"/>
                    <a:pt x="613" y="2933"/>
                    <a:pt x="613" y="2931"/>
                  </a:cubicBezTo>
                  <a:cubicBezTo>
                    <a:pt x="614" y="2929"/>
                    <a:pt x="614" y="2927"/>
                    <a:pt x="614" y="2925"/>
                  </a:cubicBezTo>
                  <a:cubicBezTo>
                    <a:pt x="614" y="2924"/>
                    <a:pt x="614" y="2922"/>
                    <a:pt x="614" y="2921"/>
                  </a:cubicBezTo>
                  <a:cubicBezTo>
                    <a:pt x="613" y="2914"/>
                    <a:pt x="612" y="2908"/>
                    <a:pt x="612" y="2903"/>
                  </a:cubicBezTo>
                  <a:cubicBezTo>
                    <a:pt x="612" y="2903"/>
                    <a:pt x="612" y="2903"/>
                    <a:pt x="612" y="2903"/>
                  </a:cubicBezTo>
                  <a:cubicBezTo>
                    <a:pt x="611" y="2890"/>
                    <a:pt x="611" y="2876"/>
                    <a:pt x="609" y="2862"/>
                  </a:cubicBezTo>
                  <a:cubicBezTo>
                    <a:pt x="609" y="2858"/>
                    <a:pt x="607" y="2854"/>
                    <a:pt x="606" y="2851"/>
                  </a:cubicBezTo>
                  <a:cubicBezTo>
                    <a:pt x="605" y="2848"/>
                    <a:pt x="604" y="2846"/>
                    <a:pt x="603" y="2844"/>
                  </a:cubicBezTo>
                  <a:cubicBezTo>
                    <a:pt x="603" y="2844"/>
                    <a:pt x="603" y="2844"/>
                    <a:pt x="603" y="2844"/>
                  </a:cubicBezTo>
                  <a:cubicBezTo>
                    <a:pt x="603" y="2842"/>
                    <a:pt x="602" y="2841"/>
                    <a:pt x="602" y="2840"/>
                  </a:cubicBezTo>
                  <a:cubicBezTo>
                    <a:pt x="602" y="2839"/>
                    <a:pt x="602" y="2839"/>
                    <a:pt x="602" y="2839"/>
                  </a:cubicBezTo>
                  <a:cubicBezTo>
                    <a:pt x="601" y="2839"/>
                    <a:pt x="601" y="2839"/>
                    <a:pt x="601" y="2839"/>
                  </a:cubicBezTo>
                  <a:cubicBezTo>
                    <a:pt x="602" y="2839"/>
                    <a:pt x="602" y="2839"/>
                    <a:pt x="602" y="2839"/>
                  </a:cubicBezTo>
                  <a:cubicBezTo>
                    <a:pt x="602" y="2839"/>
                    <a:pt x="602" y="2839"/>
                    <a:pt x="602" y="2839"/>
                  </a:cubicBezTo>
                  <a:cubicBezTo>
                    <a:pt x="601" y="2839"/>
                    <a:pt x="601" y="2839"/>
                    <a:pt x="601" y="2839"/>
                  </a:cubicBezTo>
                  <a:cubicBezTo>
                    <a:pt x="602" y="2839"/>
                    <a:pt x="602" y="2839"/>
                    <a:pt x="602" y="2839"/>
                  </a:cubicBezTo>
                  <a:cubicBezTo>
                    <a:pt x="598" y="2840"/>
                    <a:pt x="598" y="2840"/>
                    <a:pt x="598" y="2840"/>
                  </a:cubicBezTo>
                  <a:cubicBezTo>
                    <a:pt x="602" y="2840"/>
                    <a:pt x="602" y="2840"/>
                    <a:pt x="602" y="2840"/>
                  </a:cubicBezTo>
                  <a:cubicBezTo>
                    <a:pt x="602" y="2839"/>
                    <a:pt x="602" y="2839"/>
                    <a:pt x="602" y="2839"/>
                  </a:cubicBezTo>
                  <a:cubicBezTo>
                    <a:pt x="598" y="2840"/>
                    <a:pt x="598" y="2840"/>
                    <a:pt x="598" y="2840"/>
                  </a:cubicBezTo>
                  <a:cubicBezTo>
                    <a:pt x="602" y="2840"/>
                    <a:pt x="602" y="2840"/>
                    <a:pt x="602" y="2840"/>
                  </a:cubicBezTo>
                  <a:cubicBezTo>
                    <a:pt x="596" y="2840"/>
                    <a:pt x="596" y="2840"/>
                    <a:pt x="596" y="2840"/>
                  </a:cubicBezTo>
                  <a:cubicBezTo>
                    <a:pt x="601" y="2841"/>
                    <a:pt x="601" y="2841"/>
                    <a:pt x="601" y="2841"/>
                  </a:cubicBezTo>
                  <a:cubicBezTo>
                    <a:pt x="602" y="2840"/>
                    <a:pt x="602" y="2840"/>
                    <a:pt x="602" y="2840"/>
                  </a:cubicBezTo>
                  <a:cubicBezTo>
                    <a:pt x="596" y="2840"/>
                    <a:pt x="596" y="2840"/>
                    <a:pt x="596" y="2840"/>
                  </a:cubicBezTo>
                  <a:cubicBezTo>
                    <a:pt x="601" y="2841"/>
                    <a:pt x="601" y="2841"/>
                    <a:pt x="601" y="2841"/>
                  </a:cubicBezTo>
                  <a:cubicBezTo>
                    <a:pt x="601" y="2841"/>
                    <a:pt x="601" y="2841"/>
                    <a:pt x="601" y="2841"/>
                  </a:cubicBezTo>
                  <a:cubicBezTo>
                    <a:pt x="601" y="2841"/>
                    <a:pt x="601" y="2841"/>
                    <a:pt x="601" y="2841"/>
                  </a:cubicBezTo>
                  <a:cubicBezTo>
                    <a:pt x="606" y="2816"/>
                    <a:pt x="611" y="2791"/>
                    <a:pt x="616" y="2766"/>
                  </a:cubicBezTo>
                  <a:cubicBezTo>
                    <a:pt x="616" y="2766"/>
                    <a:pt x="616" y="2766"/>
                    <a:pt x="616" y="2766"/>
                  </a:cubicBezTo>
                  <a:cubicBezTo>
                    <a:pt x="616" y="2765"/>
                    <a:pt x="617" y="2764"/>
                    <a:pt x="617" y="2763"/>
                  </a:cubicBezTo>
                  <a:cubicBezTo>
                    <a:pt x="617" y="2763"/>
                    <a:pt x="617" y="2763"/>
                    <a:pt x="617" y="2763"/>
                  </a:cubicBezTo>
                  <a:cubicBezTo>
                    <a:pt x="612" y="2762"/>
                    <a:pt x="612" y="2762"/>
                    <a:pt x="612" y="2762"/>
                  </a:cubicBezTo>
                  <a:cubicBezTo>
                    <a:pt x="616" y="2764"/>
                    <a:pt x="616" y="2764"/>
                    <a:pt x="616" y="2764"/>
                  </a:cubicBezTo>
                  <a:cubicBezTo>
                    <a:pt x="617" y="2763"/>
                    <a:pt x="617" y="2763"/>
                    <a:pt x="617" y="2763"/>
                  </a:cubicBezTo>
                  <a:cubicBezTo>
                    <a:pt x="612" y="2762"/>
                    <a:pt x="612" y="2762"/>
                    <a:pt x="612" y="2762"/>
                  </a:cubicBezTo>
                  <a:cubicBezTo>
                    <a:pt x="616" y="2764"/>
                    <a:pt x="616" y="2764"/>
                    <a:pt x="616" y="2764"/>
                  </a:cubicBezTo>
                  <a:cubicBezTo>
                    <a:pt x="609" y="2760"/>
                    <a:pt x="609" y="2760"/>
                    <a:pt x="609" y="2760"/>
                  </a:cubicBezTo>
                  <a:cubicBezTo>
                    <a:pt x="615" y="2766"/>
                    <a:pt x="615" y="2766"/>
                    <a:pt x="615" y="2766"/>
                  </a:cubicBezTo>
                  <a:cubicBezTo>
                    <a:pt x="616" y="2765"/>
                    <a:pt x="616" y="2764"/>
                    <a:pt x="616" y="2764"/>
                  </a:cubicBezTo>
                  <a:cubicBezTo>
                    <a:pt x="609" y="2760"/>
                    <a:pt x="609" y="2760"/>
                    <a:pt x="609" y="2760"/>
                  </a:cubicBezTo>
                  <a:cubicBezTo>
                    <a:pt x="615" y="2766"/>
                    <a:pt x="615" y="2766"/>
                    <a:pt x="615" y="2766"/>
                  </a:cubicBezTo>
                  <a:cubicBezTo>
                    <a:pt x="608" y="2759"/>
                    <a:pt x="608" y="2759"/>
                    <a:pt x="608" y="2759"/>
                  </a:cubicBezTo>
                  <a:cubicBezTo>
                    <a:pt x="611" y="2768"/>
                    <a:pt x="611" y="2768"/>
                    <a:pt x="611" y="2768"/>
                  </a:cubicBezTo>
                  <a:cubicBezTo>
                    <a:pt x="612" y="2768"/>
                    <a:pt x="614" y="2767"/>
                    <a:pt x="615" y="2766"/>
                  </a:cubicBezTo>
                  <a:cubicBezTo>
                    <a:pt x="608" y="2759"/>
                    <a:pt x="608" y="2759"/>
                    <a:pt x="608" y="2759"/>
                  </a:cubicBezTo>
                  <a:cubicBezTo>
                    <a:pt x="611" y="2768"/>
                    <a:pt x="611" y="2768"/>
                    <a:pt x="611" y="2768"/>
                  </a:cubicBezTo>
                  <a:cubicBezTo>
                    <a:pt x="609" y="2761"/>
                    <a:pt x="609" y="2761"/>
                    <a:pt x="609" y="2761"/>
                  </a:cubicBezTo>
                  <a:cubicBezTo>
                    <a:pt x="609" y="2769"/>
                    <a:pt x="609" y="2769"/>
                    <a:pt x="609" y="2769"/>
                  </a:cubicBezTo>
                  <a:cubicBezTo>
                    <a:pt x="609" y="2769"/>
                    <a:pt x="610" y="2769"/>
                    <a:pt x="611" y="2768"/>
                  </a:cubicBezTo>
                  <a:cubicBezTo>
                    <a:pt x="609" y="2761"/>
                    <a:pt x="609" y="2761"/>
                    <a:pt x="609" y="2761"/>
                  </a:cubicBezTo>
                  <a:cubicBezTo>
                    <a:pt x="609" y="2769"/>
                    <a:pt x="609" y="2769"/>
                    <a:pt x="609" y="2769"/>
                  </a:cubicBezTo>
                  <a:cubicBezTo>
                    <a:pt x="609" y="2765"/>
                    <a:pt x="609" y="2765"/>
                    <a:pt x="609" y="2765"/>
                  </a:cubicBezTo>
                  <a:cubicBezTo>
                    <a:pt x="608" y="2769"/>
                    <a:pt x="608" y="2769"/>
                    <a:pt x="608" y="2769"/>
                  </a:cubicBezTo>
                  <a:cubicBezTo>
                    <a:pt x="609" y="2769"/>
                    <a:pt x="609" y="2769"/>
                    <a:pt x="609" y="2769"/>
                  </a:cubicBezTo>
                  <a:cubicBezTo>
                    <a:pt x="609" y="2765"/>
                    <a:pt x="609" y="2765"/>
                    <a:pt x="609" y="2765"/>
                  </a:cubicBezTo>
                  <a:cubicBezTo>
                    <a:pt x="608" y="2769"/>
                    <a:pt x="608" y="2769"/>
                    <a:pt x="608" y="2769"/>
                  </a:cubicBezTo>
                  <a:cubicBezTo>
                    <a:pt x="608" y="2768"/>
                    <a:pt x="608" y="2768"/>
                    <a:pt x="608" y="2768"/>
                  </a:cubicBezTo>
                  <a:cubicBezTo>
                    <a:pt x="608" y="2769"/>
                    <a:pt x="608" y="2769"/>
                    <a:pt x="608" y="2769"/>
                  </a:cubicBezTo>
                  <a:cubicBezTo>
                    <a:pt x="608" y="2769"/>
                    <a:pt x="608" y="2769"/>
                    <a:pt x="608" y="2769"/>
                  </a:cubicBezTo>
                  <a:cubicBezTo>
                    <a:pt x="608" y="2768"/>
                    <a:pt x="608" y="2768"/>
                    <a:pt x="608" y="2768"/>
                  </a:cubicBezTo>
                  <a:cubicBezTo>
                    <a:pt x="608" y="2769"/>
                    <a:pt x="608" y="2769"/>
                    <a:pt x="608" y="2769"/>
                  </a:cubicBezTo>
                  <a:cubicBezTo>
                    <a:pt x="609" y="2769"/>
                    <a:pt x="610" y="2769"/>
                    <a:pt x="612" y="2769"/>
                  </a:cubicBezTo>
                  <a:cubicBezTo>
                    <a:pt x="627" y="2772"/>
                    <a:pt x="643" y="2776"/>
                    <a:pt x="658" y="2778"/>
                  </a:cubicBezTo>
                  <a:cubicBezTo>
                    <a:pt x="658" y="2778"/>
                    <a:pt x="658" y="2778"/>
                    <a:pt x="658" y="2778"/>
                  </a:cubicBezTo>
                  <a:cubicBezTo>
                    <a:pt x="661" y="2779"/>
                    <a:pt x="663" y="2779"/>
                    <a:pt x="666" y="2779"/>
                  </a:cubicBezTo>
                  <a:cubicBezTo>
                    <a:pt x="668" y="2779"/>
                    <a:pt x="670" y="2779"/>
                    <a:pt x="673" y="2778"/>
                  </a:cubicBezTo>
                  <a:cubicBezTo>
                    <a:pt x="674" y="2777"/>
                    <a:pt x="676" y="2776"/>
                    <a:pt x="678" y="2775"/>
                  </a:cubicBezTo>
                  <a:cubicBezTo>
                    <a:pt x="680" y="2773"/>
                    <a:pt x="681" y="2770"/>
                    <a:pt x="682" y="2769"/>
                  </a:cubicBezTo>
                  <a:cubicBezTo>
                    <a:pt x="682" y="2767"/>
                    <a:pt x="683" y="2766"/>
                    <a:pt x="683" y="2764"/>
                  </a:cubicBezTo>
                  <a:cubicBezTo>
                    <a:pt x="683" y="2764"/>
                    <a:pt x="683" y="2764"/>
                    <a:pt x="683" y="2764"/>
                  </a:cubicBezTo>
                  <a:cubicBezTo>
                    <a:pt x="685" y="2761"/>
                    <a:pt x="685" y="2758"/>
                    <a:pt x="685" y="2756"/>
                  </a:cubicBezTo>
                  <a:cubicBezTo>
                    <a:pt x="685" y="2756"/>
                    <a:pt x="685" y="2756"/>
                    <a:pt x="685" y="2756"/>
                  </a:cubicBezTo>
                  <a:cubicBezTo>
                    <a:pt x="685" y="2756"/>
                    <a:pt x="685" y="2756"/>
                    <a:pt x="685" y="2756"/>
                  </a:cubicBezTo>
                  <a:cubicBezTo>
                    <a:pt x="688" y="2743"/>
                    <a:pt x="690" y="2729"/>
                    <a:pt x="693" y="2716"/>
                  </a:cubicBezTo>
                  <a:cubicBezTo>
                    <a:pt x="693" y="2716"/>
                    <a:pt x="693" y="2716"/>
                    <a:pt x="693" y="2716"/>
                  </a:cubicBezTo>
                  <a:cubicBezTo>
                    <a:pt x="693" y="2715"/>
                    <a:pt x="694" y="2713"/>
                    <a:pt x="694" y="2713"/>
                  </a:cubicBezTo>
                  <a:cubicBezTo>
                    <a:pt x="694" y="2712"/>
                    <a:pt x="694" y="2712"/>
                    <a:pt x="694" y="2712"/>
                  </a:cubicBezTo>
                  <a:cubicBezTo>
                    <a:pt x="694" y="2712"/>
                    <a:pt x="694" y="2712"/>
                    <a:pt x="694" y="2712"/>
                  </a:cubicBezTo>
                  <a:cubicBezTo>
                    <a:pt x="689" y="2711"/>
                    <a:pt x="689" y="2711"/>
                    <a:pt x="689" y="2711"/>
                  </a:cubicBezTo>
                  <a:cubicBezTo>
                    <a:pt x="693" y="2713"/>
                    <a:pt x="693" y="2713"/>
                    <a:pt x="693" y="2713"/>
                  </a:cubicBezTo>
                  <a:cubicBezTo>
                    <a:pt x="694" y="2713"/>
                    <a:pt x="694" y="2712"/>
                    <a:pt x="694" y="2712"/>
                  </a:cubicBezTo>
                  <a:cubicBezTo>
                    <a:pt x="689" y="2711"/>
                    <a:pt x="689" y="2711"/>
                    <a:pt x="689" y="2711"/>
                  </a:cubicBezTo>
                  <a:cubicBezTo>
                    <a:pt x="693" y="2713"/>
                    <a:pt x="693" y="2713"/>
                    <a:pt x="693" y="2713"/>
                  </a:cubicBezTo>
                  <a:cubicBezTo>
                    <a:pt x="686" y="2709"/>
                    <a:pt x="686" y="2709"/>
                    <a:pt x="686" y="2709"/>
                  </a:cubicBezTo>
                  <a:cubicBezTo>
                    <a:pt x="692" y="2715"/>
                    <a:pt x="692" y="2715"/>
                    <a:pt x="692" y="2715"/>
                  </a:cubicBezTo>
                  <a:cubicBezTo>
                    <a:pt x="693" y="2714"/>
                    <a:pt x="693" y="2714"/>
                    <a:pt x="693" y="2713"/>
                  </a:cubicBezTo>
                  <a:cubicBezTo>
                    <a:pt x="686" y="2709"/>
                    <a:pt x="686" y="2709"/>
                    <a:pt x="686" y="2709"/>
                  </a:cubicBezTo>
                  <a:cubicBezTo>
                    <a:pt x="692" y="2715"/>
                    <a:pt x="692" y="2715"/>
                    <a:pt x="692" y="2715"/>
                  </a:cubicBezTo>
                  <a:cubicBezTo>
                    <a:pt x="686" y="2708"/>
                    <a:pt x="686" y="2708"/>
                    <a:pt x="686" y="2708"/>
                  </a:cubicBezTo>
                  <a:cubicBezTo>
                    <a:pt x="689" y="2717"/>
                    <a:pt x="689" y="2717"/>
                    <a:pt x="689" y="2717"/>
                  </a:cubicBezTo>
                  <a:cubicBezTo>
                    <a:pt x="690" y="2717"/>
                    <a:pt x="691" y="2716"/>
                    <a:pt x="692" y="2715"/>
                  </a:cubicBezTo>
                  <a:cubicBezTo>
                    <a:pt x="686" y="2708"/>
                    <a:pt x="686" y="2708"/>
                    <a:pt x="686" y="2708"/>
                  </a:cubicBezTo>
                  <a:cubicBezTo>
                    <a:pt x="689" y="2717"/>
                    <a:pt x="689" y="2717"/>
                    <a:pt x="689" y="2717"/>
                  </a:cubicBezTo>
                  <a:cubicBezTo>
                    <a:pt x="686" y="2710"/>
                    <a:pt x="686" y="2710"/>
                    <a:pt x="686" y="2710"/>
                  </a:cubicBezTo>
                  <a:cubicBezTo>
                    <a:pt x="686" y="2717"/>
                    <a:pt x="686" y="2717"/>
                    <a:pt x="686" y="2717"/>
                  </a:cubicBezTo>
                  <a:cubicBezTo>
                    <a:pt x="687" y="2717"/>
                    <a:pt x="687" y="2717"/>
                    <a:pt x="689" y="2717"/>
                  </a:cubicBezTo>
                  <a:cubicBezTo>
                    <a:pt x="686" y="2710"/>
                    <a:pt x="686" y="2710"/>
                    <a:pt x="686" y="2710"/>
                  </a:cubicBezTo>
                  <a:cubicBezTo>
                    <a:pt x="686" y="2717"/>
                    <a:pt x="686" y="2717"/>
                    <a:pt x="686" y="2717"/>
                  </a:cubicBezTo>
                  <a:cubicBezTo>
                    <a:pt x="686" y="2715"/>
                    <a:pt x="686" y="2715"/>
                    <a:pt x="686" y="2715"/>
                  </a:cubicBezTo>
                  <a:cubicBezTo>
                    <a:pt x="686" y="2717"/>
                    <a:pt x="686" y="2717"/>
                    <a:pt x="686" y="2717"/>
                  </a:cubicBezTo>
                  <a:cubicBezTo>
                    <a:pt x="686" y="2717"/>
                    <a:pt x="686" y="2717"/>
                    <a:pt x="686" y="2717"/>
                  </a:cubicBezTo>
                  <a:cubicBezTo>
                    <a:pt x="686" y="2715"/>
                    <a:pt x="686" y="2715"/>
                    <a:pt x="686" y="2715"/>
                  </a:cubicBezTo>
                  <a:cubicBezTo>
                    <a:pt x="686" y="2717"/>
                    <a:pt x="686" y="2717"/>
                    <a:pt x="686" y="2717"/>
                  </a:cubicBezTo>
                  <a:cubicBezTo>
                    <a:pt x="686" y="2717"/>
                    <a:pt x="687" y="2717"/>
                    <a:pt x="687" y="2718"/>
                  </a:cubicBezTo>
                  <a:cubicBezTo>
                    <a:pt x="688" y="2718"/>
                    <a:pt x="689" y="2718"/>
                    <a:pt x="691" y="2718"/>
                  </a:cubicBezTo>
                  <a:cubicBezTo>
                    <a:pt x="723" y="2725"/>
                    <a:pt x="755" y="2731"/>
                    <a:pt x="788" y="2737"/>
                  </a:cubicBezTo>
                  <a:cubicBezTo>
                    <a:pt x="788" y="2737"/>
                    <a:pt x="788" y="2737"/>
                    <a:pt x="788" y="2737"/>
                  </a:cubicBezTo>
                  <a:cubicBezTo>
                    <a:pt x="804" y="2741"/>
                    <a:pt x="821" y="2745"/>
                    <a:pt x="838" y="2748"/>
                  </a:cubicBezTo>
                  <a:cubicBezTo>
                    <a:pt x="838" y="2748"/>
                    <a:pt x="838" y="2748"/>
                    <a:pt x="838" y="2748"/>
                  </a:cubicBezTo>
                  <a:cubicBezTo>
                    <a:pt x="838" y="2748"/>
                    <a:pt x="838" y="2748"/>
                    <a:pt x="838" y="2748"/>
                  </a:cubicBezTo>
                  <a:cubicBezTo>
                    <a:pt x="839" y="2746"/>
                    <a:pt x="839" y="2746"/>
                    <a:pt x="839" y="2746"/>
                  </a:cubicBezTo>
                  <a:cubicBezTo>
                    <a:pt x="838" y="2748"/>
                    <a:pt x="838" y="2748"/>
                    <a:pt x="838" y="2748"/>
                  </a:cubicBezTo>
                  <a:cubicBezTo>
                    <a:pt x="838" y="2748"/>
                    <a:pt x="838" y="2748"/>
                    <a:pt x="838" y="2748"/>
                  </a:cubicBezTo>
                  <a:cubicBezTo>
                    <a:pt x="839" y="2746"/>
                    <a:pt x="839" y="2746"/>
                    <a:pt x="839" y="2746"/>
                  </a:cubicBezTo>
                  <a:cubicBezTo>
                    <a:pt x="838" y="2748"/>
                    <a:pt x="838" y="2748"/>
                    <a:pt x="838" y="2748"/>
                  </a:cubicBezTo>
                  <a:cubicBezTo>
                    <a:pt x="840" y="2743"/>
                    <a:pt x="840" y="2743"/>
                    <a:pt x="840" y="2743"/>
                  </a:cubicBezTo>
                  <a:cubicBezTo>
                    <a:pt x="837" y="2747"/>
                    <a:pt x="837" y="2747"/>
                    <a:pt x="837" y="2747"/>
                  </a:cubicBezTo>
                  <a:cubicBezTo>
                    <a:pt x="837" y="2748"/>
                    <a:pt x="838" y="2748"/>
                    <a:pt x="838" y="2748"/>
                  </a:cubicBezTo>
                  <a:cubicBezTo>
                    <a:pt x="840" y="2743"/>
                    <a:pt x="840" y="2743"/>
                    <a:pt x="840" y="2743"/>
                  </a:cubicBezTo>
                  <a:cubicBezTo>
                    <a:pt x="837" y="2747"/>
                    <a:pt x="837" y="2747"/>
                    <a:pt x="837" y="2747"/>
                  </a:cubicBezTo>
                  <a:cubicBezTo>
                    <a:pt x="842" y="2741"/>
                    <a:pt x="842" y="2741"/>
                    <a:pt x="842" y="2741"/>
                  </a:cubicBezTo>
                  <a:cubicBezTo>
                    <a:pt x="834" y="2744"/>
                    <a:pt x="834" y="2744"/>
                    <a:pt x="834" y="2744"/>
                  </a:cubicBezTo>
                  <a:cubicBezTo>
                    <a:pt x="835" y="2746"/>
                    <a:pt x="836" y="2747"/>
                    <a:pt x="837" y="2747"/>
                  </a:cubicBezTo>
                  <a:cubicBezTo>
                    <a:pt x="842" y="2741"/>
                    <a:pt x="842" y="2741"/>
                    <a:pt x="842" y="2741"/>
                  </a:cubicBezTo>
                  <a:cubicBezTo>
                    <a:pt x="834" y="2744"/>
                    <a:pt x="834" y="2744"/>
                    <a:pt x="834" y="2744"/>
                  </a:cubicBezTo>
                  <a:cubicBezTo>
                    <a:pt x="841" y="2741"/>
                    <a:pt x="841" y="2741"/>
                    <a:pt x="841" y="2741"/>
                  </a:cubicBezTo>
                  <a:cubicBezTo>
                    <a:pt x="833" y="2741"/>
                    <a:pt x="833" y="2741"/>
                    <a:pt x="833" y="2741"/>
                  </a:cubicBezTo>
                  <a:cubicBezTo>
                    <a:pt x="833" y="2742"/>
                    <a:pt x="833" y="2743"/>
                    <a:pt x="834" y="2744"/>
                  </a:cubicBezTo>
                  <a:cubicBezTo>
                    <a:pt x="841" y="2741"/>
                    <a:pt x="841" y="2741"/>
                    <a:pt x="841" y="2741"/>
                  </a:cubicBezTo>
                  <a:cubicBezTo>
                    <a:pt x="833" y="2741"/>
                    <a:pt x="833" y="2741"/>
                    <a:pt x="833" y="2741"/>
                  </a:cubicBezTo>
                  <a:cubicBezTo>
                    <a:pt x="837" y="2741"/>
                    <a:pt x="837" y="2741"/>
                    <a:pt x="837" y="2741"/>
                  </a:cubicBezTo>
                  <a:cubicBezTo>
                    <a:pt x="833" y="2740"/>
                    <a:pt x="833" y="2740"/>
                    <a:pt x="833" y="2740"/>
                  </a:cubicBezTo>
                  <a:cubicBezTo>
                    <a:pt x="833" y="2741"/>
                    <a:pt x="833" y="2741"/>
                    <a:pt x="833" y="2741"/>
                  </a:cubicBezTo>
                  <a:cubicBezTo>
                    <a:pt x="837" y="2741"/>
                    <a:pt x="837" y="2741"/>
                    <a:pt x="837" y="2741"/>
                  </a:cubicBezTo>
                  <a:cubicBezTo>
                    <a:pt x="833" y="2740"/>
                    <a:pt x="833" y="2740"/>
                    <a:pt x="833" y="2740"/>
                  </a:cubicBezTo>
                  <a:cubicBezTo>
                    <a:pt x="835" y="2741"/>
                    <a:pt x="835" y="2741"/>
                    <a:pt x="835" y="2741"/>
                  </a:cubicBezTo>
                  <a:cubicBezTo>
                    <a:pt x="833" y="2740"/>
                    <a:pt x="833" y="2740"/>
                    <a:pt x="833" y="2740"/>
                  </a:cubicBezTo>
                  <a:cubicBezTo>
                    <a:pt x="833" y="2740"/>
                    <a:pt x="833" y="2740"/>
                    <a:pt x="833" y="2740"/>
                  </a:cubicBezTo>
                  <a:cubicBezTo>
                    <a:pt x="835" y="2741"/>
                    <a:pt x="835" y="2741"/>
                    <a:pt x="835" y="2741"/>
                  </a:cubicBezTo>
                  <a:cubicBezTo>
                    <a:pt x="833" y="2740"/>
                    <a:pt x="833" y="2740"/>
                    <a:pt x="833" y="2740"/>
                  </a:cubicBezTo>
                  <a:cubicBezTo>
                    <a:pt x="833" y="2740"/>
                    <a:pt x="833" y="2740"/>
                    <a:pt x="833" y="2740"/>
                  </a:cubicBezTo>
                  <a:cubicBezTo>
                    <a:pt x="833" y="2741"/>
                    <a:pt x="833" y="2741"/>
                    <a:pt x="833" y="2741"/>
                  </a:cubicBezTo>
                  <a:cubicBezTo>
                    <a:pt x="833" y="2743"/>
                    <a:pt x="833" y="2745"/>
                    <a:pt x="832" y="2747"/>
                  </a:cubicBezTo>
                  <a:cubicBezTo>
                    <a:pt x="832" y="2747"/>
                    <a:pt x="832" y="2747"/>
                    <a:pt x="832" y="2747"/>
                  </a:cubicBezTo>
                  <a:cubicBezTo>
                    <a:pt x="832" y="2747"/>
                    <a:pt x="832" y="2747"/>
                    <a:pt x="832" y="2747"/>
                  </a:cubicBezTo>
                  <a:cubicBezTo>
                    <a:pt x="828" y="2766"/>
                    <a:pt x="824" y="2786"/>
                    <a:pt x="819" y="2805"/>
                  </a:cubicBezTo>
                  <a:cubicBezTo>
                    <a:pt x="819" y="2805"/>
                    <a:pt x="819" y="2805"/>
                    <a:pt x="819" y="2805"/>
                  </a:cubicBezTo>
                  <a:cubicBezTo>
                    <a:pt x="818" y="2814"/>
                    <a:pt x="817" y="2822"/>
                    <a:pt x="816" y="2829"/>
                  </a:cubicBezTo>
                  <a:cubicBezTo>
                    <a:pt x="809" y="2862"/>
                    <a:pt x="803" y="2896"/>
                    <a:pt x="797" y="2929"/>
                  </a:cubicBezTo>
                  <a:cubicBezTo>
                    <a:pt x="797" y="2929"/>
                    <a:pt x="797" y="2929"/>
                    <a:pt x="797" y="2929"/>
                  </a:cubicBezTo>
                  <a:cubicBezTo>
                    <a:pt x="793" y="2947"/>
                    <a:pt x="789" y="2965"/>
                    <a:pt x="786" y="2983"/>
                  </a:cubicBezTo>
                  <a:cubicBezTo>
                    <a:pt x="786" y="2983"/>
                    <a:pt x="786" y="2983"/>
                    <a:pt x="786" y="2983"/>
                  </a:cubicBezTo>
                  <a:cubicBezTo>
                    <a:pt x="786" y="2983"/>
                    <a:pt x="786" y="2983"/>
                    <a:pt x="786" y="2983"/>
                  </a:cubicBezTo>
                  <a:cubicBezTo>
                    <a:pt x="785" y="2983"/>
                    <a:pt x="785" y="2983"/>
                    <a:pt x="785" y="2983"/>
                  </a:cubicBezTo>
                  <a:cubicBezTo>
                    <a:pt x="786" y="2983"/>
                    <a:pt x="786" y="2983"/>
                    <a:pt x="786" y="2983"/>
                  </a:cubicBezTo>
                  <a:cubicBezTo>
                    <a:pt x="786" y="2983"/>
                    <a:pt x="786" y="2983"/>
                    <a:pt x="786" y="2983"/>
                  </a:cubicBezTo>
                  <a:cubicBezTo>
                    <a:pt x="785" y="2983"/>
                    <a:pt x="785" y="2983"/>
                    <a:pt x="785" y="2983"/>
                  </a:cubicBezTo>
                  <a:cubicBezTo>
                    <a:pt x="786" y="2983"/>
                    <a:pt x="786" y="2983"/>
                    <a:pt x="786" y="2983"/>
                  </a:cubicBezTo>
                  <a:cubicBezTo>
                    <a:pt x="786" y="2983"/>
                    <a:pt x="786" y="2983"/>
                    <a:pt x="786" y="2983"/>
                  </a:cubicBezTo>
                  <a:cubicBezTo>
                    <a:pt x="789" y="2985"/>
                    <a:pt x="789" y="2985"/>
                    <a:pt x="789" y="2985"/>
                  </a:cubicBezTo>
                  <a:cubicBezTo>
                    <a:pt x="786" y="2983"/>
                    <a:pt x="786" y="2983"/>
                    <a:pt x="786" y="2983"/>
                  </a:cubicBezTo>
                  <a:cubicBezTo>
                    <a:pt x="786" y="2983"/>
                    <a:pt x="786" y="2983"/>
                    <a:pt x="786" y="2983"/>
                  </a:cubicBezTo>
                  <a:cubicBezTo>
                    <a:pt x="789" y="2985"/>
                    <a:pt x="789" y="2985"/>
                    <a:pt x="789" y="2985"/>
                  </a:cubicBezTo>
                  <a:cubicBezTo>
                    <a:pt x="786" y="2983"/>
                    <a:pt x="786" y="2983"/>
                    <a:pt x="786" y="2983"/>
                  </a:cubicBezTo>
                  <a:cubicBezTo>
                    <a:pt x="791" y="2986"/>
                    <a:pt x="791" y="2986"/>
                    <a:pt x="791" y="2986"/>
                  </a:cubicBezTo>
                  <a:cubicBezTo>
                    <a:pt x="788" y="2981"/>
                    <a:pt x="788" y="2981"/>
                    <a:pt x="788" y="2981"/>
                  </a:cubicBezTo>
                  <a:cubicBezTo>
                    <a:pt x="788" y="2981"/>
                    <a:pt x="786" y="2982"/>
                    <a:pt x="786" y="2983"/>
                  </a:cubicBezTo>
                  <a:cubicBezTo>
                    <a:pt x="791" y="2986"/>
                    <a:pt x="791" y="2986"/>
                    <a:pt x="791" y="2986"/>
                  </a:cubicBezTo>
                  <a:cubicBezTo>
                    <a:pt x="788" y="2981"/>
                    <a:pt x="788" y="2981"/>
                    <a:pt x="788" y="2981"/>
                  </a:cubicBezTo>
                  <a:cubicBezTo>
                    <a:pt x="790" y="2985"/>
                    <a:pt x="790" y="2985"/>
                    <a:pt x="790" y="2985"/>
                  </a:cubicBezTo>
                  <a:cubicBezTo>
                    <a:pt x="789" y="2980"/>
                    <a:pt x="789" y="2980"/>
                    <a:pt x="789" y="2980"/>
                  </a:cubicBezTo>
                  <a:cubicBezTo>
                    <a:pt x="789" y="2980"/>
                    <a:pt x="789" y="2981"/>
                    <a:pt x="788" y="2981"/>
                  </a:cubicBezTo>
                  <a:cubicBezTo>
                    <a:pt x="790" y="2985"/>
                    <a:pt x="790" y="2985"/>
                    <a:pt x="790" y="2985"/>
                  </a:cubicBezTo>
                  <a:cubicBezTo>
                    <a:pt x="789" y="2980"/>
                    <a:pt x="789" y="2980"/>
                    <a:pt x="789" y="2980"/>
                  </a:cubicBezTo>
                  <a:cubicBezTo>
                    <a:pt x="790" y="2983"/>
                    <a:pt x="790" y="2983"/>
                    <a:pt x="790" y="2983"/>
                  </a:cubicBezTo>
                  <a:cubicBezTo>
                    <a:pt x="790" y="2980"/>
                    <a:pt x="790" y="2980"/>
                    <a:pt x="790" y="2980"/>
                  </a:cubicBezTo>
                  <a:cubicBezTo>
                    <a:pt x="789" y="2980"/>
                    <a:pt x="789" y="2980"/>
                    <a:pt x="789" y="2980"/>
                  </a:cubicBezTo>
                  <a:cubicBezTo>
                    <a:pt x="790" y="2983"/>
                    <a:pt x="790" y="2983"/>
                    <a:pt x="790" y="2983"/>
                  </a:cubicBezTo>
                  <a:cubicBezTo>
                    <a:pt x="790" y="2980"/>
                    <a:pt x="790" y="2980"/>
                    <a:pt x="790" y="2980"/>
                  </a:cubicBezTo>
                  <a:cubicBezTo>
                    <a:pt x="790" y="2980"/>
                    <a:pt x="790" y="2980"/>
                    <a:pt x="790" y="2980"/>
                  </a:cubicBezTo>
                  <a:cubicBezTo>
                    <a:pt x="790" y="2980"/>
                    <a:pt x="790" y="2980"/>
                    <a:pt x="790" y="2980"/>
                  </a:cubicBezTo>
                  <a:cubicBezTo>
                    <a:pt x="790" y="2980"/>
                    <a:pt x="790" y="2980"/>
                    <a:pt x="790" y="2980"/>
                  </a:cubicBezTo>
                  <a:cubicBezTo>
                    <a:pt x="790" y="2980"/>
                    <a:pt x="790" y="2980"/>
                    <a:pt x="790" y="2980"/>
                  </a:cubicBezTo>
                  <a:cubicBezTo>
                    <a:pt x="790" y="2980"/>
                    <a:pt x="790" y="2980"/>
                    <a:pt x="790" y="2980"/>
                  </a:cubicBezTo>
                  <a:cubicBezTo>
                    <a:pt x="790" y="2980"/>
                    <a:pt x="790" y="2980"/>
                    <a:pt x="790" y="2980"/>
                  </a:cubicBezTo>
                  <a:cubicBezTo>
                    <a:pt x="790" y="2980"/>
                    <a:pt x="790" y="2980"/>
                    <a:pt x="790" y="2980"/>
                  </a:cubicBezTo>
                  <a:cubicBezTo>
                    <a:pt x="789" y="2980"/>
                    <a:pt x="788" y="2980"/>
                    <a:pt x="788" y="2980"/>
                  </a:cubicBezTo>
                  <a:cubicBezTo>
                    <a:pt x="786" y="2980"/>
                    <a:pt x="784" y="2980"/>
                    <a:pt x="781" y="2981"/>
                  </a:cubicBezTo>
                  <a:cubicBezTo>
                    <a:pt x="780" y="2981"/>
                    <a:pt x="779" y="2982"/>
                    <a:pt x="777" y="2983"/>
                  </a:cubicBezTo>
                  <a:cubicBezTo>
                    <a:pt x="776" y="2984"/>
                    <a:pt x="774" y="2985"/>
                    <a:pt x="772" y="2987"/>
                  </a:cubicBezTo>
                  <a:cubicBezTo>
                    <a:pt x="772" y="2987"/>
                    <a:pt x="772" y="2987"/>
                    <a:pt x="772" y="2987"/>
                  </a:cubicBezTo>
                  <a:cubicBezTo>
                    <a:pt x="769" y="2991"/>
                    <a:pt x="769" y="2994"/>
                    <a:pt x="768" y="2996"/>
                  </a:cubicBezTo>
                  <a:cubicBezTo>
                    <a:pt x="768" y="2997"/>
                    <a:pt x="767" y="2998"/>
                    <a:pt x="767" y="2998"/>
                  </a:cubicBezTo>
                  <a:cubicBezTo>
                    <a:pt x="767" y="2998"/>
                    <a:pt x="767" y="2998"/>
                    <a:pt x="767" y="2998"/>
                  </a:cubicBezTo>
                  <a:cubicBezTo>
                    <a:pt x="769" y="2999"/>
                    <a:pt x="769" y="2999"/>
                    <a:pt x="769" y="2999"/>
                  </a:cubicBezTo>
                  <a:cubicBezTo>
                    <a:pt x="767" y="2998"/>
                    <a:pt x="767" y="2998"/>
                    <a:pt x="767" y="2998"/>
                  </a:cubicBezTo>
                  <a:cubicBezTo>
                    <a:pt x="767" y="2998"/>
                    <a:pt x="767" y="2998"/>
                    <a:pt x="767" y="2998"/>
                  </a:cubicBezTo>
                  <a:cubicBezTo>
                    <a:pt x="769" y="2999"/>
                    <a:pt x="769" y="2999"/>
                    <a:pt x="769" y="2999"/>
                  </a:cubicBezTo>
                  <a:cubicBezTo>
                    <a:pt x="767" y="2998"/>
                    <a:pt x="767" y="2998"/>
                    <a:pt x="767" y="2998"/>
                  </a:cubicBezTo>
                  <a:cubicBezTo>
                    <a:pt x="767" y="2998"/>
                    <a:pt x="767" y="2998"/>
                    <a:pt x="767" y="2998"/>
                  </a:cubicBezTo>
                  <a:cubicBezTo>
                    <a:pt x="767" y="2998"/>
                    <a:pt x="767" y="2998"/>
                    <a:pt x="767" y="2998"/>
                  </a:cubicBezTo>
                  <a:cubicBezTo>
                    <a:pt x="771" y="3001"/>
                    <a:pt x="771" y="3001"/>
                    <a:pt x="771" y="3001"/>
                  </a:cubicBezTo>
                  <a:cubicBezTo>
                    <a:pt x="768" y="2997"/>
                    <a:pt x="768" y="2997"/>
                    <a:pt x="768" y="2997"/>
                  </a:cubicBezTo>
                  <a:cubicBezTo>
                    <a:pt x="768" y="2997"/>
                    <a:pt x="768" y="2998"/>
                    <a:pt x="767" y="2998"/>
                  </a:cubicBezTo>
                  <a:cubicBezTo>
                    <a:pt x="771" y="3001"/>
                    <a:pt x="771" y="3001"/>
                    <a:pt x="771" y="3001"/>
                  </a:cubicBezTo>
                  <a:cubicBezTo>
                    <a:pt x="768" y="2997"/>
                    <a:pt x="768" y="2997"/>
                    <a:pt x="768" y="2997"/>
                  </a:cubicBezTo>
                  <a:cubicBezTo>
                    <a:pt x="769" y="2999"/>
                    <a:pt x="769" y="2999"/>
                    <a:pt x="769" y="2999"/>
                  </a:cubicBezTo>
                  <a:cubicBezTo>
                    <a:pt x="768" y="2997"/>
                    <a:pt x="768" y="2997"/>
                    <a:pt x="768" y="2997"/>
                  </a:cubicBezTo>
                  <a:cubicBezTo>
                    <a:pt x="768" y="2997"/>
                    <a:pt x="768" y="2997"/>
                    <a:pt x="768" y="2997"/>
                  </a:cubicBezTo>
                  <a:cubicBezTo>
                    <a:pt x="769" y="2999"/>
                    <a:pt x="769" y="2999"/>
                    <a:pt x="769" y="2999"/>
                  </a:cubicBezTo>
                  <a:cubicBezTo>
                    <a:pt x="768" y="2997"/>
                    <a:pt x="768" y="2997"/>
                    <a:pt x="768" y="2997"/>
                  </a:cubicBezTo>
                  <a:cubicBezTo>
                    <a:pt x="768" y="2997"/>
                    <a:pt x="768" y="2997"/>
                    <a:pt x="768" y="2997"/>
                  </a:cubicBezTo>
                  <a:cubicBezTo>
                    <a:pt x="768" y="2997"/>
                    <a:pt x="767" y="2998"/>
                    <a:pt x="766" y="2998"/>
                  </a:cubicBezTo>
                  <a:cubicBezTo>
                    <a:pt x="765" y="2999"/>
                    <a:pt x="763" y="3000"/>
                    <a:pt x="761" y="3002"/>
                  </a:cubicBezTo>
                  <a:cubicBezTo>
                    <a:pt x="759" y="3004"/>
                    <a:pt x="758" y="3005"/>
                    <a:pt x="757" y="3007"/>
                  </a:cubicBezTo>
                  <a:cubicBezTo>
                    <a:pt x="756" y="3009"/>
                    <a:pt x="756" y="3010"/>
                    <a:pt x="755" y="3012"/>
                  </a:cubicBezTo>
                  <a:cubicBezTo>
                    <a:pt x="755" y="3012"/>
                    <a:pt x="755" y="3012"/>
                    <a:pt x="755" y="3012"/>
                  </a:cubicBezTo>
                  <a:cubicBezTo>
                    <a:pt x="754" y="3018"/>
                    <a:pt x="752" y="3024"/>
                    <a:pt x="751" y="3031"/>
                  </a:cubicBezTo>
                  <a:cubicBezTo>
                    <a:pt x="742" y="3077"/>
                    <a:pt x="733" y="3122"/>
                    <a:pt x="724" y="3168"/>
                  </a:cubicBezTo>
                  <a:cubicBezTo>
                    <a:pt x="722" y="3178"/>
                    <a:pt x="720" y="3188"/>
                    <a:pt x="719" y="3199"/>
                  </a:cubicBezTo>
                  <a:cubicBezTo>
                    <a:pt x="719" y="3201"/>
                    <a:pt x="718" y="3202"/>
                    <a:pt x="718" y="3204"/>
                  </a:cubicBezTo>
                  <a:cubicBezTo>
                    <a:pt x="718" y="3206"/>
                    <a:pt x="719" y="3208"/>
                    <a:pt x="719" y="3211"/>
                  </a:cubicBezTo>
                  <a:cubicBezTo>
                    <a:pt x="720" y="3213"/>
                    <a:pt x="721" y="3215"/>
                    <a:pt x="723" y="3216"/>
                  </a:cubicBezTo>
                  <a:cubicBezTo>
                    <a:pt x="724" y="3217"/>
                    <a:pt x="725" y="3218"/>
                    <a:pt x="726" y="3219"/>
                  </a:cubicBezTo>
                  <a:cubicBezTo>
                    <a:pt x="728" y="3220"/>
                    <a:pt x="730" y="3221"/>
                    <a:pt x="731" y="3221"/>
                  </a:cubicBezTo>
                  <a:cubicBezTo>
                    <a:pt x="733" y="3222"/>
                    <a:pt x="734" y="3222"/>
                    <a:pt x="735" y="3223"/>
                  </a:cubicBezTo>
                  <a:cubicBezTo>
                    <a:pt x="745" y="3225"/>
                    <a:pt x="755" y="3227"/>
                    <a:pt x="765" y="3228"/>
                  </a:cubicBezTo>
                  <a:cubicBezTo>
                    <a:pt x="765" y="3228"/>
                    <a:pt x="765" y="3228"/>
                    <a:pt x="765" y="3228"/>
                  </a:cubicBezTo>
                  <a:cubicBezTo>
                    <a:pt x="780" y="3231"/>
                    <a:pt x="796" y="3234"/>
                    <a:pt x="812" y="3237"/>
                  </a:cubicBezTo>
                  <a:cubicBezTo>
                    <a:pt x="812" y="3237"/>
                    <a:pt x="812" y="3237"/>
                    <a:pt x="812" y="3237"/>
                  </a:cubicBezTo>
                  <a:cubicBezTo>
                    <a:pt x="813" y="3233"/>
                    <a:pt x="813" y="3233"/>
                    <a:pt x="813" y="3233"/>
                  </a:cubicBezTo>
                  <a:cubicBezTo>
                    <a:pt x="811" y="3237"/>
                    <a:pt x="811" y="3237"/>
                    <a:pt x="811" y="3237"/>
                  </a:cubicBezTo>
                  <a:cubicBezTo>
                    <a:pt x="812" y="3237"/>
                    <a:pt x="812" y="3237"/>
                    <a:pt x="812" y="3237"/>
                  </a:cubicBezTo>
                  <a:cubicBezTo>
                    <a:pt x="813" y="3233"/>
                    <a:pt x="813" y="3233"/>
                    <a:pt x="813" y="3233"/>
                  </a:cubicBezTo>
                  <a:cubicBezTo>
                    <a:pt x="811" y="3237"/>
                    <a:pt x="811" y="3237"/>
                    <a:pt x="811" y="3237"/>
                  </a:cubicBezTo>
                  <a:cubicBezTo>
                    <a:pt x="815" y="3230"/>
                    <a:pt x="815" y="3230"/>
                    <a:pt x="815" y="3230"/>
                  </a:cubicBezTo>
                  <a:cubicBezTo>
                    <a:pt x="808" y="3234"/>
                    <a:pt x="808" y="3234"/>
                    <a:pt x="808" y="3234"/>
                  </a:cubicBezTo>
                  <a:cubicBezTo>
                    <a:pt x="809" y="3235"/>
                    <a:pt x="810" y="3236"/>
                    <a:pt x="811" y="3237"/>
                  </a:cubicBezTo>
                  <a:cubicBezTo>
                    <a:pt x="815" y="3230"/>
                    <a:pt x="815" y="3230"/>
                    <a:pt x="815" y="3230"/>
                  </a:cubicBezTo>
                  <a:cubicBezTo>
                    <a:pt x="808" y="3234"/>
                    <a:pt x="808" y="3234"/>
                    <a:pt x="808" y="3234"/>
                  </a:cubicBezTo>
                  <a:cubicBezTo>
                    <a:pt x="814" y="3230"/>
                    <a:pt x="814" y="3230"/>
                    <a:pt x="814" y="3230"/>
                  </a:cubicBezTo>
                  <a:cubicBezTo>
                    <a:pt x="807" y="3230"/>
                    <a:pt x="807" y="3230"/>
                    <a:pt x="807" y="3230"/>
                  </a:cubicBezTo>
                  <a:cubicBezTo>
                    <a:pt x="807" y="3231"/>
                    <a:pt x="807" y="3232"/>
                    <a:pt x="808" y="3234"/>
                  </a:cubicBezTo>
                  <a:cubicBezTo>
                    <a:pt x="814" y="3230"/>
                    <a:pt x="814" y="3230"/>
                    <a:pt x="814" y="3230"/>
                  </a:cubicBezTo>
                  <a:cubicBezTo>
                    <a:pt x="807" y="3230"/>
                    <a:pt x="807" y="3230"/>
                    <a:pt x="807" y="3230"/>
                  </a:cubicBezTo>
                  <a:cubicBezTo>
                    <a:pt x="810" y="3230"/>
                    <a:pt x="810" y="3230"/>
                    <a:pt x="810" y="3230"/>
                  </a:cubicBezTo>
                  <a:cubicBezTo>
                    <a:pt x="807" y="3230"/>
                    <a:pt x="807" y="3230"/>
                    <a:pt x="807" y="3230"/>
                  </a:cubicBezTo>
                  <a:cubicBezTo>
                    <a:pt x="807" y="3230"/>
                    <a:pt x="807" y="3230"/>
                    <a:pt x="807" y="3230"/>
                  </a:cubicBezTo>
                  <a:cubicBezTo>
                    <a:pt x="810" y="3230"/>
                    <a:pt x="810" y="3230"/>
                    <a:pt x="810" y="3230"/>
                  </a:cubicBezTo>
                  <a:cubicBezTo>
                    <a:pt x="807" y="3230"/>
                    <a:pt x="807" y="3230"/>
                    <a:pt x="807" y="3230"/>
                  </a:cubicBezTo>
                  <a:cubicBezTo>
                    <a:pt x="807" y="3230"/>
                    <a:pt x="807" y="3230"/>
                    <a:pt x="807" y="3230"/>
                  </a:cubicBezTo>
                  <a:cubicBezTo>
                    <a:pt x="807" y="3230"/>
                    <a:pt x="807" y="3230"/>
                    <a:pt x="807" y="3230"/>
                  </a:cubicBezTo>
                  <a:cubicBezTo>
                    <a:pt x="807" y="3230"/>
                    <a:pt x="807" y="3230"/>
                    <a:pt x="807" y="3230"/>
                  </a:cubicBezTo>
                  <a:cubicBezTo>
                    <a:pt x="807" y="3230"/>
                    <a:pt x="807" y="3230"/>
                    <a:pt x="807" y="3230"/>
                  </a:cubicBezTo>
                  <a:cubicBezTo>
                    <a:pt x="807" y="3230"/>
                    <a:pt x="807" y="3230"/>
                    <a:pt x="807" y="3230"/>
                  </a:cubicBezTo>
                  <a:cubicBezTo>
                    <a:pt x="807" y="3230"/>
                    <a:pt x="807" y="3230"/>
                    <a:pt x="807" y="3230"/>
                  </a:cubicBezTo>
                  <a:cubicBezTo>
                    <a:pt x="806" y="3237"/>
                    <a:pt x="805" y="3243"/>
                    <a:pt x="804" y="3248"/>
                  </a:cubicBezTo>
                  <a:cubicBezTo>
                    <a:pt x="804" y="3248"/>
                    <a:pt x="804" y="3248"/>
                    <a:pt x="804" y="3248"/>
                  </a:cubicBezTo>
                  <a:cubicBezTo>
                    <a:pt x="797" y="3282"/>
                    <a:pt x="790" y="3316"/>
                    <a:pt x="784" y="3349"/>
                  </a:cubicBezTo>
                  <a:cubicBezTo>
                    <a:pt x="784" y="3349"/>
                    <a:pt x="784" y="3349"/>
                    <a:pt x="784" y="3349"/>
                  </a:cubicBezTo>
                  <a:cubicBezTo>
                    <a:pt x="781" y="3364"/>
                    <a:pt x="778" y="3378"/>
                    <a:pt x="775" y="3393"/>
                  </a:cubicBezTo>
                  <a:cubicBezTo>
                    <a:pt x="775" y="3393"/>
                    <a:pt x="775" y="3393"/>
                    <a:pt x="775" y="3393"/>
                  </a:cubicBezTo>
                  <a:cubicBezTo>
                    <a:pt x="775" y="3393"/>
                    <a:pt x="775" y="3393"/>
                    <a:pt x="775" y="3393"/>
                  </a:cubicBezTo>
                  <a:cubicBezTo>
                    <a:pt x="775" y="3393"/>
                    <a:pt x="775" y="3393"/>
                    <a:pt x="775" y="3393"/>
                  </a:cubicBezTo>
                  <a:cubicBezTo>
                    <a:pt x="779" y="3394"/>
                    <a:pt x="779" y="3394"/>
                    <a:pt x="779" y="3394"/>
                  </a:cubicBezTo>
                  <a:cubicBezTo>
                    <a:pt x="776" y="3392"/>
                    <a:pt x="776" y="3392"/>
                    <a:pt x="776" y="3392"/>
                  </a:cubicBezTo>
                  <a:cubicBezTo>
                    <a:pt x="775" y="3393"/>
                    <a:pt x="775" y="3393"/>
                    <a:pt x="775" y="3393"/>
                  </a:cubicBezTo>
                  <a:cubicBezTo>
                    <a:pt x="779" y="3394"/>
                    <a:pt x="779" y="3394"/>
                    <a:pt x="779" y="3394"/>
                  </a:cubicBezTo>
                  <a:cubicBezTo>
                    <a:pt x="776" y="3392"/>
                    <a:pt x="776" y="3392"/>
                    <a:pt x="776" y="3392"/>
                  </a:cubicBezTo>
                  <a:cubicBezTo>
                    <a:pt x="783" y="3396"/>
                    <a:pt x="783" y="3396"/>
                    <a:pt x="783" y="3396"/>
                  </a:cubicBezTo>
                  <a:cubicBezTo>
                    <a:pt x="779" y="3389"/>
                    <a:pt x="779" y="3389"/>
                    <a:pt x="779" y="3389"/>
                  </a:cubicBezTo>
                  <a:cubicBezTo>
                    <a:pt x="777" y="3390"/>
                    <a:pt x="776" y="3391"/>
                    <a:pt x="776" y="3392"/>
                  </a:cubicBezTo>
                  <a:cubicBezTo>
                    <a:pt x="783" y="3396"/>
                    <a:pt x="783" y="3396"/>
                    <a:pt x="783" y="3396"/>
                  </a:cubicBezTo>
                  <a:cubicBezTo>
                    <a:pt x="779" y="3389"/>
                    <a:pt x="779" y="3389"/>
                    <a:pt x="779" y="3389"/>
                  </a:cubicBezTo>
                  <a:cubicBezTo>
                    <a:pt x="783" y="3396"/>
                    <a:pt x="783" y="3396"/>
                    <a:pt x="783" y="3396"/>
                  </a:cubicBezTo>
                  <a:cubicBezTo>
                    <a:pt x="783" y="3388"/>
                    <a:pt x="783" y="3388"/>
                    <a:pt x="783" y="3388"/>
                  </a:cubicBezTo>
                  <a:cubicBezTo>
                    <a:pt x="782" y="3388"/>
                    <a:pt x="780" y="3388"/>
                    <a:pt x="779" y="3389"/>
                  </a:cubicBezTo>
                  <a:cubicBezTo>
                    <a:pt x="783" y="3396"/>
                    <a:pt x="783" y="3396"/>
                    <a:pt x="783" y="3396"/>
                  </a:cubicBezTo>
                  <a:cubicBezTo>
                    <a:pt x="783" y="3388"/>
                    <a:pt x="783" y="3388"/>
                    <a:pt x="783" y="3388"/>
                  </a:cubicBezTo>
                  <a:cubicBezTo>
                    <a:pt x="783" y="3392"/>
                    <a:pt x="783" y="3392"/>
                    <a:pt x="783" y="3392"/>
                  </a:cubicBezTo>
                  <a:cubicBezTo>
                    <a:pt x="783" y="3388"/>
                    <a:pt x="783" y="3388"/>
                    <a:pt x="783" y="3388"/>
                  </a:cubicBezTo>
                  <a:cubicBezTo>
                    <a:pt x="783" y="3388"/>
                    <a:pt x="783" y="3388"/>
                    <a:pt x="783" y="3388"/>
                  </a:cubicBezTo>
                  <a:cubicBezTo>
                    <a:pt x="783" y="3392"/>
                    <a:pt x="783" y="3392"/>
                    <a:pt x="783" y="3392"/>
                  </a:cubicBezTo>
                  <a:cubicBezTo>
                    <a:pt x="783" y="3388"/>
                    <a:pt x="783" y="3388"/>
                    <a:pt x="783" y="3388"/>
                  </a:cubicBezTo>
                  <a:cubicBezTo>
                    <a:pt x="783" y="3389"/>
                    <a:pt x="783" y="3389"/>
                    <a:pt x="783" y="3389"/>
                  </a:cubicBezTo>
                  <a:cubicBezTo>
                    <a:pt x="783" y="3388"/>
                    <a:pt x="783" y="3388"/>
                    <a:pt x="783" y="3388"/>
                  </a:cubicBezTo>
                  <a:cubicBezTo>
                    <a:pt x="783" y="3388"/>
                    <a:pt x="783" y="3388"/>
                    <a:pt x="783" y="3388"/>
                  </a:cubicBezTo>
                  <a:cubicBezTo>
                    <a:pt x="783" y="3389"/>
                    <a:pt x="783" y="3389"/>
                    <a:pt x="783" y="3389"/>
                  </a:cubicBezTo>
                  <a:cubicBezTo>
                    <a:pt x="783" y="3388"/>
                    <a:pt x="783" y="3388"/>
                    <a:pt x="783" y="3388"/>
                  </a:cubicBezTo>
                  <a:cubicBezTo>
                    <a:pt x="783" y="3388"/>
                    <a:pt x="783" y="3388"/>
                    <a:pt x="783" y="3388"/>
                  </a:cubicBezTo>
                  <a:cubicBezTo>
                    <a:pt x="783" y="3388"/>
                    <a:pt x="783" y="3388"/>
                    <a:pt x="783" y="3388"/>
                  </a:cubicBezTo>
                  <a:cubicBezTo>
                    <a:pt x="778" y="3387"/>
                    <a:pt x="773" y="3386"/>
                    <a:pt x="768" y="3384"/>
                  </a:cubicBezTo>
                  <a:cubicBezTo>
                    <a:pt x="768" y="3384"/>
                    <a:pt x="768" y="3384"/>
                    <a:pt x="768" y="3384"/>
                  </a:cubicBezTo>
                  <a:cubicBezTo>
                    <a:pt x="764" y="3383"/>
                    <a:pt x="761" y="3383"/>
                    <a:pt x="757" y="3383"/>
                  </a:cubicBezTo>
                  <a:cubicBezTo>
                    <a:pt x="752" y="3383"/>
                    <a:pt x="747" y="3384"/>
                    <a:pt x="742" y="3386"/>
                  </a:cubicBezTo>
                  <a:cubicBezTo>
                    <a:pt x="738" y="3388"/>
                    <a:pt x="733" y="3391"/>
                    <a:pt x="730" y="3395"/>
                  </a:cubicBezTo>
                  <a:cubicBezTo>
                    <a:pt x="730" y="3395"/>
                    <a:pt x="730" y="3395"/>
                    <a:pt x="730" y="3395"/>
                  </a:cubicBezTo>
                  <a:cubicBezTo>
                    <a:pt x="727" y="3398"/>
                    <a:pt x="723" y="3401"/>
                    <a:pt x="718" y="3405"/>
                  </a:cubicBezTo>
                  <a:cubicBezTo>
                    <a:pt x="718" y="3405"/>
                    <a:pt x="718" y="3405"/>
                    <a:pt x="718" y="3405"/>
                  </a:cubicBezTo>
                  <a:cubicBezTo>
                    <a:pt x="718" y="3405"/>
                    <a:pt x="718" y="3405"/>
                    <a:pt x="718" y="3405"/>
                  </a:cubicBezTo>
                  <a:cubicBezTo>
                    <a:pt x="718" y="3406"/>
                    <a:pt x="718" y="3406"/>
                    <a:pt x="718" y="3406"/>
                  </a:cubicBezTo>
                  <a:cubicBezTo>
                    <a:pt x="721" y="3410"/>
                    <a:pt x="721" y="3410"/>
                    <a:pt x="721" y="3410"/>
                  </a:cubicBezTo>
                  <a:cubicBezTo>
                    <a:pt x="719" y="3405"/>
                    <a:pt x="719" y="3405"/>
                    <a:pt x="719" y="3405"/>
                  </a:cubicBezTo>
                  <a:cubicBezTo>
                    <a:pt x="718" y="3405"/>
                    <a:pt x="718" y="3406"/>
                    <a:pt x="718" y="3406"/>
                  </a:cubicBezTo>
                  <a:cubicBezTo>
                    <a:pt x="721" y="3410"/>
                    <a:pt x="721" y="3410"/>
                    <a:pt x="721" y="3410"/>
                  </a:cubicBezTo>
                  <a:cubicBezTo>
                    <a:pt x="719" y="3405"/>
                    <a:pt x="719" y="3405"/>
                    <a:pt x="719" y="3405"/>
                  </a:cubicBezTo>
                  <a:cubicBezTo>
                    <a:pt x="722" y="3413"/>
                    <a:pt x="722" y="3413"/>
                    <a:pt x="722" y="3413"/>
                  </a:cubicBezTo>
                  <a:cubicBezTo>
                    <a:pt x="722" y="3404"/>
                    <a:pt x="722" y="3404"/>
                    <a:pt x="722" y="3404"/>
                  </a:cubicBezTo>
                  <a:cubicBezTo>
                    <a:pt x="721" y="3404"/>
                    <a:pt x="720" y="3405"/>
                    <a:pt x="719" y="3405"/>
                  </a:cubicBezTo>
                  <a:cubicBezTo>
                    <a:pt x="722" y="3413"/>
                    <a:pt x="722" y="3413"/>
                    <a:pt x="722" y="3413"/>
                  </a:cubicBezTo>
                  <a:cubicBezTo>
                    <a:pt x="722" y="3404"/>
                    <a:pt x="722" y="3404"/>
                    <a:pt x="722" y="3404"/>
                  </a:cubicBezTo>
                  <a:cubicBezTo>
                    <a:pt x="722" y="3414"/>
                    <a:pt x="722" y="3414"/>
                    <a:pt x="722" y="3414"/>
                  </a:cubicBezTo>
                  <a:cubicBezTo>
                    <a:pt x="725" y="3405"/>
                    <a:pt x="725" y="3405"/>
                    <a:pt x="725" y="3405"/>
                  </a:cubicBezTo>
                  <a:cubicBezTo>
                    <a:pt x="724" y="3404"/>
                    <a:pt x="723" y="3404"/>
                    <a:pt x="722" y="3404"/>
                  </a:cubicBezTo>
                  <a:cubicBezTo>
                    <a:pt x="722" y="3414"/>
                    <a:pt x="722" y="3414"/>
                    <a:pt x="722" y="3414"/>
                  </a:cubicBezTo>
                  <a:cubicBezTo>
                    <a:pt x="725" y="3405"/>
                    <a:pt x="725" y="3405"/>
                    <a:pt x="725" y="3405"/>
                  </a:cubicBezTo>
                  <a:cubicBezTo>
                    <a:pt x="723" y="3412"/>
                    <a:pt x="723" y="3412"/>
                    <a:pt x="723" y="3412"/>
                  </a:cubicBezTo>
                  <a:cubicBezTo>
                    <a:pt x="728" y="3406"/>
                    <a:pt x="728" y="3406"/>
                    <a:pt x="728" y="3406"/>
                  </a:cubicBezTo>
                  <a:cubicBezTo>
                    <a:pt x="728" y="3406"/>
                    <a:pt x="727" y="3405"/>
                    <a:pt x="725" y="3405"/>
                  </a:cubicBezTo>
                  <a:cubicBezTo>
                    <a:pt x="723" y="3412"/>
                    <a:pt x="723" y="3412"/>
                    <a:pt x="723" y="3412"/>
                  </a:cubicBezTo>
                  <a:cubicBezTo>
                    <a:pt x="728" y="3406"/>
                    <a:pt x="728" y="3406"/>
                    <a:pt x="728" y="3406"/>
                  </a:cubicBezTo>
                  <a:cubicBezTo>
                    <a:pt x="725" y="3410"/>
                    <a:pt x="725" y="3410"/>
                    <a:pt x="725" y="3410"/>
                  </a:cubicBezTo>
                  <a:cubicBezTo>
                    <a:pt x="728" y="3407"/>
                    <a:pt x="728" y="3407"/>
                    <a:pt x="728" y="3407"/>
                  </a:cubicBezTo>
                  <a:cubicBezTo>
                    <a:pt x="728" y="3406"/>
                    <a:pt x="728" y="3406"/>
                    <a:pt x="728" y="3406"/>
                  </a:cubicBezTo>
                  <a:cubicBezTo>
                    <a:pt x="725" y="3410"/>
                    <a:pt x="725" y="3410"/>
                    <a:pt x="725" y="3410"/>
                  </a:cubicBezTo>
                  <a:cubicBezTo>
                    <a:pt x="728" y="3407"/>
                    <a:pt x="728" y="3407"/>
                    <a:pt x="728" y="3407"/>
                  </a:cubicBezTo>
                  <a:cubicBezTo>
                    <a:pt x="727" y="3408"/>
                    <a:pt x="727" y="3408"/>
                    <a:pt x="727" y="3408"/>
                  </a:cubicBezTo>
                  <a:cubicBezTo>
                    <a:pt x="729" y="3407"/>
                    <a:pt x="729" y="3407"/>
                    <a:pt x="729" y="3407"/>
                  </a:cubicBezTo>
                  <a:cubicBezTo>
                    <a:pt x="728" y="3407"/>
                    <a:pt x="728" y="3407"/>
                    <a:pt x="728" y="3407"/>
                  </a:cubicBezTo>
                  <a:cubicBezTo>
                    <a:pt x="727" y="3408"/>
                    <a:pt x="727" y="3408"/>
                    <a:pt x="727" y="3408"/>
                  </a:cubicBezTo>
                  <a:cubicBezTo>
                    <a:pt x="729" y="3407"/>
                    <a:pt x="729" y="3407"/>
                    <a:pt x="729" y="3407"/>
                  </a:cubicBezTo>
                  <a:cubicBezTo>
                    <a:pt x="729" y="3407"/>
                    <a:pt x="729" y="3407"/>
                    <a:pt x="729" y="3407"/>
                  </a:cubicBezTo>
                  <a:cubicBezTo>
                    <a:pt x="729" y="3407"/>
                    <a:pt x="729" y="3407"/>
                    <a:pt x="729" y="3407"/>
                  </a:cubicBezTo>
                  <a:cubicBezTo>
                    <a:pt x="727" y="3404"/>
                    <a:pt x="724" y="3402"/>
                    <a:pt x="721" y="3400"/>
                  </a:cubicBezTo>
                  <a:cubicBezTo>
                    <a:pt x="718" y="3398"/>
                    <a:pt x="715" y="3397"/>
                    <a:pt x="711" y="3397"/>
                  </a:cubicBezTo>
                  <a:cubicBezTo>
                    <a:pt x="709" y="3397"/>
                    <a:pt x="706" y="3398"/>
                    <a:pt x="704" y="3399"/>
                  </a:cubicBezTo>
                  <a:cubicBezTo>
                    <a:pt x="701" y="3400"/>
                    <a:pt x="699" y="3401"/>
                    <a:pt x="698" y="3402"/>
                  </a:cubicBezTo>
                  <a:cubicBezTo>
                    <a:pt x="698" y="3402"/>
                    <a:pt x="698" y="3402"/>
                    <a:pt x="698" y="3402"/>
                  </a:cubicBezTo>
                  <a:cubicBezTo>
                    <a:pt x="698" y="3402"/>
                    <a:pt x="698" y="3402"/>
                    <a:pt x="698" y="3402"/>
                  </a:cubicBezTo>
                  <a:cubicBezTo>
                    <a:pt x="691" y="3406"/>
                    <a:pt x="685" y="3409"/>
                    <a:pt x="677" y="3413"/>
                  </a:cubicBezTo>
                  <a:cubicBezTo>
                    <a:pt x="677" y="3413"/>
                    <a:pt x="677" y="3413"/>
                    <a:pt x="677" y="3413"/>
                  </a:cubicBezTo>
                  <a:cubicBezTo>
                    <a:pt x="660" y="3422"/>
                    <a:pt x="642" y="3431"/>
                    <a:pt x="624" y="3441"/>
                  </a:cubicBezTo>
                  <a:cubicBezTo>
                    <a:pt x="624" y="3441"/>
                    <a:pt x="624" y="3441"/>
                    <a:pt x="624" y="3441"/>
                  </a:cubicBezTo>
                  <a:cubicBezTo>
                    <a:pt x="622" y="3442"/>
                    <a:pt x="620" y="3443"/>
                    <a:pt x="619" y="3444"/>
                  </a:cubicBezTo>
                  <a:cubicBezTo>
                    <a:pt x="616" y="3446"/>
                    <a:pt x="613" y="3449"/>
                    <a:pt x="611" y="3453"/>
                  </a:cubicBezTo>
                  <a:cubicBezTo>
                    <a:pt x="609" y="3456"/>
                    <a:pt x="608" y="3460"/>
                    <a:pt x="608" y="3464"/>
                  </a:cubicBezTo>
                  <a:cubicBezTo>
                    <a:pt x="608" y="3464"/>
                    <a:pt x="608" y="3464"/>
                    <a:pt x="608" y="3464"/>
                  </a:cubicBezTo>
                  <a:cubicBezTo>
                    <a:pt x="606" y="3479"/>
                    <a:pt x="603" y="3495"/>
                    <a:pt x="600" y="3511"/>
                  </a:cubicBezTo>
                  <a:cubicBezTo>
                    <a:pt x="600" y="3511"/>
                    <a:pt x="600" y="3511"/>
                    <a:pt x="600" y="3511"/>
                  </a:cubicBezTo>
                  <a:cubicBezTo>
                    <a:pt x="599" y="3520"/>
                    <a:pt x="597" y="3529"/>
                    <a:pt x="597" y="3540"/>
                  </a:cubicBezTo>
                  <a:cubicBezTo>
                    <a:pt x="597" y="3546"/>
                    <a:pt x="598" y="3552"/>
                    <a:pt x="600" y="3558"/>
                  </a:cubicBezTo>
                  <a:cubicBezTo>
                    <a:pt x="608" y="3587"/>
                    <a:pt x="614" y="3616"/>
                    <a:pt x="621" y="3645"/>
                  </a:cubicBezTo>
                  <a:cubicBezTo>
                    <a:pt x="621" y="3645"/>
                    <a:pt x="621" y="3645"/>
                    <a:pt x="621" y="3645"/>
                  </a:cubicBezTo>
                  <a:cubicBezTo>
                    <a:pt x="621" y="3647"/>
                    <a:pt x="621" y="3647"/>
                    <a:pt x="621" y="3647"/>
                  </a:cubicBezTo>
                  <a:cubicBezTo>
                    <a:pt x="621" y="3647"/>
                    <a:pt x="621" y="3647"/>
                    <a:pt x="621" y="3647"/>
                  </a:cubicBezTo>
                  <a:cubicBezTo>
                    <a:pt x="624" y="3648"/>
                    <a:pt x="624" y="3648"/>
                    <a:pt x="624" y="3648"/>
                  </a:cubicBezTo>
                  <a:cubicBezTo>
                    <a:pt x="622" y="3647"/>
                    <a:pt x="622" y="3647"/>
                    <a:pt x="622" y="3647"/>
                  </a:cubicBezTo>
                  <a:cubicBezTo>
                    <a:pt x="622" y="3647"/>
                    <a:pt x="621" y="3647"/>
                    <a:pt x="621" y="3647"/>
                  </a:cubicBezTo>
                  <a:cubicBezTo>
                    <a:pt x="624" y="3648"/>
                    <a:pt x="624" y="3648"/>
                    <a:pt x="624" y="3648"/>
                  </a:cubicBezTo>
                  <a:cubicBezTo>
                    <a:pt x="622" y="3647"/>
                    <a:pt x="622" y="3647"/>
                    <a:pt x="622" y="3647"/>
                  </a:cubicBezTo>
                  <a:cubicBezTo>
                    <a:pt x="624" y="3648"/>
                    <a:pt x="624" y="3648"/>
                    <a:pt x="624" y="3648"/>
                  </a:cubicBezTo>
                  <a:cubicBezTo>
                    <a:pt x="622" y="3646"/>
                    <a:pt x="622" y="3646"/>
                    <a:pt x="622" y="3646"/>
                  </a:cubicBezTo>
                  <a:cubicBezTo>
                    <a:pt x="622" y="3647"/>
                    <a:pt x="622" y="3647"/>
                    <a:pt x="622" y="3647"/>
                  </a:cubicBezTo>
                  <a:cubicBezTo>
                    <a:pt x="624" y="3648"/>
                    <a:pt x="624" y="3648"/>
                    <a:pt x="624" y="3648"/>
                  </a:cubicBezTo>
                  <a:cubicBezTo>
                    <a:pt x="622" y="3646"/>
                    <a:pt x="622" y="3646"/>
                    <a:pt x="622" y="3646"/>
                  </a:cubicBezTo>
                  <a:cubicBezTo>
                    <a:pt x="623" y="3647"/>
                    <a:pt x="623" y="3647"/>
                    <a:pt x="623" y="3647"/>
                  </a:cubicBezTo>
                  <a:cubicBezTo>
                    <a:pt x="622" y="3646"/>
                    <a:pt x="622" y="3646"/>
                    <a:pt x="622" y="3646"/>
                  </a:cubicBezTo>
                  <a:cubicBezTo>
                    <a:pt x="622" y="3646"/>
                    <a:pt x="622" y="3646"/>
                    <a:pt x="622" y="3646"/>
                  </a:cubicBezTo>
                  <a:cubicBezTo>
                    <a:pt x="623" y="3647"/>
                    <a:pt x="623" y="3647"/>
                    <a:pt x="623" y="3647"/>
                  </a:cubicBezTo>
                  <a:cubicBezTo>
                    <a:pt x="622" y="3646"/>
                    <a:pt x="622" y="3646"/>
                    <a:pt x="622" y="3646"/>
                  </a:cubicBezTo>
                  <a:cubicBezTo>
                    <a:pt x="622" y="3646"/>
                    <a:pt x="622" y="3646"/>
                    <a:pt x="622" y="3646"/>
                  </a:cubicBezTo>
                  <a:cubicBezTo>
                    <a:pt x="622" y="3646"/>
                    <a:pt x="622" y="3646"/>
                    <a:pt x="622" y="3646"/>
                  </a:cubicBezTo>
                  <a:cubicBezTo>
                    <a:pt x="620" y="3648"/>
                    <a:pt x="617" y="3650"/>
                    <a:pt x="615" y="3653"/>
                  </a:cubicBezTo>
                  <a:cubicBezTo>
                    <a:pt x="614" y="3655"/>
                    <a:pt x="613" y="3656"/>
                    <a:pt x="612" y="3659"/>
                  </a:cubicBezTo>
                  <a:cubicBezTo>
                    <a:pt x="611" y="3661"/>
                    <a:pt x="611" y="3663"/>
                    <a:pt x="611" y="3665"/>
                  </a:cubicBezTo>
                  <a:cubicBezTo>
                    <a:pt x="611" y="3669"/>
                    <a:pt x="612" y="3673"/>
                    <a:pt x="614" y="3677"/>
                  </a:cubicBezTo>
                  <a:cubicBezTo>
                    <a:pt x="614" y="3677"/>
                    <a:pt x="614" y="3677"/>
                    <a:pt x="614" y="3677"/>
                  </a:cubicBezTo>
                  <a:cubicBezTo>
                    <a:pt x="614" y="3677"/>
                    <a:pt x="614" y="3677"/>
                    <a:pt x="614" y="3677"/>
                  </a:cubicBezTo>
                  <a:cubicBezTo>
                    <a:pt x="622" y="3672"/>
                    <a:pt x="622" y="3672"/>
                    <a:pt x="622" y="3672"/>
                  </a:cubicBezTo>
                  <a:cubicBezTo>
                    <a:pt x="613" y="3674"/>
                    <a:pt x="613" y="3674"/>
                    <a:pt x="613" y="3674"/>
                  </a:cubicBezTo>
                  <a:cubicBezTo>
                    <a:pt x="613" y="3675"/>
                    <a:pt x="614" y="3676"/>
                    <a:pt x="614" y="3677"/>
                  </a:cubicBezTo>
                  <a:cubicBezTo>
                    <a:pt x="622" y="3672"/>
                    <a:pt x="622" y="3672"/>
                    <a:pt x="622" y="3672"/>
                  </a:cubicBezTo>
                  <a:cubicBezTo>
                    <a:pt x="613" y="3674"/>
                    <a:pt x="613" y="3674"/>
                    <a:pt x="613" y="3674"/>
                  </a:cubicBezTo>
                  <a:cubicBezTo>
                    <a:pt x="620" y="3673"/>
                    <a:pt x="620" y="3673"/>
                    <a:pt x="620" y="3673"/>
                  </a:cubicBezTo>
                  <a:cubicBezTo>
                    <a:pt x="613" y="3673"/>
                    <a:pt x="613" y="3673"/>
                    <a:pt x="613" y="3673"/>
                  </a:cubicBezTo>
                  <a:cubicBezTo>
                    <a:pt x="613" y="3673"/>
                    <a:pt x="613" y="3673"/>
                    <a:pt x="613" y="3674"/>
                  </a:cubicBezTo>
                  <a:cubicBezTo>
                    <a:pt x="620" y="3673"/>
                    <a:pt x="620" y="3673"/>
                    <a:pt x="620" y="3673"/>
                  </a:cubicBezTo>
                  <a:cubicBezTo>
                    <a:pt x="613" y="3673"/>
                    <a:pt x="613" y="3673"/>
                    <a:pt x="613" y="3673"/>
                  </a:cubicBezTo>
                  <a:cubicBezTo>
                    <a:pt x="616" y="3673"/>
                    <a:pt x="616" y="3673"/>
                    <a:pt x="616" y="3673"/>
                  </a:cubicBezTo>
                  <a:cubicBezTo>
                    <a:pt x="613" y="3673"/>
                    <a:pt x="613" y="3673"/>
                    <a:pt x="613" y="3673"/>
                  </a:cubicBezTo>
                  <a:cubicBezTo>
                    <a:pt x="613" y="3673"/>
                    <a:pt x="613" y="3673"/>
                    <a:pt x="613" y="3673"/>
                  </a:cubicBezTo>
                  <a:cubicBezTo>
                    <a:pt x="616" y="3673"/>
                    <a:pt x="616" y="3673"/>
                    <a:pt x="616" y="3673"/>
                  </a:cubicBezTo>
                  <a:cubicBezTo>
                    <a:pt x="613" y="3673"/>
                    <a:pt x="613" y="3673"/>
                    <a:pt x="613" y="3673"/>
                  </a:cubicBezTo>
                  <a:cubicBezTo>
                    <a:pt x="613" y="3673"/>
                    <a:pt x="613" y="3673"/>
                    <a:pt x="613" y="3674"/>
                  </a:cubicBezTo>
                  <a:cubicBezTo>
                    <a:pt x="613" y="3674"/>
                    <a:pt x="613" y="3674"/>
                    <a:pt x="613" y="3674"/>
                  </a:cubicBezTo>
                  <a:cubicBezTo>
                    <a:pt x="612" y="3676"/>
                    <a:pt x="612" y="3678"/>
                    <a:pt x="612" y="3681"/>
                  </a:cubicBezTo>
                  <a:cubicBezTo>
                    <a:pt x="612" y="3683"/>
                    <a:pt x="612" y="3685"/>
                    <a:pt x="613" y="3688"/>
                  </a:cubicBezTo>
                  <a:cubicBezTo>
                    <a:pt x="614" y="3691"/>
                    <a:pt x="616" y="3694"/>
                    <a:pt x="618" y="3696"/>
                  </a:cubicBezTo>
                  <a:cubicBezTo>
                    <a:pt x="620" y="3699"/>
                    <a:pt x="623" y="3700"/>
                    <a:pt x="625" y="3702"/>
                  </a:cubicBezTo>
                  <a:cubicBezTo>
                    <a:pt x="625" y="3702"/>
                    <a:pt x="625" y="3702"/>
                    <a:pt x="625" y="3702"/>
                  </a:cubicBezTo>
                  <a:cubicBezTo>
                    <a:pt x="626" y="3702"/>
                    <a:pt x="627" y="3702"/>
                    <a:pt x="627" y="3703"/>
                  </a:cubicBezTo>
                  <a:cubicBezTo>
                    <a:pt x="628" y="3703"/>
                    <a:pt x="628" y="3703"/>
                    <a:pt x="628" y="3703"/>
                  </a:cubicBezTo>
                  <a:cubicBezTo>
                    <a:pt x="628" y="3703"/>
                    <a:pt x="628" y="3703"/>
                    <a:pt x="628" y="3703"/>
                  </a:cubicBezTo>
                  <a:cubicBezTo>
                    <a:pt x="628" y="3702"/>
                    <a:pt x="628" y="3702"/>
                    <a:pt x="628" y="3702"/>
                  </a:cubicBezTo>
                  <a:cubicBezTo>
                    <a:pt x="628" y="3703"/>
                    <a:pt x="628" y="3703"/>
                    <a:pt x="628" y="3703"/>
                  </a:cubicBezTo>
                  <a:cubicBezTo>
                    <a:pt x="628" y="3703"/>
                    <a:pt x="628" y="3703"/>
                    <a:pt x="628" y="3703"/>
                  </a:cubicBezTo>
                  <a:cubicBezTo>
                    <a:pt x="628" y="3702"/>
                    <a:pt x="628" y="3702"/>
                    <a:pt x="628" y="3702"/>
                  </a:cubicBezTo>
                  <a:cubicBezTo>
                    <a:pt x="628" y="3703"/>
                    <a:pt x="628" y="3703"/>
                    <a:pt x="628" y="3703"/>
                  </a:cubicBezTo>
                  <a:cubicBezTo>
                    <a:pt x="632" y="3698"/>
                    <a:pt x="632" y="3698"/>
                    <a:pt x="632" y="3698"/>
                  </a:cubicBezTo>
                  <a:cubicBezTo>
                    <a:pt x="626" y="3701"/>
                    <a:pt x="626" y="3701"/>
                    <a:pt x="626" y="3701"/>
                  </a:cubicBezTo>
                  <a:cubicBezTo>
                    <a:pt x="627" y="3702"/>
                    <a:pt x="627" y="3703"/>
                    <a:pt x="628" y="3703"/>
                  </a:cubicBezTo>
                  <a:cubicBezTo>
                    <a:pt x="632" y="3698"/>
                    <a:pt x="632" y="3698"/>
                    <a:pt x="632" y="3698"/>
                  </a:cubicBezTo>
                  <a:cubicBezTo>
                    <a:pt x="626" y="3701"/>
                    <a:pt x="626" y="3701"/>
                    <a:pt x="626" y="3701"/>
                  </a:cubicBezTo>
                  <a:cubicBezTo>
                    <a:pt x="634" y="3697"/>
                    <a:pt x="634" y="3697"/>
                    <a:pt x="634" y="3697"/>
                  </a:cubicBezTo>
                  <a:cubicBezTo>
                    <a:pt x="625" y="3697"/>
                    <a:pt x="625" y="3697"/>
                    <a:pt x="625" y="3697"/>
                  </a:cubicBezTo>
                  <a:cubicBezTo>
                    <a:pt x="625" y="3698"/>
                    <a:pt x="625" y="3700"/>
                    <a:pt x="626" y="3701"/>
                  </a:cubicBezTo>
                  <a:cubicBezTo>
                    <a:pt x="634" y="3697"/>
                    <a:pt x="634" y="3697"/>
                    <a:pt x="634" y="3697"/>
                  </a:cubicBezTo>
                  <a:cubicBezTo>
                    <a:pt x="625" y="3697"/>
                    <a:pt x="625" y="3697"/>
                    <a:pt x="625" y="3697"/>
                  </a:cubicBezTo>
                  <a:cubicBezTo>
                    <a:pt x="633" y="3697"/>
                    <a:pt x="633" y="3697"/>
                    <a:pt x="633" y="3697"/>
                  </a:cubicBezTo>
                  <a:cubicBezTo>
                    <a:pt x="625" y="3694"/>
                    <a:pt x="625" y="3694"/>
                    <a:pt x="625" y="3694"/>
                  </a:cubicBezTo>
                  <a:cubicBezTo>
                    <a:pt x="625" y="3695"/>
                    <a:pt x="625" y="3696"/>
                    <a:pt x="625" y="3697"/>
                  </a:cubicBezTo>
                  <a:cubicBezTo>
                    <a:pt x="633" y="3697"/>
                    <a:pt x="633" y="3697"/>
                    <a:pt x="633" y="3697"/>
                  </a:cubicBezTo>
                  <a:cubicBezTo>
                    <a:pt x="625" y="3694"/>
                    <a:pt x="625" y="3694"/>
                    <a:pt x="625" y="3694"/>
                  </a:cubicBezTo>
                  <a:cubicBezTo>
                    <a:pt x="629" y="3695"/>
                    <a:pt x="629" y="3695"/>
                    <a:pt x="629" y="3695"/>
                  </a:cubicBezTo>
                  <a:cubicBezTo>
                    <a:pt x="625" y="3694"/>
                    <a:pt x="625" y="3694"/>
                    <a:pt x="625" y="3694"/>
                  </a:cubicBezTo>
                  <a:cubicBezTo>
                    <a:pt x="625" y="3694"/>
                    <a:pt x="625" y="3694"/>
                    <a:pt x="625" y="3694"/>
                  </a:cubicBezTo>
                  <a:cubicBezTo>
                    <a:pt x="629" y="3695"/>
                    <a:pt x="629" y="3695"/>
                    <a:pt x="629" y="3695"/>
                  </a:cubicBezTo>
                  <a:cubicBezTo>
                    <a:pt x="625" y="3694"/>
                    <a:pt x="625" y="3694"/>
                    <a:pt x="625" y="3694"/>
                  </a:cubicBezTo>
                  <a:cubicBezTo>
                    <a:pt x="625" y="3694"/>
                    <a:pt x="625" y="3694"/>
                    <a:pt x="625" y="3694"/>
                  </a:cubicBezTo>
                  <a:cubicBezTo>
                    <a:pt x="625" y="3694"/>
                    <a:pt x="625" y="3695"/>
                    <a:pt x="624" y="3696"/>
                  </a:cubicBezTo>
                  <a:cubicBezTo>
                    <a:pt x="624" y="3696"/>
                    <a:pt x="624" y="3696"/>
                    <a:pt x="624" y="3696"/>
                  </a:cubicBezTo>
                  <a:cubicBezTo>
                    <a:pt x="624" y="3696"/>
                    <a:pt x="624" y="3696"/>
                    <a:pt x="624" y="3696"/>
                  </a:cubicBezTo>
                  <a:cubicBezTo>
                    <a:pt x="628" y="3699"/>
                    <a:pt x="628" y="3699"/>
                    <a:pt x="628" y="3699"/>
                  </a:cubicBezTo>
                  <a:cubicBezTo>
                    <a:pt x="624" y="3696"/>
                    <a:pt x="624" y="3696"/>
                    <a:pt x="624" y="3696"/>
                  </a:cubicBezTo>
                  <a:cubicBezTo>
                    <a:pt x="624" y="3696"/>
                    <a:pt x="624" y="3696"/>
                    <a:pt x="624" y="3696"/>
                  </a:cubicBezTo>
                  <a:cubicBezTo>
                    <a:pt x="628" y="3699"/>
                    <a:pt x="628" y="3699"/>
                    <a:pt x="628" y="3699"/>
                  </a:cubicBezTo>
                  <a:cubicBezTo>
                    <a:pt x="624" y="3696"/>
                    <a:pt x="624" y="3696"/>
                    <a:pt x="624" y="3696"/>
                  </a:cubicBezTo>
                  <a:cubicBezTo>
                    <a:pt x="626" y="3697"/>
                    <a:pt x="626" y="3697"/>
                    <a:pt x="626" y="3697"/>
                  </a:cubicBezTo>
                  <a:cubicBezTo>
                    <a:pt x="624" y="3696"/>
                    <a:pt x="624" y="3696"/>
                    <a:pt x="624" y="3696"/>
                  </a:cubicBezTo>
                  <a:cubicBezTo>
                    <a:pt x="624" y="3696"/>
                    <a:pt x="624" y="3696"/>
                    <a:pt x="624" y="3696"/>
                  </a:cubicBezTo>
                  <a:cubicBezTo>
                    <a:pt x="626" y="3697"/>
                    <a:pt x="626" y="3697"/>
                    <a:pt x="626" y="3697"/>
                  </a:cubicBezTo>
                  <a:cubicBezTo>
                    <a:pt x="624" y="3696"/>
                    <a:pt x="624" y="3696"/>
                    <a:pt x="624" y="3696"/>
                  </a:cubicBezTo>
                  <a:cubicBezTo>
                    <a:pt x="624" y="3696"/>
                    <a:pt x="624" y="3696"/>
                    <a:pt x="623" y="3697"/>
                  </a:cubicBezTo>
                  <a:cubicBezTo>
                    <a:pt x="623" y="3698"/>
                    <a:pt x="622" y="3698"/>
                    <a:pt x="621" y="3700"/>
                  </a:cubicBezTo>
                  <a:cubicBezTo>
                    <a:pt x="621" y="3700"/>
                    <a:pt x="621" y="3700"/>
                    <a:pt x="621" y="3700"/>
                  </a:cubicBezTo>
                  <a:cubicBezTo>
                    <a:pt x="620" y="3703"/>
                    <a:pt x="618" y="3707"/>
                    <a:pt x="618" y="3711"/>
                  </a:cubicBezTo>
                  <a:cubicBezTo>
                    <a:pt x="618" y="3713"/>
                    <a:pt x="619" y="3716"/>
                    <a:pt x="620" y="3718"/>
                  </a:cubicBezTo>
                  <a:cubicBezTo>
                    <a:pt x="621" y="3721"/>
                    <a:pt x="624" y="3724"/>
                    <a:pt x="627" y="3726"/>
                  </a:cubicBezTo>
                  <a:cubicBezTo>
                    <a:pt x="629" y="3728"/>
                    <a:pt x="632" y="3728"/>
                    <a:pt x="635" y="3729"/>
                  </a:cubicBezTo>
                  <a:cubicBezTo>
                    <a:pt x="635" y="3729"/>
                    <a:pt x="635" y="3729"/>
                    <a:pt x="635" y="3729"/>
                  </a:cubicBezTo>
                  <a:cubicBezTo>
                    <a:pt x="641" y="3730"/>
                    <a:pt x="646" y="3731"/>
                    <a:pt x="650" y="3731"/>
                  </a:cubicBezTo>
                  <a:cubicBezTo>
                    <a:pt x="650" y="3731"/>
                    <a:pt x="650" y="3731"/>
                    <a:pt x="650" y="3731"/>
                  </a:cubicBezTo>
                  <a:cubicBezTo>
                    <a:pt x="655" y="3732"/>
                    <a:pt x="658" y="3733"/>
                    <a:pt x="660" y="3733"/>
                  </a:cubicBezTo>
                  <a:cubicBezTo>
                    <a:pt x="661" y="3734"/>
                    <a:pt x="662" y="3734"/>
                    <a:pt x="663" y="3735"/>
                  </a:cubicBezTo>
                  <a:cubicBezTo>
                    <a:pt x="663" y="3735"/>
                    <a:pt x="664" y="3735"/>
                    <a:pt x="664" y="3736"/>
                  </a:cubicBezTo>
                  <a:cubicBezTo>
                    <a:pt x="664" y="3736"/>
                    <a:pt x="664" y="3736"/>
                    <a:pt x="664" y="3736"/>
                  </a:cubicBezTo>
                  <a:cubicBezTo>
                    <a:pt x="665" y="3737"/>
                    <a:pt x="666" y="3738"/>
                    <a:pt x="666" y="3738"/>
                  </a:cubicBezTo>
                  <a:cubicBezTo>
                    <a:pt x="666" y="3738"/>
                    <a:pt x="666" y="3738"/>
                    <a:pt x="666" y="3738"/>
                  </a:cubicBezTo>
                  <a:cubicBezTo>
                    <a:pt x="666" y="3738"/>
                    <a:pt x="666" y="3738"/>
                    <a:pt x="666" y="3738"/>
                  </a:cubicBezTo>
                  <a:cubicBezTo>
                    <a:pt x="666" y="3738"/>
                    <a:pt x="666" y="3738"/>
                    <a:pt x="666" y="3738"/>
                  </a:cubicBezTo>
                  <a:cubicBezTo>
                    <a:pt x="666" y="3738"/>
                    <a:pt x="666" y="3738"/>
                    <a:pt x="666" y="3738"/>
                  </a:cubicBezTo>
                  <a:cubicBezTo>
                    <a:pt x="666" y="3738"/>
                    <a:pt x="666" y="3738"/>
                    <a:pt x="666" y="3738"/>
                  </a:cubicBezTo>
                  <a:cubicBezTo>
                    <a:pt x="666" y="3738"/>
                    <a:pt x="666" y="3738"/>
                    <a:pt x="666" y="3738"/>
                  </a:cubicBezTo>
                  <a:cubicBezTo>
                    <a:pt x="669" y="3737"/>
                    <a:pt x="669" y="3737"/>
                    <a:pt x="669" y="3737"/>
                  </a:cubicBezTo>
                  <a:cubicBezTo>
                    <a:pt x="666" y="3737"/>
                    <a:pt x="666" y="3737"/>
                    <a:pt x="666" y="3737"/>
                  </a:cubicBezTo>
                  <a:cubicBezTo>
                    <a:pt x="666" y="3738"/>
                    <a:pt x="666" y="3738"/>
                    <a:pt x="666" y="3738"/>
                  </a:cubicBezTo>
                  <a:cubicBezTo>
                    <a:pt x="669" y="3737"/>
                    <a:pt x="669" y="3737"/>
                    <a:pt x="669" y="3737"/>
                  </a:cubicBezTo>
                  <a:cubicBezTo>
                    <a:pt x="666" y="3737"/>
                    <a:pt x="666" y="3737"/>
                    <a:pt x="666" y="3737"/>
                  </a:cubicBezTo>
                  <a:cubicBezTo>
                    <a:pt x="670" y="3737"/>
                    <a:pt x="670" y="3737"/>
                    <a:pt x="670" y="3737"/>
                  </a:cubicBezTo>
                  <a:cubicBezTo>
                    <a:pt x="666" y="3735"/>
                    <a:pt x="666" y="3735"/>
                    <a:pt x="666" y="3735"/>
                  </a:cubicBezTo>
                  <a:cubicBezTo>
                    <a:pt x="666" y="3735"/>
                    <a:pt x="666" y="3736"/>
                    <a:pt x="666" y="3737"/>
                  </a:cubicBezTo>
                  <a:cubicBezTo>
                    <a:pt x="670" y="3737"/>
                    <a:pt x="670" y="3737"/>
                    <a:pt x="670" y="3737"/>
                  </a:cubicBezTo>
                  <a:cubicBezTo>
                    <a:pt x="666" y="3735"/>
                    <a:pt x="666" y="3735"/>
                    <a:pt x="666" y="3735"/>
                  </a:cubicBezTo>
                  <a:cubicBezTo>
                    <a:pt x="668" y="3736"/>
                    <a:pt x="668" y="3736"/>
                    <a:pt x="668" y="3736"/>
                  </a:cubicBezTo>
                  <a:cubicBezTo>
                    <a:pt x="666" y="3735"/>
                    <a:pt x="666" y="3735"/>
                    <a:pt x="666" y="3735"/>
                  </a:cubicBezTo>
                  <a:cubicBezTo>
                    <a:pt x="666" y="3735"/>
                    <a:pt x="666" y="3735"/>
                    <a:pt x="666" y="3735"/>
                  </a:cubicBezTo>
                  <a:cubicBezTo>
                    <a:pt x="668" y="3736"/>
                    <a:pt x="668" y="3736"/>
                    <a:pt x="668" y="3736"/>
                  </a:cubicBezTo>
                  <a:cubicBezTo>
                    <a:pt x="666" y="3735"/>
                    <a:pt x="666" y="3735"/>
                    <a:pt x="666" y="3735"/>
                  </a:cubicBezTo>
                  <a:cubicBezTo>
                    <a:pt x="666" y="3735"/>
                    <a:pt x="666" y="3735"/>
                    <a:pt x="666" y="3735"/>
                  </a:cubicBezTo>
                  <a:cubicBezTo>
                    <a:pt x="666" y="3735"/>
                    <a:pt x="666" y="3735"/>
                    <a:pt x="666" y="3735"/>
                  </a:cubicBezTo>
                  <a:cubicBezTo>
                    <a:pt x="666" y="3735"/>
                    <a:pt x="666" y="3735"/>
                    <a:pt x="666" y="3735"/>
                  </a:cubicBezTo>
                  <a:cubicBezTo>
                    <a:pt x="666" y="3735"/>
                    <a:pt x="666" y="3735"/>
                    <a:pt x="666" y="3735"/>
                  </a:cubicBezTo>
                  <a:cubicBezTo>
                    <a:pt x="666" y="3735"/>
                    <a:pt x="666" y="3735"/>
                    <a:pt x="666" y="3735"/>
                  </a:cubicBezTo>
                  <a:cubicBezTo>
                    <a:pt x="666" y="3735"/>
                    <a:pt x="666" y="3735"/>
                    <a:pt x="666" y="3736"/>
                  </a:cubicBezTo>
                  <a:cubicBezTo>
                    <a:pt x="666" y="3736"/>
                    <a:pt x="666" y="3736"/>
                    <a:pt x="666" y="3736"/>
                  </a:cubicBezTo>
                  <a:cubicBezTo>
                    <a:pt x="651" y="3748"/>
                    <a:pt x="637" y="3761"/>
                    <a:pt x="622" y="3774"/>
                  </a:cubicBezTo>
                  <a:cubicBezTo>
                    <a:pt x="622" y="3774"/>
                    <a:pt x="622" y="3774"/>
                    <a:pt x="622" y="3774"/>
                  </a:cubicBezTo>
                  <a:cubicBezTo>
                    <a:pt x="621" y="3775"/>
                    <a:pt x="620" y="3776"/>
                    <a:pt x="619" y="3777"/>
                  </a:cubicBezTo>
                  <a:cubicBezTo>
                    <a:pt x="618" y="3778"/>
                    <a:pt x="617" y="3779"/>
                    <a:pt x="616" y="3780"/>
                  </a:cubicBezTo>
                  <a:cubicBezTo>
                    <a:pt x="615" y="3782"/>
                    <a:pt x="614" y="3783"/>
                    <a:pt x="614" y="3786"/>
                  </a:cubicBezTo>
                  <a:cubicBezTo>
                    <a:pt x="612" y="3791"/>
                    <a:pt x="610" y="3796"/>
                    <a:pt x="609" y="3803"/>
                  </a:cubicBezTo>
                  <a:cubicBezTo>
                    <a:pt x="607" y="3809"/>
                    <a:pt x="606" y="3815"/>
                    <a:pt x="606" y="3823"/>
                  </a:cubicBezTo>
                  <a:cubicBezTo>
                    <a:pt x="606" y="3825"/>
                    <a:pt x="606" y="3828"/>
                    <a:pt x="606" y="3830"/>
                  </a:cubicBezTo>
                  <a:cubicBezTo>
                    <a:pt x="606" y="3830"/>
                    <a:pt x="606" y="3830"/>
                    <a:pt x="606" y="3830"/>
                  </a:cubicBezTo>
                  <a:cubicBezTo>
                    <a:pt x="609" y="3847"/>
                    <a:pt x="611" y="3863"/>
                    <a:pt x="611" y="3878"/>
                  </a:cubicBezTo>
                  <a:cubicBezTo>
                    <a:pt x="612" y="3885"/>
                    <a:pt x="612" y="3891"/>
                    <a:pt x="612" y="3897"/>
                  </a:cubicBezTo>
                  <a:cubicBezTo>
                    <a:pt x="612" y="3907"/>
                    <a:pt x="612" y="3917"/>
                    <a:pt x="612" y="3928"/>
                  </a:cubicBezTo>
                  <a:cubicBezTo>
                    <a:pt x="612" y="3940"/>
                    <a:pt x="612" y="3940"/>
                    <a:pt x="612" y="3940"/>
                  </a:cubicBezTo>
                  <a:cubicBezTo>
                    <a:pt x="624" y="3940"/>
                    <a:pt x="624" y="3940"/>
                    <a:pt x="624" y="3940"/>
                  </a:cubicBezTo>
                  <a:cubicBezTo>
                    <a:pt x="624" y="3928"/>
                    <a:pt x="624" y="3928"/>
                    <a:pt x="624" y="3928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13" tIns="45656" rIns="91313" bIns="45656" numCol="1" anchor="t" anchorCtr="0" compatLnSpc="1">
              <a:prstTxWarp prst="textNoShape">
                <a:avLst/>
              </a:prstTxWarp>
            </a:bodyPr>
            <a:lstStyle/>
            <a:p>
              <a:endParaRPr lang="ru-RU" sz="1794" dirty="0"/>
            </a:p>
          </p:txBody>
        </p:sp>
        <p:sp>
          <p:nvSpPr>
            <p:cNvPr id="14" name="Подсветка границ">
              <a:extLst>
                <a:ext uri="{FF2B5EF4-FFF2-40B4-BE49-F238E27FC236}">
                  <a16:creationId xmlns:a16="http://schemas.microsoft.com/office/drawing/2014/main" id="{C9FAAF87-B0F2-4D32-8609-C90C89B960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6" y="1684"/>
              <a:ext cx="4548" cy="4609"/>
            </a:xfrm>
            <a:custGeom>
              <a:avLst/>
              <a:gdLst>
                <a:gd name="T0" fmla="*/ 3857 w 4126"/>
                <a:gd name="T1" fmla="*/ 15 h 4181"/>
                <a:gd name="T2" fmla="*/ 3496 w 4126"/>
                <a:gd name="T3" fmla="*/ 407 h 4181"/>
                <a:gd name="T4" fmla="*/ 1376 w 4126"/>
                <a:gd name="T5" fmla="*/ 700 h 4181"/>
                <a:gd name="T6" fmla="*/ 981 w 4126"/>
                <a:gd name="T7" fmla="*/ 1932 h 4181"/>
                <a:gd name="T8" fmla="*/ 223 w 4126"/>
                <a:gd name="T9" fmla="*/ 2250 h 4181"/>
                <a:gd name="T10" fmla="*/ 579 w 4126"/>
                <a:gd name="T11" fmla="*/ 2925 h 4181"/>
                <a:gd name="T12" fmla="*/ 619 w 4126"/>
                <a:gd name="T13" fmla="*/ 3442 h 4181"/>
                <a:gd name="T14" fmla="*/ 814 w 4126"/>
                <a:gd name="T15" fmla="*/ 4166 h 4181"/>
                <a:gd name="T16" fmla="*/ 1276 w 4126"/>
                <a:gd name="T17" fmla="*/ 3815 h 4181"/>
                <a:gd name="T18" fmla="*/ 1754 w 4126"/>
                <a:gd name="T19" fmla="*/ 3492 h 4181"/>
                <a:gd name="T20" fmla="*/ 2769 w 4126"/>
                <a:gd name="T21" fmla="*/ 3171 h 4181"/>
                <a:gd name="T22" fmla="*/ 2742 w 4126"/>
                <a:gd name="T23" fmla="*/ 2589 h 4181"/>
                <a:gd name="T24" fmla="*/ 2813 w 4126"/>
                <a:gd name="T25" fmla="*/ 1956 h 4181"/>
                <a:gd name="T26" fmla="*/ 3131 w 4126"/>
                <a:gd name="T27" fmla="*/ 1649 h 4181"/>
                <a:gd name="T28" fmla="*/ 3468 w 4126"/>
                <a:gd name="T29" fmla="*/ 1208 h 4181"/>
                <a:gd name="T30" fmla="*/ 3866 w 4126"/>
                <a:gd name="T31" fmla="*/ 828 h 4181"/>
                <a:gd name="T32" fmla="*/ 4038 w 4126"/>
                <a:gd name="T33" fmla="*/ 433 h 4181"/>
                <a:gd name="T34" fmla="*/ 2404 w 4126"/>
                <a:gd name="T35" fmla="*/ 1370 h 4181"/>
                <a:gd name="T36" fmla="*/ 1411 w 4126"/>
                <a:gd name="T37" fmla="*/ 1867 h 4181"/>
                <a:gd name="T38" fmla="*/ 1921 w 4126"/>
                <a:gd name="T39" fmla="*/ 2799 h 4181"/>
                <a:gd name="T40" fmla="*/ 1747 w 4126"/>
                <a:gd name="T41" fmla="*/ 2049 h 4181"/>
                <a:gd name="T42" fmla="*/ 1405 w 4126"/>
                <a:gd name="T43" fmla="*/ 2420 h 4181"/>
                <a:gd name="T44" fmla="*/ 1738 w 4126"/>
                <a:gd name="T45" fmla="*/ 2476 h 4181"/>
                <a:gd name="T46" fmla="*/ 873 w 4126"/>
                <a:gd name="T47" fmla="*/ 2316 h 4181"/>
                <a:gd name="T48" fmla="*/ 1153 w 4126"/>
                <a:gd name="T49" fmla="*/ 2908 h 4181"/>
                <a:gd name="T50" fmla="*/ 1521 w 4126"/>
                <a:gd name="T51" fmla="*/ 734 h 4181"/>
                <a:gd name="T52" fmla="*/ 650 w 4126"/>
                <a:gd name="T53" fmla="*/ 2739 h 4181"/>
                <a:gd name="T54" fmla="*/ 290 w 4126"/>
                <a:gd name="T55" fmla="*/ 2287 h 4181"/>
                <a:gd name="T56" fmla="*/ 853 w 4126"/>
                <a:gd name="T57" fmla="*/ 1929 h 4181"/>
                <a:gd name="T58" fmla="*/ 875 w 4126"/>
                <a:gd name="T59" fmla="*/ 2726 h 4181"/>
                <a:gd name="T60" fmla="*/ 893 w 4126"/>
                <a:gd name="T61" fmla="*/ 3082 h 4181"/>
                <a:gd name="T62" fmla="*/ 1062 w 4126"/>
                <a:gd name="T63" fmla="*/ 3114 h 4181"/>
                <a:gd name="T64" fmla="*/ 1056 w 4126"/>
                <a:gd name="T65" fmla="*/ 3404 h 4181"/>
                <a:gd name="T66" fmla="*/ 1032 w 4126"/>
                <a:gd name="T67" fmla="*/ 3097 h 4181"/>
                <a:gd name="T68" fmla="*/ 1069 w 4126"/>
                <a:gd name="T69" fmla="*/ 3457 h 4181"/>
                <a:gd name="T70" fmla="*/ 800 w 4126"/>
                <a:gd name="T71" fmla="*/ 4089 h 4181"/>
                <a:gd name="T72" fmla="*/ 808 w 4126"/>
                <a:gd name="T73" fmla="*/ 3572 h 4181"/>
                <a:gd name="T74" fmla="*/ 1152 w 4126"/>
                <a:gd name="T75" fmla="*/ 3838 h 4181"/>
                <a:gd name="T76" fmla="*/ 1386 w 4126"/>
                <a:gd name="T77" fmla="*/ 3474 h 4181"/>
                <a:gd name="T78" fmla="*/ 1602 w 4126"/>
                <a:gd name="T79" fmla="*/ 2731 h 4181"/>
                <a:gd name="T80" fmla="*/ 1474 w 4126"/>
                <a:gd name="T81" fmla="*/ 3423 h 4181"/>
                <a:gd name="T82" fmla="*/ 1502 w 4126"/>
                <a:gd name="T83" fmla="*/ 3168 h 4181"/>
                <a:gd name="T84" fmla="*/ 2041 w 4126"/>
                <a:gd name="T85" fmla="*/ 3076 h 4181"/>
                <a:gd name="T86" fmla="*/ 2756 w 4126"/>
                <a:gd name="T87" fmla="*/ 3096 h 4181"/>
                <a:gd name="T88" fmla="*/ 1934 w 4126"/>
                <a:gd name="T89" fmla="*/ 2786 h 4181"/>
                <a:gd name="T90" fmla="*/ 2491 w 4126"/>
                <a:gd name="T91" fmla="*/ 2374 h 4181"/>
                <a:gd name="T92" fmla="*/ 2838 w 4126"/>
                <a:gd name="T93" fmla="*/ 2125 h 4181"/>
                <a:gd name="T94" fmla="*/ 2550 w 4126"/>
                <a:gd name="T95" fmla="*/ 2418 h 4181"/>
                <a:gd name="T96" fmla="*/ 2203 w 4126"/>
                <a:gd name="T97" fmla="*/ 2074 h 4181"/>
                <a:gd name="T98" fmla="*/ 2900 w 4126"/>
                <a:gd name="T99" fmla="*/ 1697 h 4181"/>
                <a:gd name="T100" fmla="*/ 2447 w 4126"/>
                <a:gd name="T101" fmla="*/ 1928 h 4181"/>
                <a:gd name="T102" fmla="*/ 2420 w 4126"/>
                <a:gd name="T103" fmla="*/ 1351 h 4181"/>
                <a:gd name="T104" fmla="*/ 2667 w 4126"/>
                <a:gd name="T105" fmla="*/ 1480 h 4181"/>
                <a:gd name="T106" fmla="*/ 3427 w 4126"/>
                <a:gd name="T107" fmla="*/ 1290 h 4181"/>
                <a:gd name="T108" fmla="*/ 3028 w 4126"/>
                <a:gd name="T109" fmla="*/ 1728 h 4181"/>
                <a:gd name="T110" fmla="*/ 2661 w 4126"/>
                <a:gd name="T111" fmla="*/ 1500 h 4181"/>
                <a:gd name="T112" fmla="*/ 3230 w 4126"/>
                <a:gd name="T113" fmla="*/ 754 h 4181"/>
                <a:gd name="T114" fmla="*/ 4062 w 4126"/>
                <a:gd name="T115" fmla="*/ 475 h 4181"/>
                <a:gd name="T116" fmla="*/ 3732 w 4126"/>
                <a:gd name="T117" fmla="*/ 905 h 4181"/>
                <a:gd name="T118" fmla="*/ 3268 w 4126"/>
                <a:gd name="T119" fmla="*/ 872 h 4181"/>
                <a:gd name="T120" fmla="*/ 3649 w 4126"/>
                <a:gd name="T121" fmla="*/ 336 h 4181"/>
                <a:gd name="T122" fmla="*/ 3933 w 4126"/>
                <a:gd name="T123" fmla="*/ 194 h 4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26" h="4181">
                  <a:moveTo>
                    <a:pt x="4114" y="359"/>
                  </a:moveTo>
                  <a:cubicBezTo>
                    <a:pt x="4111" y="357"/>
                    <a:pt x="4108" y="357"/>
                    <a:pt x="4107" y="355"/>
                  </a:cubicBezTo>
                  <a:cubicBezTo>
                    <a:pt x="4104" y="348"/>
                    <a:pt x="4098" y="345"/>
                    <a:pt x="4091" y="345"/>
                  </a:cubicBezTo>
                  <a:cubicBezTo>
                    <a:pt x="4089" y="345"/>
                    <a:pt x="4086" y="343"/>
                    <a:pt x="4085" y="342"/>
                  </a:cubicBezTo>
                  <a:cubicBezTo>
                    <a:pt x="4084" y="339"/>
                    <a:pt x="4083" y="334"/>
                    <a:pt x="4084" y="332"/>
                  </a:cubicBezTo>
                  <a:cubicBezTo>
                    <a:pt x="4088" y="324"/>
                    <a:pt x="4089" y="317"/>
                    <a:pt x="4085" y="309"/>
                  </a:cubicBezTo>
                  <a:cubicBezTo>
                    <a:pt x="4083" y="306"/>
                    <a:pt x="4085" y="304"/>
                    <a:pt x="4089" y="304"/>
                  </a:cubicBezTo>
                  <a:cubicBezTo>
                    <a:pt x="4093" y="304"/>
                    <a:pt x="4098" y="301"/>
                    <a:pt x="4098" y="297"/>
                  </a:cubicBezTo>
                  <a:cubicBezTo>
                    <a:pt x="4100" y="289"/>
                    <a:pt x="4103" y="280"/>
                    <a:pt x="4097" y="273"/>
                  </a:cubicBezTo>
                  <a:cubicBezTo>
                    <a:pt x="4091" y="267"/>
                    <a:pt x="4086" y="261"/>
                    <a:pt x="4076" y="265"/>
                  </a:cubicBezTo>
                  <a:cubicBezTo>
                    <a:pt x="4075" y="265"/>
                    <a:pt x="4074" y="265"/>
                    <a:pt x="4073" y="264"/>
                  </a:cubicBezTo>
                  <a:cubicBezTo>
                    <a:pt x="4069" y="261"/>
                    <a:pt x="4064" y="259"/>
                    <a:pt x="4060" y="255"/>
                  </a:cubicBezTo>
                  <a:cubicBezTo>
                    <a:pt x="4054" y="248"/>
                    <a:pt x="4045" y="250"/>
                    <a:pt x="4038" y="255"/>
                  </a:cubicBezTo>
                  <a:cubicBezTo>
                    <a:pt x="4033" y="259"/>
                    <a:pt x="4029" y="262"/>
                    <a:pt x="4025" y="267"/>
                  </a:cubicBezTo>
                  <a:cubicBezTo>
                    <a:pt x="4019" y="274"/>
                    <a:pt x="4013" y="275"/>
                    <a:pt x="4004" y="272"/>
                  </a:cubicBezTo>
                  <a:cubicBezTo>
                    <a:pt x="3991" y="267"/>
                    <a:pt x="3978" y="267"/>
                    <a:pt x="3966" y="274"/>
                  </a:cubicBezTo>
                  <a:cubicBezTo>
                    <a:pt x="3965" y="274"/>
                    <a:pt x="3964" y="274"/>
                    <a:pt x="3964" y="275"/>
                  </a:cubicBezTo>
                  <a:cubicBezTo>
                    <a:pt x="3958" y="277"/>
                    <a:pt x="3955" y="276"/>
                    <a:pt x="3953" y="270"/>
                  </a:cubicBezTo>
                  <a:cubicBezTo>
                    <a:pt x="3951" y="267"/>
                    <a:pt x="3950" y="263"/>
                    <a:pt x="3949" y="259"/>
                  </a:cubicBezTo>
                  <a:cubicBezTo>
                    <a:pt x="3944" y="248"/>
                    <a:pt x="3942" y="236"/>
                    <a:pt x="3942" y="224"/>
                  </a:cubicBezTo>
                  <a:cubicBezTo>
                    <a:pt x="3942" y="213"/>
                    <a:pt x="3947" y="201"/>
                    <a:pt x="3946" y="190"/>
                  </a:cubicBezTo>
                  <a:cubicBezTo>
                    <a:pt x="3946" y="188"/>
                    <a:pt x="3947" y="186"/>
                    <a:pt x="3947" y="184"/>
                  </a:cubicBezTo>
                  <a:cubicBezTo>
                    <a:pt x="3947" y="181"/>
                    <a:pt x="3948" y="175"/>
                    <a:pt x="3946" y="173"/>
                  </a:cubicBezTo>
                  <a:cubicBezTo>
                    <a:pt x="3940" y="167"/>
                    <a:pt x="3940" y="160"/>
                    <a:pt x="3938" y="153"/>
                  </a:cubicBezTo>
                  <a:cubicBezTo>
                    <a:pt x="3937" y="151"/>
                    <a:pt x="3938" y="147"/>
                    <a:pt x="3939" y="145"/>
                  </a:cubicBezTo>
                  <a:cubicBezTo>
                    <a:pt x="3942" y="141"/>
                    <a:pt x="3941" y="137"/>
                    <a:pt x="3938" y="133"/>
                  </a:cubicBezTo>
                  <a:cubicBezTo>
                    <a:pt x="3934" y="129"/>
                    <a:pt x="3933" y="123"/>
                    <a:pt x="3934" y="118"/>
                  </a:cubicBezTo>
                  <a:cubicBezTo>
                    <a:pt x="3935" y="109"/>
                    <a:pt x="3937" y="101"/>
                    <a:pt x="3945" y="95"/>
                  </a:cubicBezTo>
                  <a:cubicBezTo>
                    <a:pt x="3948" y="93"/>
                    <a:pt x="3949" y="87"/>
                    <a:pt x="3950" y="83"/>
                  </a:cubicBezTo>
                  <a:cubicBezTo>
                    <a:pt x="3951" y="80"/>
                    <a:pt x="3951" y="76"/>
                    <a:pt x="3952" y="72"/>
                  </a:cubicBezTo>
                  <a:cubicBezTo>
                    <a:pt x="3953" y="68"/>
                    <a:pt x="3956" y="64"/>
                    <a:pt x="3957" y="60"/>
                  </a:cubicBezTo>
                  <a:cubicBezTo>
                    <a:pt x="3958" y="50"/>
                    <a:pt x="3967" y="42"/>
                    <a:pt x="3964" y="31"/>
                  </a:cubicBezTo>
                  <a:cubicBezTo>
                    <a:pt x="3964" y="29"/>
                    <a:pt x="3968" y="27"/>
                    <a:pt x="3968" y="24"/>
                  </a:cubicBezTo>
                  <a:cubicBezTo>
                    <a:pt x="3970" y="20"/>
                    <a:pt x="3971" y="16"/>
                    <a:pt x="3971" y="12"/>
                  </a:cubicBezTo>
                  <a:cubicBezTo>
                    <a:pt x="3972" y="10"/>
                    <a:pt x="3970" y="8"/>
                    <a:pt x="3969" y="7"/>
                  </a:cubicBezTo>
                  <a:cubicBezTo>
                    <a:pt x="3961" y="6"/>
                    <a:pt x="3953" y="0"/>
                    <a:pt x="3945" y="6"/>
                  </a:cubicBezTo>
                  <a:cubicBezTo>
                    <a:pt x="3938" y="11"/>
                    <a:pt x="3931" y="15"/>
                    <a:pt x="3922" y="14"/>
                  </a:cubicBezTo>
                  <a:cubicBezTo>
                    <a:pt x="3918" y="13"/>
                    <a:pt x="3915" y="13"/>
                    <a:pt x="3912" y="13"/>
                  </a:cubicBezTo>
                  <a:cubicBezTo>
                    <a:pt x="3908" y="12"/>
                    <a:pt x="3904" y="11"/>
                    <a:pt x="3900" y="10"/>
                  </a:cubicBezTo>
                  <a:cubicBezTo>
                    <a:pt x="3891" y="8"/>
                    <a:pt x="3881" y="12"/>
                    <a:pt x="3877" y="20"/>
                  </a:cubicBezTo>
                  <a:cubicBezTo>
                    <a:pt x="3875" y="24"/>
                    <a:pt x="3874" y="21"/>
                    <a:pt x="3873" y="20"/>
                  </a:cubicBezTo>
                  <a:cubicBezTo>
                    <a:pt x="3869" y="14"/>
                    <a:pt x="3863" y="12"/>
                    <a:pt x="3857" y="15"/>
                  </a:cubicBezTo>
                  <a:cubicBezTo>
                    <a:pt x="3852" y="17"/>
                    <a:pt x="3847" y="17"/>
                    <a:pt x="3842" y="13"/>
                  </a:cubicBezTo>
                  <a:cubicBezTo>
                    <a:pt x="3836" y="9"/>
                    <a:pt x="3830" y="10"/>
                    <a:pt x="3825" y="15"/>
                  </a:cubicBezTo>
                  <a:cubicBezTo>
                    <a:pt x="3822" y="18"/>
                    <a:pt x="3819" y="19"/>
                    <a:pt x="3814" y="19"/>
                  </a:cubicBezTo>
                  <a:cubicBezTo>
                    <a:pt x="3807" y="19"/>
                    <a:pt x="3801" y="22"/>
                    <a:pt x="3798" y="29"/>
                  </a:cubicBezTo>
                  <a:cubicBezTo>
                    <a:pt x="3797" y="31"/>
                    <a:pt x="3796" y="34"/>
                    <a:pt x="3794" y="35"/>
                  </a:cubicBezTo>
                  <a:cubicBezTo>
                    <a:pt x="3788" y="38"/>
                    <a:pt x="3784" y="43"/>
                    <a:pt x="3780" y="47"/>
                  </a:cubicBezTo>
                  <a:cubicBezTo>
                    <a:pt x="3772" y="55"/>
                    <a:pt x="3771" y="65"/>
                    <a:pt x="3771" y="75"/>
                  </a:cubicBezTo>
                  <a:cubicBezTo>
                    <a:pt x="3771" y="79"/>
                    <a:pt x="3772" y="83"/>
                    <a:pt x="3773" y="87"/>
                  </a:cubicBezTo>
                  <a:cubicBezTo>
                    <a:pt x="3773" y="88"/>
                    <a:pt x="3774" y="89"/>
                    <a:pt x="3774" y="90"/>
                  </a:cubicBezTo>
                  <a:cubicBezTo>
                    <a:pt x="3784" y="99"/>
                    <a:pt x="3778" y="111"/>
                    <a:pt x="3780" y="121"/>
                  </a:cubicBezTo>
                  <a:cubicBezTo>
                    <a:pt x="3780" y="123"/>
                    <a:pt x="3779" y="125"/>
                    <a:pt x="3775" y="123"/>
                  </a:cubicBezTo>
                  <a:cubicBezTo>
                    <a:pt x="3768" y="120"/>
                    <a:pt x="3762" y="122"/>
                    <a:pt x="3756" y="128"/>
                  </a:cubicBezTo>
                  <a:cubicBezTo>
                    <a:pt x="3754" y="130"/>
                    <a:pt x="3750" y="132"/>
                    <a:pt x="3747" y="134"/>
                  </a:cubicBezTo>
                  <a:cubicBezTo>
                    <a:pt x="3742" y="138"/>
                    <a:pt x="3737" y="147"/>
                    <a:pt x="3739" y="153"/>
                  </a:cubicBezTo>
                  <a:cubicBezTo>
                    <a:pt x="3739" y="156"/>
                    <a:pt x="3743" y="158"/>
                    <a:pt x="3739" y="160"/>
                  </a:cubicBezTo>
                  <a:cubicBezTo>
                    <a:pt x="3736" y="162"/>
                    <a:pt x="3734" y="165"/>
                    <a:pt x="3731" y="166"/>
                  </a:cubicBezTo>
                  <a:cubicBezTo>
                    <a:pt x="3715" y="169"/>
                    <a:pt x="3713" y="169"/>
                    <a:pt x="3700" y="178"/>
                  </a:cubicBezTo>
                  <a:cubicBezTo>
                    <a:pt x="3699" y="179"/>
                    <a:pt x="3697" y="179"/>
                    <a:pt x="3696" y="179"/>
                  </a:cubicBezTo>
                  <a:cubicBezTo>
                    <a:pt x="3689" y="180"/>
                    <a:pt x="3685" y="184"/>
                    <a:pt x="3683" y="190"/>
                  </a:cubicBezTo>
                  <a:cubicBezTo>
                    <a:pt x="3681" y="195"/>
                    <a:pt x="3678" y="200"/>
                    <a:pt x="3672" y="198"/>
                  </a:cubicBezTo>
                  <a:cubicBezTo>
                    <a:pt x="3670" y="198"/>
                    <a:pt x="3668" y="199"/>
                    <a:pt x="3666" y="200"/>
                  </a:cubicBezTo>
                  <a:cubicBezTo>
                    <a:pt x="3660" y="203"/>
                    <a:pt x="3655" y="206"/>
                    <a:pt x="3650" y="208"/>
                  </a:cubicBezTo>
                  <a:cubicBezTo>
                    <a:pt x="3645" y="210"/>
                    <a:pt x="3642" y="213"/>
                    <a:pt x="3643" y="218"/>
                  </a:cubicBezTo>
                  <a:cubicBezTo>
                    <a:pt x="3645" y="229"/>
                    <a:pt x="3647" y="239"/>
                    <a:pt x="3649" y="250"/>
                  </a:cubicBezTo>
                  <a:cubicBezTo>
                    <a:pt x="3649" y="251"/>
                    <a:pt x="3650" y="253"/>
                    <a:pt x="3651" y="255"/>
                  </a:cubicBezTo>
                  <a:cubicBezTo>
                    <a:pt x="3655" y="259"/>
                    <a:pt x="3655" y="265"/>
                    <a:pt x="3653" y="270"/>
                  </a:cubicBezTo>
                  <a:cubicBezTo>
                    <a:pt x="3650" y="276"/>
                    <a:pt x="3651" y="280"/>
                    <a:pt x="3655" y="285"/>
                  </a:cubicBezTo>
                  <a:cubicBezTo>
                    <a:pt x="3661" y="292"/>
                    <a:pt x="3660" y="293"/>
                    <a:pt x="3655" y="301"/>
                  </a:cubicBezTo>
                  <a:cubicBezTo>
                    <a:pt x="3652" y="305"/>
                    <a:pt x="3649" y="309"/>
                    <a:pt x="3647" y="314"/>
                  </a:cubicBezTo>
                  <a:cubicBezTo>
                    <a:pt x="3645" y="322"/>
                    <a:pt x="3644" y="324"/>
                    <a:pt x="3636" y="324"/>
                  </a:cubicBezTo>
                  <a:cubicBezTo>
                    <a:pt x="3630" y="324"/>
                    <a:pt x="3627" y="327"/>
                    <a:pt x="3624" y="330"/>
                  </a:cubicBezTo>
                  <a:cubicBezTo>
                    <a:pt x="3621" y="334"/>
                    <a:pt x="3621" y="341"/>
                    <a:pt x="3613" y="340"/>
                  </a:cubicBezTo>
                  <a:cubicBezTo>
                    <a:pt x="3612" y="340"/>
                    <a:pt x="3610" y="344"/>
                    <a:pt x="3610" y="346"/>
                  </a:cubicBezTo>
                  <a:cubicBezTo>
                    <a:pt x="3608" y="353"/>
                    <a:pt x="3609" y="359"/>
                    <a:pt x="3612" y="366"/>
                  </a:cubicBezTo>
                  <a:cubicBezTo>
                    <a:pt x="3614" y="369"/>
                    <a:pt x="3613" y="372"/>
                    <a:pt x="3608" y="372"/>
                  </a:cubicBezTo>
                  <a:cubicBezTo>
                    <a:pt x="3601" y="371"/>
                    <a:pt x="3594" y="370"/>
                    <a:pt x="3587" y="370"/>
                  </a:cubicBezTo>
                  <a:cubicBezTo>
                    <a:pt x="3583" y="370"/>
                    <a:pt x="3582" y="368"/>
                    <a:pt x="3580" y="365"/>
                  </a:cubicBezTo>
                  <a:cubicBezTo>
                    <a:pt x="3573" y="354"/>
                    <a:pt x="3562" y="351"/>
                    <a:pt x="3550" y="359"/>
                  </a:cubicBezTo>
                  <a:cubicBezTo>
                    <a:pt x="3548" y="360"/>
                    <a:pt x="3546" y="362"/>
                    <a:pt x="3544" y="362"/>
                  </a:cubicBezTo>
                  <a:cubicBezTo>
                    <a:pt x="3538" y="363"/>
                    <a:pt x="3536" y="367"/>
                    <a:pt x="3534" y="372"/>
                  </a:cubicBezTo>
                  <a:cubicBezTo>
                    <a:pt x="3530" y="383"/>
                    <a:pt x="3520" y="387"/>
                    <a:pt x="3511" y="391"/>
                  </a:cubicBezTo>
                  <a:cubicBezTo>
                    <a:pt x="3503" y="394"/>
                    <a:pt x="3498" y="400"/>
                    <a:pt x="3496" y="407"/>
                  </a:cubicBezTo>
                  <a:cubicBezTo>
                    <a:pt x="3495" y="410"/>
                    <a:pt x="3494" y="413"/>
                    <a:pt x="3494" y="416"/>
                  </a:cubicBezTo>
                  <a:cubicBezTo>
                    <a:pt x="3492" y="421"/>
                    <a:pt x="3489" y="424"/>
                    <a:pt x="3483" y="427"/>
                  </a:cubicBezTo>
                  <a:cubicBezTo>
                    <a:pt x="3475" y="430"/>
                    <a:pt x="3467" y="435"/>
                    <a:pt x="3459" y="440"/>
                  </a:cubicBezTo>
                  <a:cubicBezTo>
                    <a:pt x="3456" y="442"/>
                    <a:pt x="3452" y="446"/>
                    <a:pt x="3452" y="449"/>
                  </a:cubicBezTo>
                  <a:cubicBezTo>
                    <a:pt x="3450" y="456"/>
                    <a:pt x="3450" y="462"/>
                    <a:pt x="3451" y="469"/>
                  </a:cubicBezTo>
                  <a:cubicBezTo>
                    <a:pt x="3451" y="475"/>
                    <a:pt x="3450" y="478"/>
                    <a:pt x="3445" y="480"/>
                  </a:cubicBezTo>
                  <a:cubicBezTo>
                    <a:pt x="3438" y="482"/>
                    <a:pt x="3436" y="488"/>
                    <a:pt x="3437" y="494"/>
                  </a:cubicBezTo>
                  <a:cubicBezTo>
                    <a:pt x="3438" y="498"/>
                    <a:pt x="3439" y="503"/>
                    <a:pt x="3442" y="506"/>
                  </a:cubicBezTo>
                  <a:cubicBezTo>
                    <a:pt x="3453" y="517"/>
                    <a:pt x="3447" y="531"/>
                    <a:pt x="3450" y="543"/>
                  </a:cubicBezTo>
                  <a:cubicBezTo>
                    <a:pt x="3450" y="544"/>
                    <a:pt x="3448" y="546"/>
                    <a:pt x="3447" y="547"/>
                  </a:cubicBezTo>
                  <a:cubicBezTo>
                    <a:pt x="3443" y="551"/>
                    <a:pt x="3439" y="554"/>
                    <a:pt x="3439" y="561"/>
                  </a:cubicBezTo>
                  <a:cubicBezTo>
                    <a:pt x="3439" y="562"/>
                    <a:pt x="3436" y="564"/>
                    <a:pt x="3435" y="566"/>
                  </a:cubicBezTo>
                  <a:cubicBezTo>
                    <a:pt x="3416" y="577"/>
                    <a:pt x="3398" y="588"/>
                    <a:pt x="3380" y="599"/>
                  </a:cubicBezTo>
                  <a:cubicBezTo>
                    <a:pt x="3342" y="623"/>
                    <a:pt x="3304" y="648"/>
                    <a:pt x="3266" y="672"/>
                  </a:cubicBezTo>
                  <a:cubicBezTo>
                    <a:pt x="3260" y="676"/>
                    <a:pt x="3254" y="680"/>
                    <a:pt x="3247" y="684"/>
                  </a:cubicBezTo>
                  <a:cubicBezTo>
                    <a:pt x="3244" y="686"/>
                    <a:pt x="3240" y="688"/>
                    <a:pt x="3237" y="690"/>
                  </a:cubicBezTo>
                  <a:cubicBezTo>
                    <a:pt x="3229" y="695"/>
                    <a:pt x="3220" y="699"/>
                    <a:pt x="3219" y="710"/>
                  </a:cubicBezTo>
                  <a:cubicBezTo>
                    <a:pt x="3219" y="717"/>
                    <a:pt x="3218" y="725"/>
                    <a:pt x="3216" y="732"/>
                  </a:cubicBezTo>
                  <a:cubicBezTo>
                    <a:pt x="3216" y="734"/>
                    <a:pt x="3213" y="736"/>
                    <a:pt x="3211" y="738"/>
                  </a:cubicBezTo>
                  <a:cubicBezTo>
                    <a:pt x="3210" y="739"/>
                    <a:pt x="3207" y="738"/>
                    <a:pt x="3206" y="739"/>
                  </a:cubicBezTo>
                  <a:cubicBezTo>
                    <a:pt x="3200" y="745"/>
                    <a:pt x="3192" y="744"/>
                    <a:pt x="3184" y="742"/>
                  </a:cubicBezTo>
                  <a:cubicBezTo>
                    <a:pt x="3172" y="739"/>
                    <a:pt x="3169" y="741"/>
                    <a:pt x="3164" y="752"/>
                  </a:cubicBezTo>
                  <a:cubicBezTo>
                    <a:pt x="3163" y="755"/>
                    <a:pt x="3162" y="755"/>
                    <a:pt x="3160" y="753"/>
                  </a:cubicBezTo>
                  <a:cubicBezTo>
                    <a:pt x="3154" y="745"/>
                    <a:pt x="3146" y="745"/>
                    <a:pt x="3137" y="745"/>
                  </a:cubicBezTo>
                  <a:cubicBezTo>
                    <a:pt x="3063" y="745"/>
                    <a:pt x="2990" y="745"/>
                    <a:pt x="2916" y="745"/>
                  </a:cubicBezTo>
                  <a:cubicBezTo>
                    <a:pt x="2907" y="745"/>
                    <a:pt x="2901" y="747"/>
                    <a:pt x="2898" y="755"/>
                  </a:cubicBezTo>
                  <a:cubicBezTo>
                    <a:pt x="2896" y="759"/>
                    <a:pt x="2894" y="765"/>
                    <a:pt x="2888" y="764"/>
                  </a:cubicBezTo>
                  <a:cubicBezTo>
                    <a:pt x="2882" y="763"/>
                    <a:pt x="2883" y="757"/>
                    <a:pt x="2883" y="754"/>
                  </a:cubicBezTo>
                  <a:cubicBezTo>
                    <a:pt x="2882" y="748"/>
                    <a:pt x="2879" y="746"/>
                    <a:pt x="2874" y="745"/>
                  </a:cubicBezTo>
                  <a:cubicBezTo>
                    <a:pt x="2871" y="745"/>
                    <a:pt x="2869" y="745"/>
                    <a:pt x="2866" y="745"/>
                  </a:cubicBezTo>
                  <a:cubicBezTo>
                    <a:pt x="2787" y="745"/>
                    <a:pt x="2709" y="745"/>
                    <a:pt x="2631" y="745"/>
                  </a:cubicBezTo>
                  <a:cubicBezTo>
                    <a:pt x="2540" y="745"/>
                    <a:pt x="2450" y="745"/>
                    <a:pt x="2360" y="745"/>
                  </a:cubicBezTo>
                  <a:cubicBezTo>
                    <a:pt x="2288" y="745"/>
                    <a:pt x="2215" y="744"/>
                    <a:pt x="2143" y="744"/>
                  </a:cubicBezTo>
                  <a:cubicBezTo>
                    <a:pt x="2063" y="744"/>
                    <a:pt x="1983" y="745"/>
                    <a:pt x="1904" y="745"/>
                  </a:cubicBezTo>
                  <a:cubicBezTo>
                    <a:pt x="1831" y="745"/>
                    <a:pt x="1758" y="745"/>
                    <a:pt x="1686" y="744"/>
                  </a:cubicBezTo>
                  <a:cubicBezTo>
                    <a:pt x="1681" y="744"/>
                    <a:pt x="1676" y="744"/>
                    <a:pt x="1671" y="744"/>
                  </a:cubicBezTo>
                  <a:cubicBezTo>
                    <a:pt x="1658" y="742"/>
                    <a:pt x="1645" y="740"/>
                    <a:pt x="1632" y="738"/>
                  </a:cubicBezTo>
                  <a:cubicBezTo>
                    <a:pt x="1611" y="735"/>
                    <a:pt x="1591" y="732"/>
                    <a:pt x="1571" y="729"/>
                  </a:cubicBezTo>
                  <a:cubicBezTo>
                    <a:pt x="1548" y="725"/>
                    <a:pt x="1525" y="722"/>
                    <a:pt x="1501" y="718"/>
                  </a:cubicBezTo>
                  <a:cubicBezTo>
                    <a:pt x="1485" y="716"/>
                    <a:pt x="1468" y="714"/>
                    <a:pt x="1451" y="711"/>
                  </a:cubicBezTo>
                  <a:cubicBezTo>
                    <a:pt x="1439" y="709"/>
                    <a:pt x="1426" y="707"/>
                    <a:pt x="1413" y="705"/>
                  </a:cubicBezTo>
                  <a:cubicBezTo>
                    <a:pt x="1401" y="703"/>
                    <a:pt x="1388" y="702"/>
                    <a:pt x="1376" y="700"/>
                  </a:cubicBezTo>
                  <a:cubicBezTo>
                    <a:pt x="1364" y="698"/>
                    <a:pt x="1352" y="696"/>
                    <a:pt x="1340" y="695"/>
                  </a:cubicBezTo>
                  <a:cubicBezTo>
                    <a:pt x="1338" y="695"/>
                    <a:pt x="1335" y="696"/>
                    <a:pt x="1333" y="697"/>
                  </a:cubicBezTo>
                  <a:cubicBezTo>
                    <a:pt x="1325" y="705"/>
                    <a:pt x="1316" y="712"/>
                    <a:pt x="1310" y="721"/>
                  </a:cubicBezTo>
                  <a:cubicBezTo>
                    <a:pt x="1306" y="726"/>
                    <a:pt x="1302" y="729"/>
                    <a:pt x="1297" y="733"/>
                  </a:cubicBezTo>
                  <a:cubicBezTo>
                    <a:pt x="1295" y="735"/>
                    <a:pt x="1292" y="738"/>
                    <a:pt x="1290" y="741"/>
                  </a:cubicBezTo>
                  <a:cubicBezTo>
                    <a:pt x="1288" y="744"/>
                    <a:pt x="1287" y="745"/>
                    <a:pt x="1283" y="743"/>
                  </a:cubicBezTo>
                  <a:cubicBezTo>
                    <a:pt x="1279" y="741"/>
                    <a:pt x="1274" y="744"/>
                    <a:pt x="1271" y="747"/>
                  </a:cubicBezTo>
                  <a:cubicBezTo>
                    <a:pt x="1266" y="750"/>
                    <a:pt x="1269" y="754"/>
                    <a:pt x="1270" y="757"/>
                  </a:cubicBezTo>
                  <a:cubicBezTo>
                    <a:pt x="1271" y="762"/>
                    <a:pt x="1271" y="765"/>
                    <a:pt x="1264" y="766"/>
                  </a:cubicBezTo>
                  <a:cubicBezTo>
                    <a:pt x="1256" y="767"/>
                    <a:pt x="1255" y="770"/>
                    <a:pt x="1254" y="778"/>
                  </a:cubicBezTo>
                  <a:cubicBezTo>
                    <a:pt x="1254" y="779"/>
                    <a:pt x="1253" y="781"/>
                    <a:pt x="1253" y="782"/>
                  </a:cubicBezTo>
                  <a:cubicBezTo>
                    <a:pt x="1252" y="782"/>
                    <a:pt x="1250" y="781"/>
                    <a:pt x="1249" y="780"/>
                  </a:cubicBezTo>
                  <a:cubicBezTo>
                    <a:pt x="1241" y="774"/>
                    <a:pt x="1233" y="767"/>
                    <a:pt x="1221" y="772"/>
                  </a:cubicBezTo>
                  <a:cubicBezTo>
                    <a:pt x="1221" y="773"/>
                    <a:pt x="1220" y="773"/>
                    <a:pt x="1219" y="772"/>
                  </a:cubicBezTo>
                  <a:cubicBezTo>
                    <a:pt x="1214" y="772"/>
                    <a:pt x="1211" y="775"/>
                    <a:pt x="1209" y="779"/>
                  </a:cubicBezTo>
                  <a:cubicBezTo>
                    <a:pt x="1205" y="784"/>
                    <a:pt x="1203" y="790"/>
                    <a:pt x="1206" y="797"/>
                  </a:cubicBezTo>
                  <a:cubicBezTo>
                    <a:pt x="1211" y="808"/>
                    <a:pt x="1211" y="818"/>
                    <a:pt x="1203" y="828"/>
                  </a:cubicBezTo>
                  <a:cubicBezTo>
                    <a:pt x="1199" y="832"/>
                    <a:pt x="1200" y="837"/>
                    <a:pt x="1202" y="842"/>
                  </a:cubicBezTo>
                  <a:cubicBezTo>
                    <a:pt x="1205" y="847"/>
                    <a:pt x="1208" y="851"/>
                    <a:pt x="1211" y="856"/>
                  </a:cubicBezTo>
                  <a:cubicBezTo>
                    <a:pt x="1213" y="859"/>
                    <a:pt x="1213" y="861"/>
                    <a:pt x="1209" y="863"/>
                  </a:cubicBezTo>
                  <a:cubicBezTo>
                    <a:pt x="1200" y="869"/>
                    <a:pt x="1190" y="875"/>
                    <a:pt x="1181" y="881"/>
                  </a:cubicBezTo>
                  <a:cubicBezTo>
                    <a:pt x="1144" y="905"/>
                    <a:pt x="1107" y="928"/>
                    <a:pt x="1070" y="952"/>
                  </a:cubicBezTo>
                  <a:cubicBezTo>
                    <a:pt x="1042" y="970"/>
                    <a:pt x="1014" y="987"/>
                    <a:pt x="986" y="1005"/>
                  </a:cubicBezTo>
                  <a:cubicBezTo>
                    <a:pt x="951" y="1028"/>
                    <a:pt x="918" y="1051"/>
                    <a:pt x="884" y="1074"/>
                  </a:cubicBezTo>
                  <a:cubicBezTo>
                    <a:pt x="829" y="1110"/>
                    <a:pt x="774" y="1146"/>
                    <a:pt x="719" y="1182"/>
                  </a:cubicBezTo>
                  <a:cubicBezTo>
                    <a:pt x="713" y="1186"/>
                    <a:pt x="711" y="1191"/>
                    <a:pt x="711" y="1198"/>
                  </a:cubicBezTo>
                  <a:cubicBezTo>
                    <a:pt x="712" y="1228"/>
                    <a:pt x="712" y="1258"/>
                    <a:pt x="713" y="1288"/>
                  </a:cubicBezTo>
                  <a:cubicBezTo>
                    <a:pt x="714" y="1337"/>
                    <a:pt x="716" y="1385"/>
                    <a:pt x="717" y="1434"/>
                  </a:cubicBezTo>
                  <a:cubicBezTo>
                    <a:pt x="718" y="1482"/>
                    <a:pt x="719" y="1530"/>
                    <a:pt x="720" y="1579"/>
                  </a:cubicBezTo>
                  <a:cubicBezTo>
                    <a:pt x="720" y="1590"/>
                    <a:pt x="720" y="1602"/>
                    <a:pt x="721" y="1613"/>
                  </a:cubicBezTo>
                  <a:cubicBezTo>
                    <a:pt x="721" y="1622"/>
                    <a:pt x="725" y="1624"/>
                    <a:pt x="733" y="1622"/>
                  </a:cubicBezTo>
                  <a:cubicBezTo>
                    <a:pt x="747" y="1619"/>
                    <a:pt x="761" y="1615"/>
                    <a:pt x="774" y="1611"/>
                  </a:cubicBezTo>
                  <a:cubicBezTo>
                    <a:pt x="794" y="1606"/>
                    <a:pt x="813" y="1602"/>
                    <a:pt x="832" y="1597"/>
                  </a:cubicBezTo>
                  <a:cubicBezTo>
                    <a:pt x="839" y="1595"/>
                    <a:pt x="841" y="1597"/>
                    <a:pt x="843" y="1602"/>
                  </a:cubicBezTo>
                  <a:cubicBezTo>
                    <a:pt x="849" y="1614"/>
                    <a:pt x="855" y="1625"/>
                    <a:pt x="862" y="1636"/>
                  </a:cubicBezTo>
                  <a:cubicBezTo>
                    <a:pt x="872" y="1654"/>
                    <a:pt x="882" y="1671"/>
                    <a:pt x="892" y="1689"/>
                  </a:cubicBezTo>
                  <a:cubicBezTo>
                    <a:pt x="912" y="1725"/>
                    <a:pt x="931" y="1761"/>
                    <a:pt x="950" y="1797"/>
                  </a:cubicBezTo>
                  <a:cubicBezTo>
                    <a:pt x="954" y="1804"/>
                    <a:pt x="959" y="1808"/>
                    <a:pt x="968" y="1809"/>
                  </a:cubicBezTo>
                  <a:cubicBezTo>
                    <a:pt x="979" y="1811"/>
                    <a:pt x="990" y="1815"/>
                    <a:pt x="1001" y="1821"/>
                  </a:cubicBezTo>
                  <a:cubicBezTo>
                    <a:pt x="1004" y="1822"/>
                    <a:pt x="1005" y="1824"/>
                    <a:pt x="1004" y="1827"/>
                  </a:cubicBezTo>
                  <a:cubicBezTo>
                    <a:pt x="1001" y="1838"/>
                    <a:pt x="999" y="1848"/>
                    <a:pt x="997" y="1859"/>
                  </a:cubicBezTo>
                  <a:cubicBezTo>
                    <a:pt x="992" y="1883"/>
                    <a:pt x="987" y="1908"/>
                    <a:pt x="981" y="1932"/>
                  </a:cubicBezTo>
                  <a:cubicBezTo>
                    <a:pt x="980" y="1939"/>
                    <a:pt x="980" y="1939"/>
                    <a:pt x="973" y="1938"/>
                  </a:cubicBezTo>
                  <a:cubicBezTo>
                    <a:pt x="967" y="1937"/>
                    <a:pt x="961" y="1936"/>
                    <a:pt x="955" y="1934"/>
                  </a:cubicBezTo>
                  <a:cubicBezTo>
                    <a:pt x="933" y="1930"/>
                    <a:pt x="912" y="1925"/>
                    <a:pt x="890" y="1922"/>
                  </a:cubicBezTo>
                  <a:cubicBezTo>
                    <a:pt x="870" y="1920"/>
                    <a:pt x="851" y="1915"/>
                    <a:pt x="832" y="1911"/>
                  </a:cubicBezTo>
                  <a:cubicBezTo>
                    <a:pt x="823" y="1909"/>
                    <a:pt x="821" y="1910"/>
                    <a:pt x="819" y="1920"/>
                  </a:cubicBezTo>
                  <a:cubicBezTo>
                    <a:pt x="815" y="1937"/>
                    <a:pt x="812" y="1955"/>
                    <a:pt x="808" y="1972"/>
                  </a:cubicBezTo>
                  <a:cubicBezTo>
                    <a:pt x="807" y="1979"/>
                    <a:pt x="807" y="1979"/>
                    <a:pt x="800" y="1977"/>
                  </a:cubicBezTo>
                  <a:cubicBezTo>
                    <a:pt x="772" y="1971"/>
                    <a:pt x="743" y="1965"/>
                    <a:pt x="715" y="1959"/>
                  </a:cubicBezTo>
                  <a:cubicBezTo>
                    <a:pt x="707" y="1957"/>
                    <a:pt x="704" y="1958"/>
                    <a:pt x="702" y="1965"/>
                  </a:cubicBezTo>
                  <a:cubicBezTo>
                    <a:pt x="698" y="1982"/>
                    <a:pt x="695" y="2000"/>
                    <a:pt x="691" y="2017"/>
                  </a:cubicBezTo>
                  <a:cubicBezTo>
                    <a:pt x="690" y="2025"/>
                    <a:pt x="690" y="2025"/>
                    <a:pt x="682" y="2023"/>
                  </a:cubicBezTo>
                  <a:cubicBezTo>
                    <a:pt x="666" y="2019"/>
                    <a:pt x="649" y="2015"/>
                    <a:pt x="633" y="2012"/>
                  </a:cubicBezTo>
                  <a:cubicBezTo>
                    <a:pt x="626" y="2010"/>
                    <a:pt x="620" y="2013"/>
                    <a:pt x="619" y="2020"/>
                  </a:cubicBezTo>
                  <a:cubicBezTo>
                    <a:pt x="614" y="2037"/>
                    <a:pt x="610" y="2055"/>
                    <a:pt x="607" y="2073"/>
                  </a:cubicBezTo>
                  <a:cubicBezTo>
                    <a:pt x="606" y="2077"/>
                    <a:pt x="605" y="2079"/>
                    <a:pt x="600" y="2078"/>
                  </a:cubicBezTo>
                  <a:cubicBezTo>
                    <a:pt x="590" y="2077"/>
                    <a:pt x="581" y="2075"/>
                    <a:pt x="571" y="2074"/>
                  </a:cubicBezTo>
                  <a:cubicBezTo>
                    <a:pt x="564" y="2073"/>
                    <a:pt x="560" y="2069"/>
                    <a:pt x="559" y="2062"/>
                  </a:cubicBezTo>
                  <a:cubicBezTo>
                    <a:pt x="558" y="2051"/>
                    <a:pt x="555" y="2041"/>
                    <a:pt x="558" y="2030"/>
                  </a:cubicBezTo>
                  <a:cubicBezTo>
                    <a:pt x="560" y="2023"/>
                    <a:pt x="557" y="2020"/>
                    <a:pt x="550" y="2020"/>
                  </a:cubicBezTo>
                  <a:cubicBezTo>
                    <a:pt x="520" y="2019"/>
                    <a:pt x="491" y="2018"/>
                    <a:pt x="461" y="2018"/>
                  </a:cubicBezTo>
                  <a:cubicBezTo>
                    <a:pt x="445" y="2017"/>
                    <a:pt x="428" y="2016"/>
                    <a:pt x="412" y="2015"/>
                  </a:cubicBezTo>
                  <a:cubicBezTo>
                    <a:pt x="387" y="2014"/>
                    <a:pt x="362" y="2019"/>
                    <a:pt x="337" y="2020"/>
                  </a:cubicBezTo>
                  <a:cubicBezTo>
                    <a:pt x="326" y="2021"/>
                    <a:pt x="314" y="2023"/>
                    <a:pt x="302" y="2024"/>
                  </a:cubicBezTo>
                  <a:cubicBezTo>
                    <a:pt x="291" y="2026"/>
                    <a:pt x="281" y="2027"/>
                    <a:pt x="270" y="2029"/>
                  </a:cubicBezTo>
                  <a:cubicBezTo>
                    <a:pt x="256" y="2030"/>
                    <a:pt x="242" y="2034"/>
                    <a:pt x="230" y="2044"/>
                  </a:cubicBezTo>
                  <a:cubicBezTo>
                    <a:pt x="226" y="2047"/>
                    <a:pt x="221" y="2049"/>
                    <a:pt x="217" y="2052"/>
                  </a:cubicBezTo>
                  <a:cubicBezTo>
                    <a:pt x="212" y="2054"/>
                    <a:pt x="208" y="2055"/>
                    <a:pt x="202" y="2053"/>
                  </a:cubicBezTo>
                  <a:cubicBezTo>
                    <a:pt x="196" y="2051"/>
                    <a:pt x="189" y="2050"/>
                    <a:pt x="185" y="2058"/>
                  </a:cubicBezTo>
                  <a:cubicBezTo>
                    <a:pt x="184" y="2060"/>
                    <a:pt x="181" y="2061"/>
                    <a:pt x="179" y="2061"/>
                  </a:cubicBezTo>
                  <a:cubicBezTo>
                    <a:pt x="168" y="2059"/>
                    <a:pt x="157" y="2057"/>
                    <a:pt x="146" y="2056"/>
                  </a:cubicBezTo>
                  <a:cubicBezTo>
                    <a:pt x="131" y="2054"/>
                    <a:pt x="116" y="2052"/>
                    <a:pt x="100" y="2050"/>
                  </a:cubicBezTo>
                  <a:cubicBezTo>
                    <a:pt x="96" y="2050"/>
                    <a:pt x="92" y="2051"/>
                    <a:pt x="88" y="2052"/>
                  </a:cubicBezTo>
                  <a:cubicBezTo>
                    <a:pt x="72" y="2060"/>
                    <a:pt x="55" y="2067"/>
                    <a:pt x="40" y="2076"/>
                  </a:cubicBezTo>
                  <a:cubicBezTo>
                    <a:pt x="28" y="2082"/>
                    <a:pt x="17" y="2088"/>
                    <a:pt x="6" y="2096"/>
                  </a:cubicBezTo>
                  <a:cubicBezTo>
                    <a:pt x="0" y="2100"/>
                    <a:pt x="0" y="2102"/>
                    <a:pt x="4" y="2109"/>
                  </a:cubicBezTo>
                  <a:cubicBezTo>
                    <a:pt x="14" y="2123"/>
                    <a:pt x="25" y="2138"/>
                    <a:pt x="35" y="2152"/>
                  </a:cubicBezTo>
                  <a:cubicBezTo>
                    <a:pt x="39" y="2157"/>
                    <a:pt x="43" y="2162"/>
                    <a:pt x="48" y="2165"/>
                  </a:cubicBezTo>
                  <a:cubicBezTo>
                    <a:pt x="67" y="2178"/>
                    <a:pt x="86" y="2190"/>
                    <a:pt x="105" y="2203"/>
                  </a:cubicBezTo>
                  <a:cubicBezTo>
                    <a:pt x="111" y="2207"/>
                    <a:pt x="116" y="2209"/>
                    <a:pt x="123" y="2210"/>
                  </a:cubicBezTo>
                  <a:cubicBezTo>
                    <a:pt x="135" y="2212"/>
                    <a:pt x="147" y="2213"/>
                    <a:pt x="158" y="2218"/>
                  </a:cubicBezTo>
                  <a:cubicBezTo>
                    <a:pt x="165" y="2221"/>
                    <a:pt x="173" y="2225"/>
                    <a:pt x="181" y="2227"/>
                  </a:cubicBezTo>
                  <a:cubicBezTo>
                    <a:pt x="196" y="2233"/>
                    <a:pt x="210" y="2241"/>
                    <a:pt x="223" y="2250"/>
                  </a:cubicBezTo>
                  <a:cubicBezTo>
                    <a:pt x="239" y="2261"/>
                    <a:pt x="254" y="2273"/>
                    <a:pt x="269" y="2285"/>
                  </a:cubicBezTo>
                  <a:cubicBezTo>
                    <a:pt x="274" y="2289"/>
                    <a:pt x="280" y="2293"/>
                    <a:pt x="283" y="2299"/>
                  </a:cubicBezTo>
                  <a:cubicBezTo>
                    <a:pt x="293" y="2317"/>
                    <a:pt x="303" y="2336"/>
                    <a:pt x="312" y="2355"/>
                  </a:cubicBezTo>
                  <a:cubicBezTo>
                    <a:pt x="316" y="2362"/>
                    <a:pt x="317" y="2370"/>
                    <a:pt x="319" y="2378"/>
                  </a:cubicBezTo>
                  <a:cubicBezTo>
                    <a:pt x="320" y="2389"/>
                    <a:pt x="318" y="2400"/>
                    <a:pt x="312" y="2409"/>
                  </a:cubicBezTo>
                  <a:cubicBezTo>
                    <a:pt x="305" y="2420"/>
                    <a:pt x="301" y="2430"/>
                    <a:pt x="306" y="2443"/>
                  </a:cubicBezTo>
                  <a:cubicBezTo>
                    <a:pt x="306" y="2445"/>
                    <a:pt x="305" y="2447"/>
                    <a:pt x="305" y="2449"/>
                  </a:cubicBezTo>
                  <a:cubicBezTo>
                    <a:pt x="304" y="2464"/>
                    <a:pt x="304" y="2479"/>
                    <a:pt x="316" y="2490"/>
                  </a:cubicBezTo>
                  <a:cubicBezTo>
                    <a:pt x="320" y="2495"/>
                    <a:pt x="323" y="2501"/>
                    <a:pt x="324" y="2507"/>
                  </a:cubicBezTo>
                  <a:cubicBezTo>
                    <a:pt x="327" y="2519"/>
                    <a:pt x="330" y="2522"/>
                    <a:pt x="341" y="2521"/>
                  </a:cubicBezTo>
                  <a:cubicBezTo>
                    <a:pt x="352" y="2521"/>
                    <a:pt x="359" y="2527"/>
                    <a:pt x="366" y="2533"/>
                  </a:cubicBezTo>
                  <a:cubicBezTo>
                    <a:pt x="370" y="2537"/>
                    <a:pt x="373" y="2541"/>
                    <a:pt x="378" y="2544"/>
                  </a:cubicBezTo>
                  <a:cubicBezTo>
                    <a:pt x="388" y="2552"/>
                    <a:pt x="396" y="2564"/>
                    <a:pt x="412" y="2564"/>
                  </a:cubicBezTo>
                  <a:cubicBezTo>
                    <a:pt x="414" y="2564"/>
                    <a:pt x="417" y="2565"/>
                    <a:pt x="420" y="2565"/>
                  </a:cubicBezTo>
                  <a:cubicBezTo>
                    <a:pt x="423" y="2565"/>
                    <a:pt x="425" y="2566"/>
                    <a:pt x="424" y="2570"/>
                  </a:cubicBezTo>
                  <a:cubicBezTo>
                    <a:pt x="423" y="2577"/>
                    <a:pt x="422" y="2584"/>
                    <a:pt x="422" y="2591"/>
                  </a:cubicBezTo>
                  <a:cubicBezTo>
                    <a:pt x="422" y="2598"/>
                    <a:pt x="420" y="2603"/>
                    <a:pt x="416" y="2608"/>
                  </a:cubicBezTo>
                  <a:cubicBezTo>
                    <a:pt x="410" y="2617"/>
                    <a:pt x="404" y="2625"/>
                    <a:pt x="399" y="2634"/>
                  </a:cubicBezTo>
                  <a:cubicBezTo>
                    <a:pt x="396" y="2639"/>
                    <a:pt x="393" y="2642"/>
                    <a:pt x="389" y="2645"/>
                  </a:cubicBezTo>
                  <a:cubicBezTo>
                    <a:pt x="384" y="2650"/>
                    <a:pt x="378" y="2655"/>
                    <a:pt x="372" y="2660"/>
                  </a:cubicBezTo>
                  <a:cubicBezTo>
                    <a:pt x="360" y="2670"/>
                    <a:pt x="348" y="2680"/>
                    <a:pt x="337" y="2690"/>
                  </a:cubicBezTo>
                  <a:cubicBezTo>
                    <a:pt x="329" y="2696"/>
                    <a:pt x="328" y="2698"/>
                    <a:pt x="332" y="2707"/>
                  </a:cubicBezTo>
                  <a:cubicBezTo>
                    <a:pt x="339" y="2723"/>
                    <a:pt x="346" y="2739"/>
                    <a:pt x="353" y="2754"/>
                  </a:cubicBezTo>
                  <a:cubicBezTo>
                    <a:pt x="365" y="2781"/>
                    <a:pt x="364" y="2781"/>
                    <a:pt x="364" y="2811"/>
                  </a:cubicBezTo>
                  <a:cubicBezTo>
                    <a:pt x="364" y="2825"/>
                    <a:pt x="364" y="2838"/>
                    <a:pt x="364" y="2852"/>
                  </a:cubicBezTo>
                  <a:cubicBezTo>
                    <a:pt x="364" y="2855"/>
                    <a:pt x="364" y="2858"/>
                    <a:pt x="364" y="2861"/>
                  </a:cubicBezTo>
                  <a:cubicBezTo>
                    <a:pt x="364" y="2875"/>
                    <a:pt x="363" y="2888"/>
                    <a:pt x="362" y="2902"/>
                  </a:cubicBezTo>
                  <a:cubicBezTo>
                    <a:pt x="362" y="2910"/>
                    <a:pt x="365" y="2913"/>
                    <a:pt x="373" y="2913"/>
                  </a:cubicBezTo>
                  <a:cubicBezTo>
                    <a:pt x="378" y="2914"/>
                    <a:pt x="383" y="2913"/>
                    <a:pt x="387" y="2914"/>
                  </a:cubicBezTo>
                  <a:cubicBezTo>
                    <a:pt x="395" y="2914"/>
                    <a:pt x="395" y="2914"/>
                    <a:pt x="395" y="2921"/>
                  </a:cubicBezTo>
                  <a:cubicBezTo>
                    <a:pt x="395" y="2923"/>
                    <a:pt x="395" y="2924"/>
                    <a:pt x="395" y="2926"/>
                  </a:cubicBezTo>
                  <a:cubicBezTo>
                    <a:pt x="394" y="2940"/>
                    <a:pt x="393" y="2954"/>
                    <a:pt x="393" y="2967"/>
                  </a:cubicBezTo>
                  <a:cubicBezTo>
                    <a:pt x="393" y="2975"/>
                    <a:pt x="396" y="2978"/>
                    <a:pt x="404" y="2979"/>
                  </a:cubicBezTo>
                  <a:cubicBezTo>
                    <a:pt x="409" y="2979"/>
                    <a:pt x="414" y="2979"/>
                    <a:pt x="420" y="2979"/>
                  </a:cubicBezTo>
                  <a:cubicBezTo>
                    <a:pt x="429" y="2980"/>
                    <a:pt x="439" y="2980"/>
                    <a:pt x="448" y="2981"/>
                  </a:cubicBezTo>
                  <a:cubicBezTo>
                    <a:pt x="453" y="2981"/>
                    <a:pt x="456" y="2978"/>
                    <a:pt x="457" y="2973"/>
                  </a:cubicBezTo>
                  <a:cubicBezTo>
                    <a:pt x="457" y="2972"/>
                    <a:pt x="457" y="2970"/>
                    <a:pt x="457" y="2968"/>
                  </a:cubicBezTo>
                  <a:cubicBezTo>
                    <a:pt x="458" y="2953"/>
                    <a:pt x="458" y="2938"/>
                    <a:pt x="459" y="2924"/>
                  </a:cubicBezTo>
                  <a:cubicBezTo>
                    <a:pt x="459" y="2920"/>
                    <a:pt x="460" y="2918"/>
                    <a:pt x="465" y="2918"/>
                  </a:cubicBezTo>
                  <a:cubicBezTo>
                    <a:pt x="471" y="2918"/>
                    <a:pt x="478" y="2918"/>
                    <a:pt x="484" y="2918"/>
                  </a:cubicBezTo>
                  <a:cubicBezTo>
                    <a:pt x="502" y="2919"/>
                    <a:pt x="519" y="2921"/>
                    <a:pt x="537" y="2922"/>
                  </a:cubicBezTo>
                  <a:cubicBezTo>
                    <a:pt x="551" y="2923"/>
                    <a:pt x="565" y="2924"/>
                    <a:pt x="579" y="2925"/>
                  </a:cubicBezTo>
                  <a:cubicBezTo>
                    <a:pt x="589" y="2925"/>
                    <a:pt x="592" y="2923"/>
                    <a:pt x="591" y="2913"/>
                  </a:cubicBezTo>
                  <a:cubicBezTo>
                    <a:pt x="590" y="2907"/>
                    <a:pt x="589" y="2901"/>
                    <a:pt x="589" y="2894"/>
                  </a:cubicBezTo>
                  <a:cubicBezTo>
                    <a:pt x="588" y="2881"/>
                    <a:pt x="588" y="2868"/>
                    <a:pt x="586" y="2855"/>
                  </a:cubicBezTo>
                  <a:cubicBezTo>
                    <a:pt x="586" y="2849"/>
                    <a:pt x="583" y="2844"/>
                    <a:pt x="581" y="2838"/>
                  </a:cubicBezTo>
                  <a:cubicBezTo>
                    <a:pt x="580" y="2836"/>
                    <a:pt x="578" y="2832"/>
                    <a:pt x="579" y="2829"/>
                  </a:cubicBezTo>
                  <a:cubicBezTo>
                    <a:pt x="583" y="2805"/>
                    <a:pt x="588" y="2780"/>
                    <a:pt x="593" y="2755"/>
                  </a:cubicBezTo>
                  <a:cubicBezTo>
                    <a:pt x="595" y="2747"/>
                    <a:pt x="595" y="2747"/>
                    <a:pt x="603" y="2748"/>
                  </a:cubicBezTo>
                  <a:cubicBezTo>
                    <a:pt x="619" y="2752"/>
                    <a:pt x="634" y="2755"/>
                    <a:pt x="649" y="2758"/>
                  </a:cubicBezTo>
                  <a:cubicBezTo>
                    <a:pt x="658" y="2759"/>
                    <a:pt x="659" y="2758"/>
                    <a:pt x="661" y="2751"/>
                  </a:cubicBezTo>
                  <a:cubicBezTo>
                    <a:pt x="662" y="2749"/>
                    <a:pt x="662" y="2747"/>
                    <a:pt x="663" y="2745"/>
                  </a:cubicBezTo>
                  <a:cubicBezTo>
                    <a:pt x="665" y="2731"/>
                    <a:pt x="667" y="2718"/>
                    <a:pt x="670" y="2705"/>
                  </a:cubicBezTo>
                  <a:cubicBezTo>
                    <a:pt x="672" y="2695"/>
                    <a:pt x="672" y="2696"/>
                    <a:pt x="682" y="2697"/>
                  </a:cubicBezTo>
                  <a:cubicBezTo>
                    <a:pt x="714" y="2704"/>
                    <a:pt x="747" y="2710"/>
                    <a:pt x="779" y="2717"/>
                  </a:cubicBezTo>
                  <a:cubicBezTo>
                    <a:pt x="796" y="2720"/>
                    <a:pt x="813" y="2724"/>
                    <a:pt x="829" y="2727"/>
                  </a:cubicBezTo>
                  <a:cubicBezTo>
                    <a:pt x="834" y="2728"/>
                    <a:pt x="835" y="2730"/>
                    <a:pt x="834" y="2734"/>
                  </a:cubicBezTo>
                  <a:cubicBezTo>
                    <a:pt x="834" y="2736"/>
                    <a:pt x="833" y="2738"/>
                    <a:pt x="833" y="2740"/>
                  </a:cubicBezTo>
                  <a:cubicBezTo>
                    <a:pt x="829" y="2760"/>
                    <a:pt x="824" y="2779"/>
                    <a:pt x="820" y="2799"/>
                  </a:cubicBezTo>
                  <a:cubicBezTo>
                    <a:pt x="819" y="2807"/>
                    <a:pt x="818" y="2814"/>
                    <a:pt x="816" y="2822"/>
                  </a:cubicBezTo>
                  <a:cubicBezTo>
                    <a:pt x="810" y="2856"/>
                    <a:pt x="804" y="2889"/>
                    <a:pt x="797" y="2922"/>
                  </a:cubicBezTo>
                  <a:cubicBezTo>
                    <a:pt x="794" y="2940"/>
                    <a:pt x="790" y="2958"/>
                    <a:pt x="786" y="2976"/>
                  </a:cubicBezTo>
                  <a:cubicBezTo>
                    <a:pt x="785" y="2981"/>
                    <a:pt x="783" y="2984"/>
                    <a:pt x="778" y="2983"/>
                  </a:cubicBezTo>
                  <a:cubicBezTo>
                    <a:pt x="775" y="2983"/>
                    <a:pt x="772" y="2984"/>
                    <a:pt x="771" y="2985"/>
                  </a:cubicBezTo>
                  <a:cubicBezTo>
                    <a:pt x="769" y="2989"/>
                    <a:pt x="768" y="2993"/>
                    <a:pt x="766" y="2997"/>
                  </a:cubicBezTo>
                  <a:cubicBezTo>
                    <a:pt x="763" y="3000"/>
                    <a:pt x="757" y="3000"/>
                    <a:pt x="756" y="3006"/>
                  </a:cubicBezTo>
                  <a:cubicBezTo>
                    <a:pt x="755" y="3012"/>
                    <a:pt x="753" y="3018"/>
                    <a:pt x="752" y="3025"/>
                  </a:cubicBezTo>
                  <a:cubicBezTo>
                    <a:pt x="743" y="3070"/>
                    <a:pt x="734" y="3115"/>
                    <a:pt x="725" y="3161"/>
                  </a:cubicBezTo>
                  <a:cubicBezTo>
                    <a:pt x="723" y="3171"/>
                    <a:pt x="721" y="3181"/>
                    <a:pt x="720" y="3191"/>
                  </a:cubicBezTo>
                  <a:cubicBezTo>
                    <a:pt x="719" y="3199"/>
                    <a:pt x="720" y="3200"/>
                    <a:pt x="727" y="3202"/>
                  </a:cubicBezTo>
                  <a:cubicBezTo>
                    <a:pt x="737" y="3204"/>
                    <a:pt x="746" y="3206"/>
                    <a:pt x="756" y="3208"/>
                  </a:cubicBezTo>
                  <a:cubicBezTo>
                    <a:pt x="772" y="3211"/>
                    <a:pt x="787" y="3214"/>
                    <a:pt x="803" y="3216"/>
                  </a:cubicBezTo>
                  <a:cubicBezTo>
                    <a:pt x="807" y="3217"/>
                    <a:pt x="808" y="3219"/>
                    <a:pt x="808" y="3223"/>
                  </a:cubicBezTo>
                  <a:cubicBezTo>
                    <a:pt x="807" y="3229"/>
                    <a:pt x="806" y="3235"/>
                    <a:pt x="805" y="3242"/>
                  </a:cubicBezTo>
                  <a:cubicBezTo>
                    <a:pt x="798" y="3275"/>
                    <a:pt x="791" y="3309"/>
                    <a:pt x="784" y="3343"/>
                  </a:cubicBezTo>
                  <a:cubicBezTo>
                    <a:pt x="781" y="3357"/>
                    <a:pt x="779" y="3371"/>
                    <a:pt x="776" y="3386"/>
                  </a:cubicBezTo>
                  <a:cubicBezTo>
                    <a:pt x="775" y="3390"/>
                    <a:pt x="773" y="3391"/>
                    <a:pt x="770" y="3391"/>
                  </a:cubicBezTo>
                  <a:cubicBezTo>
                    <a:pt x="764" y="3390"/>
                    <a:pt x="759" y="3388"/>
                    <a:pt x="754" y="3387"/>
                  </a:cubicBezTo>
                  <a:cubicBezTo>
                    <a:pt x="744" y="3384"/>
                    <a:pt x="735" y="3386"/>
                    <a:pt x="728" y="3394"/>
                  </a:cubicBezTo>
                  <a:cubicBezTo>
                    <a:pt x="724" y="3398"/>
                    <a:pt x="720" y="3401"/>
                    <a:pt x="716" y="3405"/>
                  </a:cubicBezTo>
                  <a:cubicBezTo>
                    <a:pt x="713" y="3407"/>
                    <a:pt x="711" y="3409"/>
                    <a:pt x="708" y="3405"/>
                  </a:cubicBezTo>
                  <a:cubicBezTo>
                    <a:pt x="704" y="3399"/>
                    <a:pt x="698" y="3400"/>
                    <a:pt x="693" y="3403"/>
                  </a:cubicBezTo>
                  <a:cubicBezTo>
                    <a:pt x="686" y="3407"/>
                    <a:pt x="679" y="3411"/>
                    <a:pt x="672" y="3414"/>
                  </a:cubicBezTo>
                  <a:cubicBezTo>
                    <a:pt x="654" y="3424"/>
                    <a:pt x="637" y="3433"/>
                    <a:pt x="619" y="3442"/>
                  </a:cubicBezTo>
                  <a:cubicBezTo>
                    <a:pt x="613" y="3445"/>
                    <a:pt x="610" y="3449"/>
                    <a:pt x="609" y="3456"/>
                  </a:cubicBezTo>
                  <a:cubicBezTo>
                    <a:pt x="607" y="3472"/>
                    <a:pt x="603" y="3488"/>
                    <a:pt x="601" y="3504"/>
                  </a:cubicBezTo>
                  <a:cubicBezTo>
                    <a:pt x="599" y="3518"/>
                    <a:pt x="596" y="3532"/>
                    <a:pt x="600" y="3546"/>
                  </a:cubicBezTo>
                  <a:cubicBezTo>
                    <a:pt x="608" y="3575"/>
                    <a:pt x="615" y="3604"/>
                    <a:pt x="622" y="3634"/>
                  </a:cubicBezTo>
                  <a:cubicBezTo>
                    <a:pt x="623" y="3639"/>
                    <a:pt x="623" y="3643"/>
                    <a:pt x="618" y="3647"/>
                  </a:cubicBezTo>
                  <a:cubicBezTo>
                    <a:pt x="613" y="3651"/>
                    <a:pt x="610" y="3655"/>
                    <a:pt x="614" y="3662"/>
                  </a:cubicBezTo>
                  <a:cubicBezTo>
                    <a:pt x="615" y="3663"/>
                    <a:pt x="614" y="3666"/>
                    <a:pt x="613" y="3668"/>
                  </a:cubicBezTo>
                  <a:cubicBezTo>
                    <a:pt x="612" y="3675"/>
                    <a:pt x="614" y="3679"/>
                    <a:pt x="620" y="3682"/>
                  </a:cubicBezTo>
                  <a:cubicBezTo>
                    <a:pt x="627" y="3686"/>
                    <a:pt x="627" y="3687"/>
                    <a:pt x="623" y="3694"/>
                  </a:cubicBezTo>
                  <a:cubicBezTo>
                    <a:pt x="622" y="3695"/>
                    <a:pt x="621" y="3696"/>
                    <a:pt x="621" y="3697"/>
                  </a:cubicBezTo>
                  <a:cubicBezTo>
                    <a:pt x="617" y="3703"/>
                    <a:pt x="619" y="3707"/>
                    <a:pt x="626" y="3708"/>
                  </a:cubicBezTo>
                  <a:cubicBezTo>
                    <a:pt x="631" y="3709"/>
                    <a:pt x="636" y="3710"/>
                    <a:pt x="641" y="3711"/>
                  </a:cubicBezTo>
                  <a:cubicBezTo>
                    <a:pt x="649" y="3712"/>
                    <a:pt x="657" y="3712"/>
                    <a:pt x="663" y="3720"/>
                  </a:cubicBezTo>
                  <a:cubicBezTo>
                    <a:pt x="668" y="3726"/>
                    <a:pt x="668" y="3730"/>
                    <a:pt x="663" y="3736"/>
                  </a:cubicBezTo>
                  <a:cubicBezTo>
                    <a:pt x="648" y="3748"/>
                    <a:pt x="634" y="3761"/>
                    <a:pt x="619" y="3774"/>
                  </a:cubicBezTo>
                  <a:cubicBezTo>
                    <a:pt x="617" y="3776"/>
                    <a:pt x="615" y="3778"/>
                    <a:pt x="614" y="3780"/>
                  </a:cubicBezTo>
                  <a:cubicBezTo>
                    <a:pt x="611" y="3793"/>
                    <a:pt x="605" y="3806"/>
                    <a:pt x="607" y="3820"/>
                  </a:cubicBezTo>
                  <a:cubicBezTo>
                    <a:pt x="609" y="3836"/>
                    <a:pt x="611" y="3852"/>
                    <a:pt x="612" y="3869"/>
                  </a:cubicBezTo>
                  <a:cubicBezTo>
                    <a:pt x="613" y="3885"/>
                    <a:pt x="613" y="3902"/>
                    <a:pt x="613" y="3919"/>
                  </a:cubicBezTo>
                  <a:cubicBezTo>
                    <a:pt x="613" y="3919"/>
                    <a:pt x="613" y="3919"/>
                    <a:pt x="613" y="3919"/>
                  </a:cubicBezTo>
                  <a:cubicBezTo>
                    <a:pt x="613" y="3925"/>
                    <a:pt x="613" y="3931"/>
                    <a:pt x="614" y="3937"/>
                  </a:cubicBezTo>
                  <a:cubicBezTo>
                    <a:pt x="614" y="3950"/>
                    <a:pt x="615" y="3962"/>
                    <a:pt x="615" y="3975"/>
                  </a:cubicBezTo>
                  <a:cubicBezTo>
                    <a:pt x="616" y="3980"/>
                    <a:pt x="617" y="3983"/>
                    <a:pt x="623" y="3984"/>
                  </a:cubicBezTo>
                  <a:cubicBezTo>
                    <a:pt x="631" y="3985"/>
                    <a:pt x="639" y="3986"/>
                    <a:pt x="647" y="3988"/>
                  </a:cubicBezTo>
                  <a:cubicBezTo>
                    <a:pt x="659" y="3990"/>
                    <a:pt x="672" y="3989"/>
                    <a:pt x="683" y="3995"/>
                  </a:cubicBezTo>
                  <a:cubicBezTo>
                    <a:pt x="686" y="3997"/>
                    <a:pt x="689" y="3997"/>
                    <a:pt x="692" y="3996"/>
                  </a:cubicBezTo>
                  <a:cubicBezTo>
                    <a:pt x="703" y="3994"/>
                    <a:pt x="713" y="3999"/>
                    <a:pt x="723" y="3999"/>
                  </a:cubicBezTo>
                  <a:cubicBezTo>
                    <a:pt x="727" y="3999"/>
                    <a:pt x="729" y="4002"/>
                    <a:pt x="728" y="4006"/>
                  </a:cubicBezTo>
                  <a:cubicBezTo>
                    <a:pt x="728" y="4009"/>
                    <a:pt x="728" y="4011"/>
                    <a:pt x="727" y="4014"/>
                  </a:cubicBezTo>
                  <a:cubicBezTo>
                    <a:pt x="725" y="4028"/>
                    <a:pt x="722" y="4043"/>
                    <a:pt x="720" y="4057"/>
                  </a:cubicBezTo>
                  <a:cubicBezTo>
                    <a:pt x="718" y="4069"/>
                    <a:pt x="725" y="4075"/>
                    <a:pt x="737" y="4071"/>
                  </a:cubicBezTo>
                  <a:cubicBezTo>
                    <a:pt x="739" y="4071"/>
                    <a:pt x="742" y="4068"/>
                    <a:pt x="743" y="4066"/>
                  </a:cubicBezTo>
                  <a:cubicBezTo>
                    <a:pt x="746" y="4063"/>
                    <a:pt x="749" y="4063"/>
                    <a:pt x="751" y="4066"/>
                  </a:cubicBezTo>
                  <a:cubicBezTo>
                    <a:pt x="756" y="4074"/>
                    <a:pt x="763" y="4075"/>
                    <a:pt x="770" y="4076"/>
                  </a:cubicBezTo>
                  <a:cubicBezTo>
                    <a:pt x="774" y="4077"/>
                    <a:pt x="779" y="4076"/>
                    <a:pt x="781" y="4078"/>
                  </a:cubicBezTo>
                  <a:cubicBezTo>
                    <a:pt x="782" y="4080"/>
                    <a:pt x="780" y="4084"/>
                    <a:pt x="780" y="4088"/>
                  </a:cubicBezTo>
                  <a:cubicBezTo>
                    <a:pt x="780" y="4097"/>
                    <a:pt x="781" y="4099"/>
                    <a:pt x="790" y="4100"/>
                  </a:cubicBezTo>
                  <a:cubicBezTo>
                    <a:pt x="798" y="4102"/>
                    <a:pt x="807" y="4104"/>
                    <a:pt x="815" y="4105"/>
                  </a:cubicBezTo>
                  <a:cubicBezTo>
                    <a:pt x="821" y="4105"/>
                    <a:pt x="822" y="4108"/>
                    <a:pt x="821" y="4112"/>
                  </a:cubicBezTo>
                  <a:cubicBezTo>
                    <a:pt x="820" y="4119"/>
                    <a:pt x="819" y="4126"/>
                    <a:pt x="818" y="4133"/>
                  </a:cubicBezTo>
                  <a:cubicBezTo>
                    <a:pt x="817" y="4138"/>
                    <a:pt x="815" y="4144"/>
                    <a:pt x="814" y="4149"/>
                  </a:cubicBezTo>
                  <a:cubicBezTo>
                    <a:pt x="812" y="4153"/>
                    <a:pt x="812" y="4153"/>
                    <a:pt x="814" y="4166"/>
                  </a:cubicBezTo>
                  <a:cubicBezTo>
                    <a:pt x="814" y="4167"/>
                    <a:pt x="814" y="4167"/>
                    <a:pt x="814" y="4167"/>
                  </a:cubicBezTo>
                  <a:cubicBezTo>
                    <a:pt x="815" y="4171"/>
                    <a:pt x="817" y="4173"/>
                    <a:pt x="821" y="4174"/>
                  </a:cubicBezTo>
                  <a:cubicBezTo>
                    <a:pt x="833" y="4176"/>
                    <a:pt x="846" y="4179"/>
                    <a:pt x="858" y="4180"/>
                  </a:cubicBezTo>
                  <a:cubicBezTo>
                    <a:pt x="861" y="4181"/>
                    <a:pt x="865" y="4179"/>
                    <a:pt x="868" y="4177"/>
                  </a:cubicBezTo>
                  <a:cubicBezTo>
                    <a:pt x="870" y="4176"/>
                    <a:pt x="872" y="4175"/>
                    <a:pt x="875" y="4176"/>
                  </a:cubicBezTo>
                  <a:cubicBezTo>
                    <a:pt x="881" y="4177"/>
                    <a:pt x="885" y="4174"/>
                    <a:pt x="886" y="4169"/>
                  </a:cubicBezTo>
                  <a:cubicBezTo>
                    <a:pt x="889" y="4152"/>
                    <a:pt x="891" y="4136"/>
                    <a:pt x="894" y="4119"/>
                  </a:cubicBezTo>
                  <a:cubicBezTo>
                    <a:pt x="895" y="4116"/>
                    <a:pt x="895" y="4111"/>
                    <a:pt x="893" y="4109"/>
                  </a:cubicBezTo>
                  <a:cubicBezTo>
                    <a:pt x="888" y="4103"/>
                    <a:pt x="890" y="4097"/>
                    <a:pt x="892" y="4091"/>
                  </a:cubicBezTo>
                  <a:cubicBezTo>
                    <a:pt x="893" y="4084"/>
                    <a:pt x="894" y="4076"/>
                    <a:pt x="895" y="4069"/>
                  </a:cubicBezTo>
                  <a:cubicBezTo>
                    <a:pt x="897" y="4064"/>
                    <a:pt x="894" y="4061"/>
                    <a:pt x="890" y="4060"/>
                  </a:cubicBezTo>
                  <a:cubicBezTo>
                    <a:pt x="882" y="4060"/>
                    <a:pt x="883" y="4055"/>
                    <a:pt x="884" y="4050"/>
                  </a:cubicBezTo>
                  <a:cubicBezTo>
                    <a:pt x="886" y="4036"/>
                    <a:pt x="890" y="4023"/>
                    <a:pt x="892" y="4009"/>
                  </a:cubicBezTo>
                  <a:cubicBezTo>
                    <a:pt x="893" y="4004"/>
                    <a:pt x="894" y="4003"/>
                    <a:pt x="899" y="4003"/>
                  </a:cubicBezTo>
                  <a:cubicBezTo>
                    <a:pt x="903" y="4003"/>
                    <a:pt x="909" y="4004"/>
                    <a:pt x="912" y="4002"/>
                  </a:cubicBezTo>
                  <a:cubicBezTo>
                    <a:pt x="917" y="3999"/>
                    <a:pt x="921" y="3997"/>
                    <a:pt x="927" y="3998"/>
                  </a:cubicBezTo>
                  <a:cubicBezTo>
                    <a:pt x="930" y="3998"/>
                    <a:pt x="934" y="3994"/>
                    <a:pt x="937" y="3991"/>
                  </a:cubicBezTo>
                  <a:cubicBezTo>
                    <a:pt x="939" y="3988"/>
                    <a:pt x="937" y="3984"/>
                    <a:pt x="934" y="3981"/>
                  </a:cubicBezTo>
                  <a:cubicBezTo>
                    <a:pt x="931" y="3978"/>
                    <a:pt x="927" y="3975"/>
                    <a:pt x="924" y="3972"/>
                  </a:cubicBezTo>
                  <a:cubicBezTo>
                    <a:pt x="923" y="3971"/>
                    <a:pt x="922" y="3971"/>
                    <a:pt x="921" y="3970"/>
                  </a:cubicBezTo>
                  <a:cubicBezTo>
                    <a:pt x="917" y="3968"/>
                    <a:pt x="917" y="3963"/>
                    <a:pt x="918" y="3960"/>
                  </a:cubicBezTo>
                  <a:cubicBezTo>
                    <a:pt x="920" y="3956"/>
                    <a:pt x="923" y="3958"/>
                    <a:pt x="926" y="3959"/>
                  </a:cubicBezTo>
                  <a:cubicBezTo>
                    <a:pt x="936" y="3961"/>
                    <a:pt x="945" y="3963"/>
                    <a:pt x="955" y="3965"/>
                  </a:cubicBezTo>
                  <a:cubicBezTo>
                    <a:pt x="973" y="3968"/>
                    <a:pt x="973" y="3968"/>
                    <a:pt x="976" y="3952"/>
                  </a:cubicBezTo>
                  <a:cubicBezTo>
                    <a:pt x="977" y="3947"/>
                    <a:pt x="978" y="3942"/>
                    <a:pt x="983" y="3940"/>
                  </a:cubicBezTo>
                  <a:cubicBezTo>
                    <a:pt x="988" y="3938"/>
                    <a:pt x="992" y="3933"/>
                    <a:pt x="997" y="3934"/>
                  </a:cubicBezTo>
                  <a:cubicBezTo>
                    <a:pt x="1011" y="3934"/>
                    <a:pt x="1024" y="3929"/>
                    <a:pt x="1037" y="3926"/>
                  </a:cubicBezTo>
                  <a:cubicBezTo>
                    <a:pt x="1047" y="3923"/>
                    <a:pt x="1057" y="3920"/>
                    <a:pt x="1068" y="3923"/>
                  </a:cubicBezTo>
                  <a:cubicBezTo>
                    <a:pt x="1082" y="3926"/>
                    <a:pt x="1090" y="3918"/>
                    <a:pt x="1093" y="3904"/>
                  </a:cubicBezTo>
                  <a:cubicBezTo>
                    <a:pt x="1094" y="3902"/>
                    <a:pt x="1095" y="3900"/>
                    <a:pt x="1097" y="3899"/>
                  </a:cubicBezTo>
                  <a:cubicBezTo>
                    <a:pt x="1098" y="3896"/>
                    <a:pt x="1101" y="3894"/>
                    <a:pt x="1102" y="3892"/>
                  </a:cubicBezTo>
                  <a:cubicBezTo>
                    <a:pt x="1108" y="3882"/>
                    <a:pt x="1115" y="3873"/>
                    <a:pt x="1121" y="3863"/>
                  </a:cubicBezTo>
                  <a:cubicBezTo>
                    <a:pt x="1124" y="3858"/>
                    <a:pt x="1129" y="3855"/>
                    <a:pt x="1136" y="3854"/>
                  </a:cubicBezTo>
                  <a:cubicBezTo>
                    <a:pt x="1138" y="3854"/>
                    <a:pt x="1140" y="3854"/>
                    <a:pt x="1142" y="3853"/>
                  </a:cubicBezTo>
                  <a:cubicBezTo>
                    <a:pt x="1146" y="3850"/>
                    <a:pt x="1150" y="3852"/>
                    <a:pt x="1154" y="3854"/>
                  </a:cubicBezTo>
                  <a:cubicBezTo>
                    <a:pt x="1161" y="3858"/>
                    <a:pt x="1168" y="3862"/>
                    <a:pt x="1175" y="3865"/>
                  </a:cubicBezTo>
                  <a:cubicBezTo>
                    <a:pt x="1181" y="3868"/>
                    <a:pt x="1184" y="3872"/>
                    <a:pt x="1185" y="3879"/>
                  </a:cubicBezTo>
                  <a:cubicBezTo>
                    <a:pt x="1186" y="3888"/>
                    <a:pt x="1191" y="3895"/>
                    <a:pt x="1199" y="3899"/>
                  </a:cubicBezTo>
                  <a:cubicBezTo>
                    <a:pt x="1201" y="3901"/>
                    <a:pt x="1205" y="3901"/>
                    <a:pt x="1208" y="3900"/>
                  </a:cubicBezTo>
                  <a:cubicBezTo>
                    <a:pt x="1218" y="3894"/>
                    <a:pt x="1228" y="3888"/>
                    <a:pt x="1234" y="3876"/>
                  </a:cubicBezTo>
                  <a:cubicBezTo>
                    <a:pt x="1239" y="3866"/>
                    <a:pt x="1246" y="3858"/>
                    <a:pt x="1253" y="3849"/>
                  </a:cubicBezTo>
                  <a:cubicBezTo>
                    <a:pt x="1262" y="3838"/>
                    <a:pt x="1271" y="3828"/>
                    <a:pt x="1276" y="3815"/>
                  </a:cubicBezTo>
                  <a:cubicBezTo>
                    <a:pt x="1282" y="3800"/>
                    <a:pt x="1289" y="3785"/>
                    <a:pt x="1299" y="3772"/>
                  </a:cubicBezTo>
                  <a:cubicBezTo>
                    <a:pt x="1304" y="3765"/>
                    <a:pt x="1307" y="3756"/>
                    <a:pt x="1316" y="3751"/>
                  </a:cubicBezTo>
                  <a:cubicBezTo>
                    <a:pt x="1320" y="3749"/>
                    <a:pt x="1323" y="3749"/>
                    <a:pt x="1327" y="3751"/>
                  </a:cubicBezTo>
                  <a:cubicBezTo>
                    <a:pt x="1332" y="3755"/>
                    <a:pt x="1339" y="3759"/>
                    <a:pt x="1345" y="3763"/>
                  </a:cubicBezTo>
                  <a:cubicBezTo>
                    <a:pt x="1352" y="3767"/>
                    <a:pt x="1358" y="3772"/>
                    <a:pt x="1366" y="3776"/>
                  </a:cubicBezTo>
                  <a:cubicBezTo>
                    <a:pt x="1372" y="3779"/>
                    <a:pt x="1374" y="3778"/>
                    <a:pt x="1377" y="3772"/>
                  </a:cubicBezTo>
                  <a:cubicBezTo>
                    <a:pt x="1378" y="3770"/>
                    <a:pt x="1379" y="3768"/>
                    <a:pt x="1379" y="3766"/>
                  </a:cubicBezTo>
                  <a:cubicBezTo>
                    <a:pt x="1382" y="3752"/>
                    <a:pt x="1385" y="3738"/>
                    <a:pt x="1388" y="3725"/>
                  </a:cubicBezTo>
                  <a:cubicBezTo>
                    <a:pt x="1388" y="3721"/>
                    <a:pt x="1388" y="3718"/>
                    <a:pt x="1385" y="3716"/>
                  </a:cubicBezTo>
                  <a:cubicBezTo>
                    <a:pt x="1380" y="3712"/>
                    <a:pt x="1381" y="3707"/>
                    <a:pt x="1382" y="3702"/>
                  </a:cubicBezTo>
                  <a:cubicBezTo>
                    <a:pt x="1383" y="3699"/>
                    <a:pt x="1384" y="3696"/>
                    <a:pt x="1384" y="3694"/>
                  </a:cubicBezTo>
                  <a:cubicBezTo>
                    <a:pt x="1384" y="3685"/>
                    <a:pt x="1383" y="3683"/>
                    <a:pt x="1374" y="3681"/>
                  </a:cubicBezTo>
                  <a:cubicBezTo>
                    <a:pt x="1365" y="3679"/>
                    <a:pt x="1356" y="3676"/>
                    <a:pt x="1347" y="3674"/>
                  </a:cubicBezTo>
                  <a:cubicBezTo>
                    <a:pt x="1343" y="3674"/>
                    <a:pt x="1341" y="3672"/>
                    <a:pt x="1342" y="3667"/>
                  </a:cubicBezTo>
                  <a:cubicBezTo>
                    <a:pt x="1343" y="3662"/>
                    <a:pt x="1344" y="3655"/>
                    <a:pt x="1345" y="3649"/>
                  </a:cubicBezTo>
                  <a:cubicBezTo>
                    <a:pt x="1345" y="3644"/>
                    <a:pt x="1343" y="3641"/>
                    <a:pt x="1338" y="3640"/>
                  </a:cubicBezTo>
                  <a:cubicBezTo>
                    <a:pt x="1330" y="3638"/>
                    <a:pt x="1323" y="3637"/>
                    <a:pt x="1315" y="3635"/>
                  </a:cubicBezTo>
                  <a:cubicBezTo>
                    <a:pt x="1303" y="3633"/>
                    <a:pt x="1291" y="3631"/>
                    <a:pt x="1279" y="3628"/>
                  </a:cubicBezTo>
                  <a:cubicBezTo>
                    <a:pt x="1273" y="3627"/>
                    <a:pt x="1272" y="3626"/>
                    <a:pt x="1273" y="3619"/>
                  </a:cubicBezTo>
                  <a:cubicBezTo>
                    <a:pt x="1279" y="3590"/>
                    <a:pt x="1285" y="3561"/>
                    <a:pt x="1290" y="3532"/>
                  </a:cubicBezTo>
                  <a:cubicBezTo>
                    <a:pt x="1293" y="3518"/>
                    <a:pt x="1293" y="3518"/>
                    <a:pt x="1307" y="3521"/>
                  </a:cubicBezTo>
                  <a:cubicBezTo>
                    <a:pt x="1330" y="3527"/>
                    <a:pt x="1353" y="3532"/>
                    <a:pt x="1375" y="3537"/>
                  </a:cubicBezTo>
                  <a:cubicBezTo>
                    <a:pt x="1382" y="3538"/>
                    <a:pt x="1384" y="3537"/>
                    <a:pt x="1387" y="3530"/>
                  </a:cubicBezTo>
                  <a:cubicBezTo>
                    <a:pt x="1387" y="3528"/>
                    <a:pt x="1388" y="3526"/>
                    <a:pt x="1388" y="3524"/>
                  </a:cubicBezTo>
                  <a:cubicBezTo>
                    <a:pt x="1391" y="3511"/>
                    <a:pt x="1394" y="3498"/>
                    <a:pt x="1397" y="3484"/>
                  </a:cubicBezTo>
                  <a:cubicBezTo>
                    <a:pt x="1398" y="3481"/>
                    <a:pt x="1400" y="3479"/>
                    <a:pt x="1405" y="3480"/>
                  </a:cubicBezTo>
                  <a:cubicBezTo>
                    <a:pt x="1424" y="3485"/>
                    <a:pt x="1444" y="3488"/>
                    <a:pt x="1464" y="3492"/>
                  </a:cubicBezTo>
                  <a:cubicBezTo>
                    <a:pt x="1470" y="3494"/>
                    <a:pt x="1473" y="3492"/>
                    <a:pt x="1475" y="3486"/>
                  </a:cubicBezTo>
                  <a:cubicBezTo>
                    <a:pt x="1476" y="3480"/>
                    <a:pt x="1478" y="3473"/>
                    <a:pt x="1479" y="3466"/>
                  </a:cubicBezTo>
                  <a:cubicBezTo>
                    <a:pt x="1481" y="3457"/>
                    <a:pt x="1482" y="3448"/>
                    <a:pt x="1484" y="3439"/>
                  </a:cubicBezTo>
                  <a:cubicBezTo>
                    <a:pt x="1485" y="3436"/>
                    <a:pt x="1486" y="3433"/>
                    <a:pt x="1492" y="3434"/>
                  </a:cubicBezTo>
                  <a:cubicBezTo>
                    <a:pt x="1508" y="3438"/>
                    <a:pt x="1525" y="3441"/>
                    <a:pt x="1541" y="3444"/>
                  </a:cubicBezTo>
                  <a:cubicBezTo>
                    <a:pt x="1552" y="3447"/>
                    <a:pt x="1563" y="3450"/>
                    <a:pt x="1574" y="3452"/>
                  </a:cubicBezTo>
                  <a:cubicBezTo>
                    <a:pt x="1578" y="3453"/>
                    <a:pt x="1579" y="3455"/>
                    <a:pt x="1578" y="3459"/>
                  </a:cubicBezTo>
                  <a:cubicBezTo>
                    <a:pt x="1575" y="3474"/>
                    <a:pt x="1573" y="3488"/>
                    <a:pt x="1570" y="3503"/>
                  </a:cubicBezTo>
                  <a:cubicBezTo>
                    <a:pt x="1569" y="3513"/>
                    <a:pt x="1571" y="3515"/>
                    <a:pt x="1580" y="3518"/>
                  </a:cubicBezTo>
                  <a:cubicBezTo>
                    <a:pt x="1606" y="3524"/>
                    <a:pt x="1633" y="3529"/>
                    <a:pt x="1660" y="3535"/>
                  </a:cubicBezTo>
                  <a:cubicBezTo>
                    <a:pt x="1670" y="3538"/>
                    <a:pt x="1672" y="3536"/>
                    <a:pt x="1674" y="3526"/>
                  </a:cubicBezTo>
                  <a:cubicBezTo>
                    <a:pt x="1677" y="3512"/>
                    <a:pt x="1680" y="3498"/>
                    <a:pt x="1682" y="3483"/>
                  </a:cubicBezTo>
                  <a:cubicBezTo>
                    <a:pt x="1683" y="3479"/>
                    <a:pt x="1685" y="3478"/>
                    <a:pt x="1689" y="3479"/>
                  </a:cubicBezTo>
                  <a:cubicBezTo>
                    <a:pt x="1690" y="3479"/>
                    <a:pt x="1692" y="3479"/>
                    <a:pt x="1694" y="3479"/>
                  </a:cubicBezTo>
                  <a:cubicBezTo>
                    <a:pt x="1714" y="3483"/>
                    <a:pt x="1734" y="3488"/>
                    <a:pt x="1754" y="3492"/>
                  </a:cubicBezTo>
                  <a:cubicBezTo>
                    <a:pt x="1796" y="3502"/>
                    <a:pt x="1838" y="3512"/>
                    <a:pt x="1880" y="3522"/>
                  </a:cubicBezTo>
                  <a:cubicBezTo>
                    <a:pt x="1901" y="3527"/>
                    <a:pt x="1901" y="3527"/>
                    <a:pt x="1906" y="3505"/>
                  </a:cubicBezTo>
                  <a:cubicBezTo>
                    <a:pt x="1908" y="3493"/>
                    <a:pt x="1911" y="3482"/>
                    <a:pt x="1914" y="3471"/>
                  </a:cubicBezTo>
                  <a:cubicBezTo>
                    <a:pt x="1915" y="3467"/>
                    <a:pt x="1916" y="3465"/>
                    <a:pt x="1921" y="3467"/>
                  </a:cubicBezTo>
                  <a:cubicBezTo>
                    <a:pt x="1925" y="3468"/>
                    <a:pt x="1929" y="3469"/>
                    <a:pt x="1932" y="3470"/>
                  </a:cubicBezTo>
                  <a:cubicBezTo>
                    <a:pt x="1941" y="3472"/>
                    <a:pt x="1945" y="3469"/>
                    <a:pt x="1947" y="3460"/>
                  </a:cubicBezTo>
                  <a:cubicBezTo>
                    <a:pt x="1951" y="3445"/>
                    <a:pt x="1954" y="3431"/>
                    <a:pt x="1957" y="3416"/>
                  </a:cubicBezTo>
                  <a:cubicBezTo>
                    <a:pt x="1958" y="3411"/>
                    <a:pt x="1959" y="3410"/>
                    <a:pt x="1964" y="3411"/>
                  </a:cubicBezTo>
                  <a:cubicBezTo>
                    <a:pt x="1988" y="3417"/>
                    <a:pt x="2012" y="3422"/>
                    <a:pt x="2036" y="3428"/>
                  </a:cubicBezTo>
                  <a:cubicBezTo>
                    <a:pt x="2048" y="3430"/>
                    <a:pt x="2050" y="3429"/>
                    <a:pt x="2053" y="3418"/>
                  </a:cubicBezTo>
                  <a:cubicBezTo>
                    <a:pt x="2057" y="3403"/>
                    <a:pt x="2060" y="3389"/>
                    <a:pt x="2064" y="3375"/>
                  </a:cubicBezTo>
                  <a:cubicBezTo>
                    <a:pt x="2065" y="3370"/>
                    <a:pt x="2067" y="3369"/>
                    <a:pt x="2073" y="3370"/>
                  </a:cubicBezTo>
                  <a:cubicBezTo>
                    <a:pt x="2097" y="3377"/>
                    <a:pt x="2122" y="3382"/>
                    <a:pt x="2146" y="3388"/>
                  </a:cubicBezTo>
                  <a:cubicBezTo>
                    <a:pt x="2155" y="3390"/>
                    <a:pt x="2157" y="3390"/>
                    <a:pt x="2159" y="3380"/>
                  </a:cubicBezTo>
                  <a:cubicBezTo>
                    <a:pt x="2162" y="3371"/>
                    <a:pt x="2165" y="3361"/>
                    <a:pt x="2167" y="3351"/>
                  </a:cubicBezTo>
                  <a:cubicBezTo>
                    <a:pt x="2168" y="3348"/>
                    <a:pt x="2168" y="3345"/>
                    <a:pt x="2167" y="3342"/>
                  </a:cubicBezTo>
                  <a:cubicBezTo>
                    <a:pt x="2166" y="3334"/>
                    <a:pt x="2167" y="3328"/>
                    <a:pt x="2169" y="3321"/>
                  </a:cubicBezTo>
                  <a:cubicBezTo>
                    <a:pt x="2170" y="3317"/>
                    <a:pt x="2171" y="3312"/>
                    <a:pt x="2172" y="3308"/>
                  </a:cubicBezTo>
                  <a:cubicBezTo>
                    <a:pt x="2174" y="3302"/>
                    <a:pt x="2175" y="3296"/>
                    <a:pt x="2177" y="3290"/>
                  </a:cubicBezTo>
                  <a:cubicBezTo>
                    <a:pt x="2184" y="3291"/>
                    <a:pt x="2190" y="3292"/>
                    <a:pt x="2197" y="3293"/>
                  </a:cubicBezTo>
                  <a:cubicBezTo>
                    <a:pt x="2213" y="3298"/>
                    <a:pt x="2214" y="3297"/>
                    <a:pt x="2217" y="3281"/>
                  </a:cubicBezTo>
                  <a:cubicBezTo>
                    <a:pt x="2217" y="3280"/>
                    <a:pt x="2217" y="3280"/>
                    <a:pt x="2217" y="3279"/>
                  </a:cubicBezTo>
                  <a:cubicBezTo>
                    <a:pt x="2218" y="3273"/>
                    <a:pt x="2219" y="3269"/>
                    <a:pt x="2226" y="3266"/>
                  </a:cubicBezTo>
                  <a:cubicBezTo>
                    <a:pt x="2227" y="3266"/>
                    <a:pt x="2228" y="3263"/>
                    <a:pt x="2229" y="3261"/>
                  </a:cubicBezTo>
                  <a:cubicBezTo>
                    <a:pt x="2230" y="3255"/>
                    <a:pt x="2233" y="3255"/>
                    <a:pt x="2239" y="3257"/>
                  </a:cubicBezTo>
                  <a:cubicBezTo>
                    <a:pt x="2250" y="3260"/>
                    <a:pt x="2261" y="3262"/>
                    <a:pt x="2273" y="3265"/>
                  </a:cubicBezTo>
                  <a:cubicBezTo>
                    <a:pt x="2283" y="3267"/>
                    <a:pt x="2294" y="3270"/>
                    <a:pt x="2304" y="3273"/>
                  </a:cubicBezTo>
                  <a:cubicBezTo>
                    <a:pt x="2312" y="3276"/>
                    <a:pt x="2314" y="3276"/>
                    <a:pt x="2317" y="3268"/>
                  </a:cubicBezTo>
                  <a:cubicBezTo>
                    <a:pt x="2318" y="3263"/>
                    <a:pt x="2320" y="3262"/>
                    <a:pt x="2324" y="3262"/>
                  </a:cubicBezTo>
                  <a:cubicBezTo>
                    <a:pt x="2337" y="3262"/>
                    <a:pt x="2349" y="3262"/>
                    <a:pt x="2362" y="3262"/>
                  </a:cubicBezTo>
                  <a:cubicBezTo>
                    <a:pt x="2392" y="3263"/>
                    <a:pt x="2423" y="3264"/>
                    <a:pt x="2454" y="3264"/>
                  </a:cubicBezTo>
                  <a:cubicBezTo>
                    <a:pt x="2506" y="3264"/>
                    <a:pt x="2559" y="3264"/>
                    <a:pt x="2612" y="3264"/>
                  </a:cubicBezTo>
                  <a:cubicBezTo>
                    <a:pt x="2626" y="3265"/>
                    <a:pt x="2640" y="3264"/>
                    <a:pt x="2655" y="3265"/>
                  </a:cubicBezTo>
                  <a:cubicBezTo>
                    <a:pt x="2660" y="3265"/>
                    <a:pt x="2663" y="3263"/>
                    <a:pt x="2664" y="3258"/>
                  </a:cubicBezTo>
                  <a:cubicBezTo>
                    <a:pt x="2667" y="3252"/>
                    <a:pt x="2671" y="3250"/>
                    <a:pt x="2676" y="3252"/>
                  </a:cubicBezTo>
                  <a:cubicBezTo>
                    <a:pt x="2687" y="3256"/>
                    <a:pt x="2695" y="3249"/>
                    <a:pt x="2701" y="3244"/>
                  </a:cubicBezTo>
                  <a:cubicBezTo>
                    <a:pt x="2708" y="3238"/>
                    <a:pt x="2713" y="3229"/>
                    <a:pt x="2718" y="3220"/>
                  </a:cubicBezTo>
                  <a:cubicBezTo>
                    <a:pt x="2723" y="3210"/>
                    <a:pt x="2722" y="3210"/>
                    <a:pt x="2733" y="3211"/>
                  </a:cubicBezTo>
                  <a:cubicBezTo>
                    <a:pt x="2738" y="3211"/>
                    <a:pt x="2741" y="3210"/>
                    <a:pt x="2744" y="3207"/>
                  </a:cubicBezTo>
                  <a:cubicBezTo>
                    <a:pt x="2749" y="3202"/>
                    <a:pt x="2753" y="3197"/>
                    <a:pt x="2760" y="3195"/>
                  </a:cubicBezTo>
                  <a:cubicBezTo>
                    <a:pt x="2764" y="3193"/>
                    <a:pt x="2765" y="3189"/>
                    <a:pt x="2766" y="3185"/>
                  </a:cubicBezTo>
                  <a:cubicBezTo>
                    <a:pt x="2766" y="3180"/>
                    <a:pt x="2768" y="3175"/>
                    <a:pt x="2769" y="3171"/>
                  </a:cubicBezTo>
                  <a:cubicBezTo>
                    <a:pt x="2771" y="3166"/>
                    <a:pt x="2774" y="3161"/>
                    <a:pt x="2776" y="3156"/>
                  </a:cubicBezTo>
                  <a:cubicBezTo>
                    <a:pt x="2778" y="3152"/>
                    <a:pt x="2777" y="3148"/>
                    <a:pt x="2773" y="3145"/>
                  </a:cubicBezTo>
                  <a:cubicBezTo>
                    <a:pt x="2772" y="3143"/>
                    <a:pt x="2769" y="3142"/>
                    <a:pt x="2767" y="3140"/>
                  </a:cubicBezTo>
                  <a:cubicBezTo>
                    <a:pt x="2758" y="3132"/>
                    <a:pt x="2755" y="3119"/>
                    <a:pt x="2764" y="3110"/>
                  </a:cubicBezTo>
                  <a:cubicBezTo>
                    <a:pt x="2769" y="3104"/>
                    <a:pt x="2776" y="3100"/>
                    <a:pt x="2775" y="3091"/>
                  </a:cubicBezTo>
                  <a:cubicBezTo>
                    <a:pt x="2774" y="3089"/>
                    <a:pt x="2777" y="3088"/>
                    <a:pt x="2778" y="3087"/>
                  </a:cubicBezTo>
                  <a:cubicBezTo>
                    <a:pt x="2781" y="3084"/>
                    <a:pt x="2783" y="3081"/>
                    <a:pt x="2786" y="3078"/>
                  </a:cubicBezTo>
                  <a:cubicBezTo>
                    <a:pt x="2790" y="3074"/>
                    <a:pt x="2792" y="3070"/>
                    <a:pt x="2790" y="3064"/>
                  </a:cubicBezTo>
                  <a:cubicBezTo>
                    <a:pt x="2788" y="3056"/>
                    <a:pt x="2787" y="3049"/>
                    <a:pt x="2783" y="3042"/>
                  </a:cubicBezTo>
                  <a:cubicBezTo>
                    <a:pt x="2781" y="3039"/>
                    <a:pt x="2781" y="3035"/>
                    <a:pt x="2781" y="3031"/>
                  </a:cubicBezTo>
                  <a:cubicBezTo>
                    <a:pt x="2780" y="3026"/>
                    <a:pt x="2780" y="3021"/>
                    <a:pt x="2781" y="3016"/>
                  </a:cubicBezTo>
                  <a:cubicBezTo>
                    <a:pt x="2781" y="3011"/>
                    <a:pt x="2780" y="3007"/>
                    <a:pt x="2776" y="3003"/>
                  </a:cubicBezTo>
                  <a:cubicBezTo>
                    <a:pt x="2773" y="2999"/>
                    <a:pt x="2773" y="2986"/>
                    <a:pt x="2776" y="2982"/>
                  </a:cubicBezTo>
                  <a:cubicBezTo>
                    <a:pt x="2782" y="2975"/>
                    <a:pt x="2783" y="2967"/>
                    <a:pt x="2785" y="2959"/>
                  </a:cubicBezTo>
                  <a:cubicBezTo>
                    <a:pt x="2785" y="2956"/>
                    <a:pt x="2786" y="2953"/>
                    <a:pt x="2788" y="2950"/>
                  </a:cubicBezTo>
                  <a:cubicBezTo>
                    <a:pt x="2794" y="2944"/>
                    <a:pt x="2797" y="2936"/>
                    <a:pt x="2795" y="2928"/>
                  </a:cubicBezTo>
                  <a:cubicBezTo>
                    <a:pt x="2793" y="2922"/>
                    <a:pt x="2795" y="2919"/>
                    <a:pt x="2800" y="2917"/>
                  </a:cubicBezTo>
                  <a:cubicBezTo>
                    <a:pt x="2805" y="2915"/>
                    <a:pt x="2807" y="2911"/>
                    <a:pt x="2809" y="2906"/>
                  </a:cubicBezTo>
                  <a:cubicBezTo>
                    <a:pt x="2809" y="2904"/>
                    <a:pt x="2810" y="2902"/>
                    <a:pt x="2812" y="2900"/>
                  </a:cubicBezTo>
                  <a:cubicBezTo>
                    <a:pt x="2819" y="2892"/>
                    <a:pt x="2820" y="2880"/>
                    <a:pt x="2814" y="2871"/>
                  </a:cubicBezTo>
                  <a:cubicBezTo>
                    <a:pt x="2813" y="2870"/>
                    <a:pt x="2812" y="2869"/>
                    <a:pt x="2812" y="2868"/>
                  </a:cubicBezTo>
                  <a:cubicBezTo>
                    <a:pt x="2814" y="2859"/>
                    <a:pt x="2816" y="2851"/>
                    <a:pt x="2817" y="2843"/>
                  </a:cubicBezTo>
                  <a:cubicBezTo>
                    <a:pt x="2818" y="2835"/>
                    <a:pt x="2819" y="2827"/>
                    <a:pt x="2819" y="2819"/>
                  </a:cubicBezTo>
                  <a:cubicBezTo>
                    <a:pt x="2820" y="2811"/>
                    <a:pt x="2817" y="2809"/>
                    <a:pt x="2810" y="2811"/>
                  </a:cubicBezTo>
                  <a:cubicBezTo>
                    <a:pt x="2804" y="2813"/>
                    <a:pt x="2801" y="2812"/>
                    <a:pt x="2797" y="2808"/>
                  </a:cubicBezTo>
                  <a:cubicBezTo>
                    <a:pt x="2795" y="2807"/>
                    <a:pt x="2793" y="2805"/>
                    <a:pt x="2790" y="2804"/>
                  </a:cubicBezTo>
                  <a:cubicBezTo>
                    <a:pt x="2787" y="2804"/>
                    <a:pt x="2785" y="2803"/>
                    <a:pt x="2787" y="2798"/>
                  </a:cubicBezTo>
                  <a:cubicBezTo>
                    <a:pt x="2788" y="2793"/>
                    <a:pt x="2787" y="2787"/>
                    <a:pt x="2783" y="2782"/>
                  </a:cubicBezTo>
                  <a:cubicBezTo>
                    <a:pt x="2781" y="2780"/>
                    <a:pt x="2781" y="2776"/>
                    <a:pt x="2781" y="2772"/>
                  </a:cubicBezTo>
                  <a:cubicBezTo>
                    <a:pt x="2780" y="2770"/>
                    <a:pt x="2781" y="2766"/>
                    <a:pt x="2780" y="2764"/>
                  </a:cubicBezTo>
                  <a:cubicBezTo>
                    <a:pt x="2774" y="2757"/>
                    <a:pt x="2775" y="2748"/>
                    <a:pt x="2772" y="2740"/>
                  </a:cubicBezTo>
                  <a:cubicBezTo>
                    <a:pt x="2771" y="2738"/>
                    <a:pt x="2773" y="2735"/>
                    <a:pt x="2774" y="2733"/>
                  </a:cubicBezTo>
                  <a:cubicBezTo>
                    <a:pt x="2776" y="2728"/>
                    <a:pt x="2779" y="2723"/>
                    <a:pt x="2780" y="2718"/>
                  </a:cubicBezTo>
                  <a:cubicBezTo>
                    <a:pt x="2782" y="2708"/>
                    <a:pt x="2782" y="2698"/>
                    <a:pt x="2783" y="2688"/>
                  </a:cubicBezTo>
                  <a:cubicBezTo>
                    <a:pt x="2783" y="2684"/>
                    <a:pt x="2784" y="2680"/>
                    <a:pt x="2785" y="2677"/>
                  </a:cubicBezTo>
                  <a:cubicBezTo>
                    <a:pt x="2787" y="2673"/>
                    <a:pt x="2787" y="2669"/>
                    <a:pt x="2786" y="2665"/>
                  </a:cubicBezTo>
                  <a:cubicBezTo>
                    <a:pt x="2781" y="2653"/>
                    <a:pt x="2774" y="2644"/>
                    <a:pt x="2761" y="2642"/>
                  </a:cubicBezTo>
                  <a:cubicBezTo>
                    <a:pt x="2756" y="2641"/>
                    <a:pt x="2754" y="2639"/>
                    <a:pt x="2752" y="2635"/>
                  </a:cubicBezTo>
                  <a:cubicBezTo>
                    <a:pt x="2751" y="2631"/>
                    <a:pt x="2747" y="2629"/>
                    <a:pt x="2745" y="2626"/>
                  </a:cubicBezTo>
                  <a:cubicBezTo>
                    <a:pt x="2742" y="2624"/>
                    <a:pt x="2737" y="2625"/>
                    <a:pt x="2737" y="2620"/>
                  </a:cubicBezTo>
                  <a:cubicBezTo>
                    <a:pt x="2737" y="2616"/>
                    <a:pt x="2737" y="2612"/>
                    <a:pt x="2738" y="2609"/>
                  </a:cubicBezTo>
                  <a:cubicBezTo>
                    <a:pt x="2739" y="2602"/>
                    <a:pt x="2741" y="2595"/>
                    <a:pt x="2742" y="2589"/>
                  </a:cubicBezTo>
                  <a:cubicBezTo>
                    <a:pt x="2743" y="2586"/>
                    <a:pt x="2743" y="2585"/>
                    <a:pt x="2745" y="2584"/>
                  </a:cubicBezTo>
                  <a:cubicBezTo>
                    <a:pt x="2756" y="2580"/>
                    <a:pt x="2759" y="2573"/>
                    <a:pt x="2756" y="2563"/>
                  </a:cubicBezTo>
                  <a:cubicBezTo>
                    <a:pt x="2755" y="2560"/>
                    <a:pt x="2754" y="2558"/>
                    <a:pt x="2753" y="2555"/>
                  </a:cubicBezTo>
                  <a:cubicBezTo>
                    <a:pt x="2753" y="2552"/>
                    <a:pt x="2753" y="2549"/>
                    <a:pt x="2754" y="2546"/>
                  </a:cubicBezTo>
                  <a:cubicBezTo>
                    <a:pt x="2754" y="2542"/>
                    <a:pt x="2756" y="2538"/>
                    <a:pt x="2757" y="2535"/>
                  </a:cubicBezTo>
                  <a:cubicBezTo>
                    <a:pt x="2759" y="2529"/>
                    <a:pt x="2761" y="2523"/>
                    <a:pt x="2764" y="2518"/>
                  </a:cubicBezTo>
                  <a:cubicBezTo>
                    <a:pt x="2767" y="2513"/>
                    <a:pt x="2767" y="2509"/>
                    <a:pt x="2765" y="2502"/>
                  </a:cubicBezTo>
                  <a:cubicBezTo>
                    <a:pt x="2760" y="2492"/>
                    <a:pt x="2755" y="2481"/>
                    <a:pt x="2766" y="2470"/>
                  </a:cubicBezTo>
                  <a:cubicBezTo>
                    <a:pt x="2771" y="2465"/>
                    <a:pt x="2770" y="2460"/>
                    <a:pt x="2764" y="2455"/>
                  </a:cubicBezTo>
                  <a:cubicBezTo>
                    <a:pt x="2759" y="2452"/>
                    <a:pt x="2760" y="2449"/>
                    <a:pt x="2763" y="2447"/>
                  </a:cubicBezTo>
                  <a:cubicBezTo>
                    <a:pt x="2768" y="2444"/>
                    <a:pt x="2769" y="2441"/>
                    <a:pt x="2771" y="2436"/>
                  </a:cubicBezTo>
                  <a:cubicBezTo>
                    <a:pt x="2773" y="2426"/>
                    <a:pt x="2776" y="2417"/>
                    <a:pt x="2781" y="2408"/>
                  </a:cubicBezTo>
                  <a:cubicBezTo>
                    <a:pt x="2783" y="2404"/>
                    <a:pt x="2782" y="2398"/>
                    <a:pt x="2783" y="2393"/>
                  </a:cubicBezTo>
                  <a:cubicBezTo>
                    <a:pt x="2784" y="2387"/>
                    <a:pt x="2788" y="2382"/>
                    <a:pt x="2789" y="2377"/>
                  </a:cubicBezTo>
                  <a:cubicBezTo>
                    <a:pt x="2790" y="2367"/>
                    <a:pt x="2790" y="2356"/>
                    <a:pt x="2791" y="2346"/>
                  </a:cubicBezTo>
                  <a:cubicBezTo>
                    <a:pt x="2792" y="2338"/>
                    <a:pt x="2792" y="2329"/>
                    <a:pt x="2795" y="2322"/>
                  </a:cubicBezTo>
                  <a:cubicBezTo>
                    <a:pt x="2799" y="2312"/>
                    <a:pt x="2799" y="2302"/>
                    <a:pt x="2800" y="2292"/>
                  </a:cubicBezTo>
                  <a:cubicBezTo>
                    <a:pt x="2800" y="2287"/>
                    <a:pt x="2803" y="2282"/>
                    <a:pt x="2801" y="2278"/>
                  </a:cubicBezTo>
                  <a:cubicBezTo>
                    <a:pt x="2799" y="2271"/>
                    <a:pt x="2801" y="2265"/>
                    <a:pt x="2804" y="2258"/>
                  </a:cubicBezTo>
                  <a:cubicBezTo>
                    <a:pt x="2808" y="2249"/>
                    <a:pt x="2811" y="2241"/>
                    <a:pt x="2807" y="2230"/>
                  </a:cubicBezTo>
                  <a:cubicBezTo>
                    <a:pt x="2805" y="2224"/>
                    <a:pt x="2808" y="2220"/>
                    <a:pt x="2815" y="2218"/>
                  </a:cubicBezTo>
                  <a:cubicBezTo>
                    <a:pt x="2817" y="2218"/>
                    <a:pt x="2819" y="2219"/>
                    <a:pt x="2820" y="2217"/>
                  </a:cubicBezTo>
                  <a:cubicBezTo>
                    <a:pt x="2826" y="2212"/>
                    <a:pt x="2831" y="2206"/>
                    <a:pt x="2837" y="2199"/>
                  </a:cubicBezTo>
                  <a:cubicBezTo>
                    <a:pt x="2838" y="2198"/>
                    <a:pt x="2838" y="2195"/>
                    <a:pt x="2840" y="2193"/>
                  </a:cubicBezTo>
                  <a:cubicBezTo>
                    <a:pt x="2845" y="2188"/>
                    <a:pt x="2847" y="2182"/>
                    <a:pt x="2845" y="2175"/>
                  </a:cubicBezTo>
                  <a:cubicBezTo>
                    <a:pt x="2845" y="2172"/>
                    <a:pt x="2845" y="2168"/>
                    <a:pt x="2847" y="2165"/>
                  </a:cubicBezTo>
                  <a:cubicBezTo>
                    <a:pt x="2850" y="2158"/>
                    <a:pt x="2854" y="2152"/>
                    <a:pt x="2857" y="2146"/>
                  </a:cubicBezTo>
                  <a:cubicBezTo>
                    <a:pt x="2859" y="2143"/>
                    <a:pt x="2860" y="2140"/>
                    <a:pt x="2858" y="2136"/>
                  </a:cubicBezTo>
                  <a:cubicBezTo>
                    <a:pt x="2856" y="2132"/>
                    <a:pt x="2856" y="2128"/>
                    <a:pt x="2858" y="2123"/>
                  </a:cubicBezTo>
                  <a:cubicBezTo>
                    <a:pt x="2858" y="2121"/>
                    <a:pt x="2857" y="2117"/>
                    <a:pt x="2856" y="2115"/>
                  </a:cubicBezTo>
                  <a:cubicBezTo>
                    <a:pt x="2850" y="2112"/>
                    <a:pt x="2845" y="2108"/>
                    <a:pt x="2838" y="2110"/>
                  </a:cubicBezTo>
                  <a:cubicBezTo>
                    <a:pt x="2832" y="2111"/>
                    <a:pt x="2829" y="2110"/>
                    <a:pt x="2828" y="2104"/>
                  </a:cubicBezTo>
                  <a:cubicBezTo>
                    <a:pt x="2827" y="2101"/>
                    <a:pt x="2826" y="2099"/>
                    <a:pt x="2824" y="2097"/>
                  </a:cubicBezTo>
                  <a:cubicBezTo>
                    <a:pt x="2821" y="2093"/>
                    <a:pt x="2819" y="2089"/>
                    <a:pt x="2819" y="2083"/>
                  </a:cubicBezTo>
                  <a:cubicBezTo>
                    <a:pt x="2819" y="2081"/>
                    <a:pt x="2818" y="2078"/>
                    <a:pt x="2816" y="2077"/>
                  </a:cubicBezTo>
                  <a:cubicBezTo>
                    <a:pt x="2809" y="2074"/>
                    <a:pt x="2808" y="2068"/>
                    <a:pt x="2809" y="2061"/>
                  </a:cubicBezTo>
                  <a:cubicBezTo>
                    <a:pt x="2810" y="2055"/>
                    <a:pt x="2810" y="2049"/>
                    <a:pt x="2812" y="2043"/>
                  </a:cubicBezTo>
                  <a:cubicBezTo>
                    <a:pt x="2815" y="2034"/>
                    <a:pt x="2819" y="2024"/>
                    <a:pt x="2822" y="2015"/>
                  </a:cubicBezTo>
                  <a:cubicBezTo>
                    <a:pt x="2824" y="2011"/>
                    <a:pt x="2824" y="2009"/>
                    <a:pt x="2821" y="2005"/>
                  </a:cubicBezTo>
                  <a:cubicBezTo>
                    <a:pt x="2819" y="2001"/>
                    <a:pt x="2817" y="1996"/>
                    <a:pt x="2821" y="1990"/>
                  </a:cubicBezTo>
                  <a:cubicBezTo>
                    <a:pt x="2826" y="1983"/>
                    <a:pt x="2823" y="1975"/>
                    <a:pt x="2818" y="1969"/>
                  </a:cubicBezTo>
                  <a:cubicBezTo>
                    <a:pt x="2815" y="1965"/>
                    <a:pt x="2812" y="1961"/>
                    <a:pt x="2813" y="1956"/>
                  </a:cubicBezTo>
                  <a:cubicBezTo>
                    <a:pt x="2813" y="1954"/>
                    <a:pt x="2811" y="1950"/>
                    <a:pt x="2809" y="1949"/>
                  </a:cubicBezTo>
                  <a:cubicBezTo>
                    <a:pt x="2806" y="1947"/>
                    <a:pt x="2803" y="1946"/>
                    <a:pt x="2799" y="1945"/>
                  </a:cubicBezTo>
                  <a:cubicBezTo>
                    <a:pt x="2801" y="1941"/>
                    <a:pt x="2803" y="1938"/>
                    <a:pt x="2804" y="1935"/>
                  </a:cubicBezTo>
                  <a:cubicBezTo>
                    <a:pt x="2804" y="1934"/>
                    <a:pt x="2804" y="1934"/>
                    <a:pt x="2804" y="1933"/>
                  </a:cubicBezTo>
                  <a:cubicBezTo>
                    <a:pt x="2806" y="1923"/>
                    <a:pt x="2808" y="1913"/>
                    <a:pt x="2815" y="1904"/>
                  </a:cubicBezTo>
                  <a:cubicBezTo>
                    <a:pt x="2816" y="1903"/>
                    <a:pt x="2817" y="1901"/>
                    <a:pt x="2817" y="1898"/>
                  </a:cubicBezTo>
                  <a:cubicBezTo>
                    <a:pt x="2819" y="1892"/>
                    <a:pt x="2822" y="1889"/>
                    <a:pt x="2829" y="1890"/>
                  </a:cubicBezTo>
                  <a:cubicBezTo>
                    <a:pt x="2840" y="1891"/>
                    <a:pt x="2845" y="1880"/>
                    <a:pt x="2843" y="1872"/>
                  </a:cubicBezTo>
                  <a:cubicBezTo>
                    <a:pt x="2842" y="1867"/>
                    <a:pt x="2839" y="1862"/>
                    <a:pt x="2834" y="1859"/>
                  </a:cubicBezTo>
                  <a:cubicBezTo>
                    <a:pt x="2831" y="1858"/>
                    <a:pt x="2827" y="1855"/>
                    <a:pt x="2824" y="1853"/>
                  </a:cubicBezTo>
                  <a:cubicBezTo>
                    <a:pt x="2821" y="1850"/>
                    <a:pt x="2821" y="1847"/>
                    <a:pt x="2821" y="1843"/>
                  </a:cubicBezTo>
                  <a:cubicBezTo>
                    <a:pt x="2819" y="1837"/>
                    <a:pt x="2824" y="1833"/>
                    <a:pt x="2823" y="1828"/>
                  </a:cubicBezTo>
                  <a:cubicBezTo>
                    <a:pt x="2823" y="1823"/>
                    <a:pt x="2825" y="1821"/>
                    <a:pt x="2827" y="1817"/>
                  </a:cubicBezTo>
                  <a:cubicBezTo>
                    <a:pt x="2833" y="1811"/>
                    <a:pt x="2839" y="1804"/>
                    <a:pt x="2839" y="1795"/>
                  </a:cubicBezTo>
                  <a:cubicBezTo>
                    <a:pt x="2839" y="1787"/>
                    <a:pt x="2845" y="1782"/>
                    <a:pt x="2849" y="1776"/>
                  </a:cubicBezTo>
                  <a:cubicBezTo>
                    <a:pt x="2850" y="1773"/>
                    <a:pt x="2851" y="1774"/>
                    <a:pt x="2854" y="1775"/>
                  </a:cubicBezTo>
                  <a:cubicBezTo>
                    <a:pt x="2862" y="1779"/>
                    <a:pt x="2868" y="1776"/>
                    <a:pt x="2869" y="1767"/>
                  </a:cubicBezTo>
                  <a:cubicBezTo>
                    <a:pt x="2870" y="1759"/>
                    <a:pt x="2871" y="1758"/>
                    <a:pt x="2879" y="1757"/>
                  </a:cubicBezTo>
                  <a:cubicBezTo>
                    <a:pt x="2883" y="1757"/>
                    <a:pt x="2887" y="1757"/>
                    <a:pt x="2889" y="1755"/>
                  </a:cubicBezTo>
                  <a:cubicBezTo>
                    <a:pt x="2898" y="1747"/>
                    <a:pt x="2904" y="1736"/>
                    <a:pt x="2902" y="1725"/>
                  </a:cubicBezTo>
                  <a:cubicBezTo>
                    <a:pt x="2901" y="1716"/>
                    <a:pt x="2901" y="1712"/>
                    <a:pt x="2909" y="1709"/>
                  </a:cubicBezTo>
                  <a:cubicBezTo>
                    <a:pt x="2911" y="1708"/>
                    <a:pt x="2911" y="1707"/>
                    <a:pt x="2912" y="1706"/>
                  </a:cubicBezTo>
                  <a:cubicBezTo>
                    <a:pt x="2914" y="1705"/>
                    <a:pt x="2915" y="1703"/>
                    <a:pt x="2916" y="1704"/>
                  </a:cubicBezTo>
                  <a:cubicBezTo>
                    <a:pt x="2922" y="1705"/>
                    <a:pt x="2926" y="1702"/>
                    <a:pt x="2929" y="1697"/>
                  </a:cubicBezTo>
                  <a:cubicBezTo>
                    <a:pt x="2933" y="1691"/>
                    <a:pt x="2935" y="1691"/>
                    <a:pt x="2941" y="1695"/>
                  </a:cubicBezTo>
                  <a:cubicBezTo>
                    <a:pt x="2947" y="1698"/>
                    <a:pt x="2953" y="1701"/>
                    <a:pt x="2960" y="1699"/>
                  </a:cubicBezTo>
                  <a:cubicBezTo>
                    <a:pt x="2964" y="1698"/>
                    <a:pt x="2965" y="1701"/>
                    <a:pt x="2965" y="1704"/>
                  </a:cubicBezTo>
                  <a:cubicBezTo>
                    <a:pt x="2965" y="1706"/>
                    <a:pt x="2964" y="1708"/>
                    <a:pt x="2964" y="1710"/>
                  </a:cubicBezTo>
                  <a:cubicBezTo>
                    <a:pt x="2963" y="1716"/>
                    <a:pt x="2964" y="1723"/>
                    <a:pt x="2969" y="1726"/>
                  </a:cubicBezTo>
                  <a:cubicBezTo>
                    <a:pt x="2979" y="1733"/>
                    <a:pt x="2981" y="1747"/>
                    <a:pt x="2994" y="1751"/>
                  </a:cubicBezTo>
                  <a:cubicBezTo>
                    <a:pt x="2995" y="1752"/>
                    <a:pt x="2995" y="1755"/>
                    <a:pt x="2996" y="1756"/>
                  </a:cubicBezTo>
                  <a:cubicBezTo>
                    <a:pt x="3000" y="1766"/>
                    <a:pt x="3004" y="1767"/>
                    <a:pt x="3014" y="1765"/>
                  </a:cubicBezTo>
                  <a:cubicBezTo>
                    <a:pt x="3017" y="1764"/>
                    <a:pt x="3020" y="1764"/>
                    <a:pt x="3023" y="1764"/>
                  </a:cubicBezTo>
                  <a:cubicBezTo>
                    <a:pt x="3032" y="1764"/>
                    <a:pt x="3038" y="1760"/>
                    <a:pt x="3040" y="1751"/>
                  </a:cubicBezTo>
                  <a:cubicBezTo>
                    <a:pt x="3042" y="1746"/>
                    <a:pt x="3042" y="1741"/>
                    <a:pt x="3043" y="1735"/>
                  </a:cubicBezTo>
                  <a:cubicBezTo>
                    <a:pt x="3046" y="1719"/>
                    <a:pt x="3051" y="1716"/>
                    <a:pt x="3067" y="1720"/>
                  </a:cubicBezTo>
                  <a:cubicBezTo>
                    <a:pt x="3075" y="1723"/>
                    <a:pt x="3075" y="1722"/>
                    <a:pt x="3080" y="1715"/>
                  </a:cubicBezTo>
                  <a:cubicBezTo>
                    <a:pt x="3084" y="1708"/>
                    <a:pt x="3085" y="1697"/>
                    <a:pt x="3095" y="1693"/>
                  </a:cubicBezTo>
                  <a:cubicBezTo>
                    <a:pt x="3104" y="1690"/>
                    <a:pt x="3106" y="1681"/>
                    <a:pt x="3107" y="1673"/>
                  </a:cubicBezTo>
                  <a:cubicBezTo>
                    <a:pt x="3108" y="1670"/>
                    <a:pt x="3107" y="1668"/>
                    <a:pt x="3107" y="1665"/>
                  </a:cubicBezTo>
                  <a:cubicBezTo>
                    <a:pt x="3106" y="1654"/>
                    <a:pt x="3108" y="1653"/>
                    <a:pt x="3118" y="1649"/>
                  </a:cubicBezTo>
                  <a:cubicBezTo>
                    <a:pt x="3123" y="1647"/>
                    <a:pt x="3127" y="1649"/>
                    <a:pt x="3131" y="1649"/>
                  </a:cubicBezTo>
                  <a:cubicBezTo>
                    <a:pt x="3141" y="1650"/>
                    <a:pt x="3146" y="1647"/>
                    <a:pt x="3147" y="1635"/>
                  </a:cubicBezTo>
                  <a:cubicBezTo>
                    <a:pt x="3147" y="1630"/>
                    <a:pt x="3148" y="1627"/>
                    <a:pt x="3151" y="1624"/>
                  </a:cubicBezTo>
                  <a:cubicBezTo>
                    <a:pt x="3158" y="1615"/>
                    <a:pt x="3161" y="1605"/>
                    <a:pt x="3160" y="1592"/>
                  </a:cubicBezTo>
                  <a:cubicBezTo>
                    <a:pt x="3159" y="1587"/>
                    <a:pt x="3157" y="1583"/>
                    <a:pt x="3152" y="1583"/>
                  </a:cubicBezTo>
                  <a:cubicBezTo>
                    <a:pt x="3145" y="1584"/>
                    <a:pt x="3146" y="1580"/>
                    <a:pt x="3147" y="1576"/>
                  </a:cubicBezTo>
                  <a:cubicBezTo>
                    <a:pt x="3147" y="1573"/>
                    <a:pt x="3148" y="1571"/>
                    <a:pt x="3150" y="1569"/>
                  </a:cubicBezTo>
                  <a:cubicBezTo>
                    <a:pt x="3154" y="1563"/>
                    <a:pt x="3159" y="1558"/>
                    <a:pt x="3164" y="1553"/>
                  </a:cubicBezTo>
                  <a:cubicBezTo>
                    <a:pt x="3168" y="1547"/>
                    <a:pt x="3171" y="1541"/>
                    <a:pt x="3174" y="1535"/>
                  </a:cubicBezTo>
                  <a:cubicBezTo>
                    <a:pt x="3178" y="1527"/>
                    <a:pt x="3178" y="1517"/>
                    <a:pt x="3186" y="1511"/>
                  </a:cubicBezTo>
                  <a:cubicBezTo>
                    <a:pt x="3187" y="1510"/>
                    <a:pt x="3187" y="1507"/>
                    <a:pt x="3188" y="1506"/>
                  </a:cubicBezTo>
                  <a:cubicBezTo>
                    <a:pt x="3191" y="1492"/>
                    <a:pt x="3200" y="1481"/>
                    <a:pt x="3207" y="1469"/>
                  </a:cubicBezTo>
                  <a:cubicBezTo>
                    <a:pt x="3209" y="1466"/>
                    <a:pt x="3210" y="1466"/>
                    <a:pt x="3213" y="1465"/>
                  </a:cubicBezTo>
                  <a:cubicBezTo>
                    <a:pt x="3223" y="1462"/>
                    <a:pt x="3228" y="1454"/>
                    <a:pt x="3235" y="1447"/>
                  </a:cubicBezTo>
                  <a:cubicBezTo>
                    <a:pt x="3236" y="1446"/>
                    <a:pt x="3236" y="1443"/>
                    <a:pt x="3235" y="1441"/>
                  </a:cubicBezTo>
                  <a:cubicBezTo>
                    <a:pt x="3232" y="1436"/>
                    <a:pt x="3234" y="1435"/>
                    <a:pt x="3238" y="1434"/>
                  </a:cubicBezTo>
                  <a:cubicBezTo>
                    <a:pt x="3245" y="1431"/>
                    <a:pt x="3249" y="1427"/>
                    <a:pt x="3251" y="1420"/>
                  </a:cubicBezTo>
                  <a:cubicBezTo>
                    <a:pt x="3251" y="1418"/>
                    <a:pt x="3254" y="1416"/>
                    <a:pt x="3256" y="1415"/>
                  </a:cubicBezTo>
                  <a:cubicBezTo>
                    <a:pt x="3260" y="1412"/>
                    <a:pt x="3261" y="1408"/>
                    <a:pt x="3263" y="1404"/>
                  </a:cubicBezTo>
                  <a:cubicBezTo>
                    <a:pt x="3265" y="1400"/>
                    <a:pt x="3272" y="1399"/>
                    <a:pt x="3276" y="1397"/>
                  </a:cubicBezTo>
                  <a:cubicBezTo>
                    <a:pt x="3277" y="1396"/>
                    <a:pt x="3277" y="1395"/>
                    <a:pt x="3278" y="1393"/>
                  </a:cubicBezTo>
                  <a:cubicBezTo>
                    <a:pt x="3280" y="1392"/>
                    <a:pt x="3281" y="1389"/>
                    <a:pt x="3283" y="1388"/>
                  </a:cubicBezTo>
                  <a:cubicBezTo>
                    <a:pt x="3291" y="1385"/>
                    <a:pt x="3299" y="1382"/>
                    <a:pt x="3305" y="1375"/>
                  </a:cubicBezTo>
                  <a:cubicBezTo>
                    <a:pt x="3306" y="1374"/>
                    <a:pt x="3310" y="1374"/>
                    <a:pt x="3312" y="1374"/>
                  </a:cubicBezTo>
                  <a:cubicBezTo>
                    <a:pt x="3317" y="1372"/>
                    <a:pt x="3324" y="1371"/>
                    <a:pt x="3328" y="1368"/>
                  </a:cubicBezTo>
                  <a:cubicBezTo>
                    <a:pt x="3334" y="1364"/>
                    <a:pt x="3336" y="1356"/>
                    <a:pt x="3345" y="1356"/>
                  </a:cubicBezTo>
                  <a:cubicBezTo>
                    <a:pt x="3349" y="1347"/>
                    <a:pt x="3357" y="1346"/>
                    <a:pt x="3365" y="1343"/>
                  </a:cubicBezTo>
                  <a:cubicBezTo>
                    <a:pt x="3367" y="1343"/>
                    <a:pt x="3370" y="1342"/>
                    <a:pt x="3372" y="1340"/>
                  </a:cubicBezTo>
                  <a:cubicBezTo>
                    <a:pt x="3377" y="1335"/>
                    <a:pt x="3382" y="1328"/>
                    <a:pt x="3391" y="1330"/>
                  </a:cubicBezTo>
                  <a:cubicBezTo>
                    <a:pt x="3392" y="1331"/>
                    <a:pt x="3393" y="1330"/>
                    <a:pt x="3393" y="1330"/>
                  </a:cubicBezTo>
                  <a:cubicBezTo>
                    <a:pt x="3399" y="1325"/>
                    <a:pt x="3405" y="1324"/>
                    <a:pt x="3412" y="1328"/>
                  </a:cubicBezTo>
                  <a:cubicBezTo>
                    <a:pt x="3413" y="1328"/>
                    <a:pt x="3416" y="1328"/>
                    <a:pt x="3417" y="1327"/>
                  </a:cubicBezTo>
                  <a:cubicBezTo>
                    <a:pt x="3422" y="1321"/>
                    <a:pt x="3428" y="1322"/>
                    <a:pt x="3434" y="1322"/>
                  </a:cubicBezTo>
                  <a:cubicBezTo>
                    <a:pt x="3442" y="1321"/>
                    <a:pt x="3449" y="1315"/>
                    <a:pt x="3451" y="1308"/>
                  </a:cubicBezTo>
                  <a:cubicBezTo>
                    <a:pt x="3453" y="1301"/>
                    <a:pt x="3450" y="1296"/>
                    <a:pt x="3445" y="1293"/>
                  </a:cubicBezTo>
                  <a:cubicBezTo>
                    <a:pt x="3441" y="1291"/>
                    <a:pt x="3443" y="1289"/>
                    <a:pt x="3444" y="1286"/>
                  </a:cubicBezTo>
                  <a:cubicBezTo>
                    <a:pt x="3447" y="1279"/>
                    <a:pt x="3452" y="1274"/>
                    <a:pt x="3459" y="1271"/>
                  </a:cubicBezTo>
                  <a:cubicBezTo>
                    <a:pt x="3465" y="1267"/>
                    <a:pt x="3466" y="1263"/>
                    <a:pt x="3462" y="1257"/>
                  </a:cubicBezTo>
                  <a:cubicBezTo>
                    <a:pt x="3459" y="1253"/>
                    <a:pt x="3456" y="1251"/>
                    <a:pt x="3453" y="1247"/>
                  </a:cubicBezTo>
                  <a:cubicBezTo>
                    <a:pt x="3452" y="1246"/>
                    <a:pt x="3450" y="1243"/>
                    <a:pt x="3451" y="1242"/>
                  </a:cubicBezTo>
                  <a:cubicBezTo>
                    <a:pt x="3455" y="1236"/>
                    <a:pt x="3457" y="1229"/>
                    <a:pt x="3457" y="1222"/>
                  </a:cubicBezTo>
                  <a:cubicBezTo>
                    <a:pt x="3457" y="1219"/>
                    <a:pt x="3461" y="1216"/>
                    <a:pt x="3463" y="1213"/>
                  </a:cubicBezTo>
                  <a:cubicBezTo>
                    <a:pt x="3465" y="1212"/>
                    <a:pt x="3467" y="1210"/>
                    <a:pt x="3468" y="1208"/>
                  </a:cubicBezTo>
                  <a:cubicBezTo>
                    <a:pt x="3479" y="1198"/>
                    <a:pt x="3478" y="1183"/>
                    <a:pt x="3482" y="1170"/>
                  </a:cubicBezTo>
                  <a:cubicBezTo>
                    <a:pt x="3483" y="1166"/>
                    <a:pt x="3483" y="1163"/>
                    <a:pt x="3487" y="1161"/>
                  </a:cubicBezTo>
                  <a:cubicBezTo>
                    <a:pt x="3499" y="1156"/>
                    <a:pt x="3503" y="1148"/>
                    <a:pt x="3503" y="1136"/>
                  </a:cubicBezTo>
                  <a:cubicBezTo>
                    <a:pt x="3503" y="1135"/>
                    <a:pt x="3503" y="1134"/>
                    <a:pt x="3504" y="1133"/>
                  </a:cubicBezTo>
                  <a:cubicBezTo>
                    <a:pt x="3504" y="1132"/>
                    <a:pt x="3505" y="1131"/>
                    <a:pt x="3506" y="1130"/>
                  </a:cubicBezTo>
                  <a:cubicBezTo>
                    <a:pt x="3507" y="1131"/>
                    <a:pt x="3508" y="1132"/>
                    <a:pt x="3509" y="1132"/>
                  </a:cubicBezTo>
                  <a:cubicBezTo>
                    <a:pt x="3512" y="1135"/>
                    <a:pt x="3514" y="1138"/>
                    <a:pt x="3518" y="1140"/>
                  </a:cubicBezTo>
                  <a:cubicBezTo>
                    <a:pt x="3532" y="1149"/>
                    <a:pt x="3540" y="1146"/>
                    <a:pt x="3544" y="1129"/>
                  </a:cubicBezTo>
                  <a:cubicBezTo>
                    <a:pt x="3545" y="1127"/>
                    <a:pt x="3545" y="1124"/>
                    <a:pt x="3543" y="1122"/>
                  </a:cubicBezTo>
                  <a:cubicBezTo>
                    <a:pt x="3538" y="1116"/>
                    <a:pt x="3536" y="1109"/>
                    <a:pt x="3533" y="1102"/>
                  </a:cubicBezTo>
                  <a:cubicBezTo>
                    <a:pt x="3530" y="1098"/>
                    <a:pt x="3531" y="1095"/>
                    <a:pt x="3534" y="1091"/>
                  </a:cubicBezTo>
                  <a:cubicBezTo>
                    <a:pt x="3538" y="1087"/>
                    <a:pt x="3540" y="1082"/>
                    <a:pt x="3541" y="1076"/>
                  </a:cubicBezTo>
                  <a:cubicBezTo>
                    <a:pt x="3543" y="1069"/>
                    <a:pt x="3542" y="1060"/>
                    <a:pt x="3547" y="1053"/>
                  </a:cubicBezTo>
                  <a:cubicBezTo>
                    <a:pt x="3551" y="1045"/>
                    <a:pt x="3556" y="1039"/>
                    <a:pt x="3561" y="1033"/>
                  </a:cubicBezTo>
                  <a:cubicBezTo>
                    <a:pt x="3565" y="1029"/>
                    <a:pt x="3568" y="1026"/>
                    <a:pt x="3574" y="1029"/>
                  </a:cubicBezTo>
                  <a:cubicBezTo>
                    <a:pt x="3576" y="1030"/>
                    <a:pt x="3580" y="1029"/>
                    <a:pt x="3581" y="1028"/>
                  </a:cubicBezTo>
                  <a:cubicBezTo>
                    <a:pt x="3586" y="1024"/>
                    <a:pt x="3589" y="1018"/>
                    <a:pt x="3594" y="1014"/>
                  </a:cubicBezTo>
                  <a:cubicBezTo>
                    <a:pt x="3598" y="1009"/>
                    <a:pt x="3602" y="1004"/>
                    <a:pt x="3607" y="1002"/>
                  </a:cubicBezTo>
                  <a:cubicBezTo>
                    <a:pt x="3615" y="999"/>
                    <a:pt x="3624" y="996"/>
                    <a:pt x="3632" y="993"/>
                  </a:cubicBezTo>
                  <a:cubicBezTo>
                    <a:pt x="3642" y="990"/>
                    <a:pt x="3648" y="984"/>
                    <a:pt x="3651" y="974"/>
                  </a:cubicBezTo>
                  <a:cubicBezTo>
                    <a:pt x="3651" y="971"/>
                    <a:pt x="3653" y="970"/>
                    <a:pt x="3655" y="968"/>
                  </a:cubicBezTo>
                  <a:cubicBezTo>
                    <a:pt x="3660" y="964"/>
                    <a:pt x="3666" y="959"/>
                    <a:pt x="3669" y="954"/>
                  </a:cubicBezTo>
                  <a:cubicBezTo>
                    <a:pt x="3673" y="946"/>
                    <a:pt x="3676" y="940"/>
                    <a:pt x="3686" y="941"/>
                  </a:cubicBezTo>
                  <a:cubicBezTo>
                    <a:pt x="3687" y="941"/>
                    <a:pt x="3688" y="940"/>
                    <a:pt x="3690" y="939"/>
                  </a:cubicBezTo>
                  <a:cubicBezTo>
                    <a:pt x="3694" y="937"/>
                    <a:pt x="3698" y="937"/>
                    <a:pt x="3702" y="937"/>
                  </a:cubicBezTo>
                  <a:cubicBezTo>
                    <a:pt x="3710" y="937"/>
                    <a:pt x="3718" y="935"/>
                    <a:pt x="3727" y="936"/>
                  </a:cubicBezTo>
                  <a:cubicBezTo>
                    <a:pt x="3727" y="936"/>
                    <a:pt x="3728" y="936"/>
                    <a:pt x="3729" y="935"/>
                  </a:cubicBezTo>
                  <a:cubicBezTo>
                    <a:pt x="3736" y="928"/>
                    <a:pt x="3746" y="923"/>
                    <a:pt x="3747" y="911"/>
                  </a:cubicBezTo>
                  <a:cubicBezTo>
                    <a:pt x="3747" y="910"/>
                    <a:pt x="3747" y="909"/>
                    <a:pt x="3747" y="908"/>
                  </a:cubicBezTo>
                  <a:cubicBezTo>
                    <a:pt x="3749" y="902"/>
                    <a:pt x="3754" y="899"/>
                    <a:pt x="3760" y="900"/>
                  </a:cubicBezTo>
                  <a:cubicBezTo>
                    <a:pt x="3765" y="901"/>
                    <a:pt x="3771" y="902"/>
                    <a:pt x="3777" y="902"/>
                  </a:cubicBezTo>
                  <a:cubicBezTo>
                    <a:pt x="3783" y="902"/>
                    <a:pt x="3788" y="896"/>
                    <a:pt x="3787" y="890"/>
                  </a:cubicBezTo>
                  <a:cubicBezTo>
                    <a:pt x="3787" y="886"/>
                    <a:pt x="3781" y="882"/>
                    <a:pt x="3782" y="879"/>
                  </a:cubicBezTo>
                  <a:cubicBezTo>
                    <a:pt x="3784" y="876"/>
                    <a:pt x="3790" y="874"/>
                    <a:pt x="3790" y="868"/>
                  </a:cubicBezTo>
                  <a:cubicBezTo>
                    <a:pt x="3790" y="867"/>
                    <a:pt x="3790" y="865"/>
                    <a:pt x="3790" y="864"/>
                  </a:cubicBezTo>
                  <a:cubicBezTo>
                    <a:pt x="3791" y="863"/>
                    <a:pt x="3792" y="861"/>
                    <a:pt x="3793" y="861"/>
                  </a:cubicBezTo>
                  <a:cubicBezTo>
                    <a:pt x="3796" y="860"/>
                    <a:pt x="3799" y="859"/>
                    <a:pt x="3802" y="859"/>
                  </a:cubicBezTo>
                  <a:cubicBezTo>
                    <a:pt x="3810" y="859"/>
                    <a:pt x="3816" y="855"/>
                    <a:pt x="3821" y="850"/>
                  </a:cubicBezTo>
                  <a:cubicBezTo>
                    <a:pt x="3826" y="845"/>
                    <a:pt x="3830" y="841"/>
                    <a:pt x="3837" y="845"/>
                  </a:cubicBezTo>
                  <a:cubicBezTo>
                    <a:pt x="3838" y="845"/>
                    <a:pt x="3840" y="845"/>
                    <a:pt x="3842" y="844"/>
                  </a:cubicBezTo>
                  <a:cubicBezTo>
                    <a:pt x="3848" y="841"/>
                    <a:pt x="3855" y="839"/>
                    <a:pt x="3860" y="833"/>
                  </a:cubicBezTo>
                  <a:cubicBezTo>
                    <a:pt x="3861" y="831"/>
                    <a:pt x="3864" y="830"/>
                    <a:pt x="3866" y="828"/>
                  </a:cubicBezTo>
                  <a:cubicBezTo>
                    <a:pt x="3875" y="824"/>
                    <a:pt x="3885" y="821"/>
                    <a:pt x="3891" y="813"/>
                  </a:cubicBezTo>
                  <a:cubicBezTo>
                    <a:pt x="3892" y="811"/>
                    <a:pt x="3894" y="810"/>
                    <a:pt x="3895" y="809"/>
                  </a:cubicBezTo>
                  <a:cubicBezTo>
                    <a:pt x="3900" y="807"/>
                    <a:pt x="3905" y="805"/>
                    <a:pt x="3905" y="799"/>
                  </a:cubicBezTo>
                  <a:cubicBezTo>
                    <a:pt x="3906" y="794"/>
                    <a:pt x="3907" y="789"/>
                    <a:pt x="3906" y="784"/>
                  </a:cubicBezTo>
                  <a:cubicBezTo>
                    <a:pt x="3903" y="769"/>
                    <a:pt x="3899" y="754"/>
                    <a:pt x="3896" y="739"/>
                  </a:cubicBezTo>
                  <a:cubicBezTo>
                    <a:pt x="3895" y="732"/>
                    <a:pt x="3897" y="728"/>
                    <a:pt x="3904" y="727"/>
                  </a:cubicBezTo>
                  <a:cubicBezTo>
                    <a:pt x="3905" y="726"/>
                    <a:pt x="3906" y="727"/>
                    <a:pt x="3907" y="726"/>
                  </a:cubicBezTo>
                  <a:cubicBezTo>
                    <a:pt x="3916" y="726"/>
                    <a:pt x="3919" y="719"/>
                    <a:pt x="3923" y="712"/>
                  </a:cubicBezTo>
                  <a:cubicBezTo>
                    <a:pt x="3927" y="706"/>
                    <a:pt x="3925" y="702"/>
                    <a:pt x="3922" y="697"/>
                  </a:cubicBezTo>
                  <a:cubicBezTo>
                    <a:pt x="3919" y="692"/>
                    <a:pt x="3920" y="685"/>
                    <a:pt x="3919" y="679"/>
                  </a:cubicBezTo>
                  <a:cubicBezTo>
                    <a:pt x="3919" y="679"/>
                    <a:pt x="3921" y="677"/>
                    <a:pt x="3921" y="677"/>
                  </a:cubicBezTo>
                  <a:cubicBezTo>
                    <a:pt x="3927" y="677"/>
                    <a:pt x="3928" y="672"/>
                    <a:pt x="3930" y="669"/>
                  </a:cubicBezTo>
                  <a:cubicBezTo>
                    <a:pt x="3934" y="663"/>
                    <a:pt x="3939" y="657"/>
                    <a:pt x="3943" y="652"/>
                  </a:cubicBezTo>
                  <a:cubicBezTo>
                    <a:pt x="3946" y="649"/>
                    <a:pt x="3948" y="647"/>
                    <a:pt x="3951" y="651"/>
                  </a:cubicBezTo>
                  <a:cubicBezTo>
                    <a:pt x="3955" y="654"/>
                    <a:pt x="3958" y="652"/>
                    <a:pt x="3961" y="649"/>
                  </a:cubicBezTo>
                  <a:cubicBezTo>
                    <a:pt x="3964" y="647"/>
                    <a:pt x="3966" y="643"/>
                    <a:pt x="3969" y="641"/>
                  </a:cubicBezTo>
                  <a:cubicBezTo>
                    <a:pt x="3972" y="637"/>
                    <a:pt x="3975" y="631"/>
                    <a:pt x="3980" y="630"/>
                  </a:cubicBezTo>
                  <a:cubicBezTo>
                    <a:pt x="3985" y="627"/>
                    <a:pt x="3987" y="624"/>
                    <a:pt x="3989" y="620"/>
                  </a:cubicBezTo>
                  <a:cubicBezTo>
                    <a:pt x="3990" y="617"/>
                    <a:pt x="3991" y="613"/>
                    <a:pt x="3993" y="610"/>
                  </a:cubicBezTo>
                  <a:cubicBezTo>
                    <a:pt x="3994" y="609"/>
                    <a:pt x="3996" y="608"/>
                    <a:pt x="3997" y="608"/>
                  </a:cubicBezTo>
                  <a:cubicBezTo>
                    <a:pt x="4006" y="608"/>
                    <a:pt x="4007" y="608"/>
                    <a:pt x="4009" y="600"/>
                  </a:cubicBezTo>
                  <a:cubicBezTo>
                    <a:pt x="4011" y="595"/>
                    <a:pt x="4012" y="591"/>
                    <a:pt x="4018" y="590"/>
                  </a:cubicBezTo>
                  <a:cubicBezTo>
                    <a:pt x="4023" y="588"/>
                    <a:pt x="4026" y="583"/>
                    <a:pt x="4024" y="578"/>
                  </a:cubicBezTo>
                  <a:cubicBezTo>
                    <a:pt x="4023" y="575"/>
                    <a:pt x="4021" y="572"/>
                    <a:pt x="4019" y="569"/>
                  </a:cubicBezTo>
                  <a:cubicBezTo>
                    <a:pt x="4015" y="564"/>
                    <a:pt x="4015" y="563"/>
                    <a:pt x="4021" y="562"/>
                  </a:cubicBezTo>
                  <a:cubicBezTo>
                    <a:pt x="4024" y="561"/>
                    <a:pt x="4027" y="562"/>
                    <a:pt x="4030" y="561"/>
                  </a:cubicBezTo>
                  <a:cubicBezTo>
                    <a:pt x="4033" y="561"/>
                    <a:pt x="4037" y="562"/>
                    <a:pt x="4039" y="560"/>
                  </a:cubicBezTo>
                  <a:cubicBezTo>
                    <a:pt x="4046" y="553"/>
                    <a:pt x="4054" y="553"/>
                    <a:pt x="4063" y="553"/>
                  </a:cubicBezTo>
                  <a:cubicBezTo>
                    <a:pt x="4069" y="554"/>
                    <a:pt x="4074" y="551"/>
                    <a:pt x="4076" y="545"/>
                  </a:cubicBezTo>
                  <a:cubicBezTo>
                    <a:pt x="4081" y="534"/>
                    <a:pt x="4086" y="524"/>
                    <a:pt x="4090" y="513"/>
                  </a:cubicBezTo>
                  <a:cubicBezTo>
                    <a:pt x="4092" y="509"/>
                    <a:pt x="4092" y="504"/>
                    <a:pt x="4093" y="500"/>
                  </a:cubicBezTo>
                  <a:cubicBezTo>
                    <a:pt x="4093" y="493"/>
                    <a:pt x="4092" y="487"/>
                    <a:pt x="4089" y="480"/>
                  </a:cubicBezTo>
                  <a:cubicBezTo>
                    <a:pt x="4086" y="475"/>
                    <a:pt x="4087" y="469"/>
                    <a:pt x="4086" y="463"/>
                  </a:cubicBezTo>
                  <a:cubicBezTo>
                    <a:pt x="4086" y="458"/>
                    <a:pt x="4086" y="453"/>
                    <a:pt x="4081" y="450"/>
                  </a:cubicBezTo>
                  <a:cubicBezTo>
                    <a:pt x="4076" y="448"/>
                    <a:pt x="4071" y="450"/>
                    <a:pt x="4067" y="453"/>
                  </a:cubicBezTo>
                  <a:cubicBezTo>
                    <a:pt x="4066" y="454"/>
                    <a:pt x="4066" y="454"/>
                    <a:pt x="4066" y="454"/>
                  </a:cubicBezTo>
                  <a:cubicBezTo>
                    <a:pt x="4062" y="459"/>
                    <a:pt x="4056" y="461"/>
                    <a:pt x="4050" y="463"/>
                  </a:cubicBezTo>
                  <a:cubicBezTo>
                    <a:pt x="4047" y="463"/>
                    <a:pt x="4045" y="464"/>
                    <a:pt x="4042" y="466"/>
                  </a:cubicBezTo>
                  <a:cubicBezTo>
                    <a:pt x="4037" y="469"/>
                    <a:pt x="4034" y="468"/>
                    <a:pt x="4034" y="463"/>
                  </a:cubicBezTo>
                  <a:cubicBezTo>
                    <a:pt x="4034" y="460"/>
                    <a:pt x="4036" y="456"/>
                    <a:pt x="4038" y="453"/>
                  </a:cubicBezTo>
                  <a:cubicBezTo>
                    <a:pt x="4042" y="448"/>
                    <a:pt x="4043" y="443"/>
                    <a:pt x="4040" y="437"/>
                  </a:cubicBezTo>
                  <a:cubicBezTo>
                    <a:pt x="4039" y="436"/>
                    <a:pt x="4038" y="434"/>
                    <a:pt x="4038" y="433"/>
                  </a:cubicBezTo>
                  <a:cubicBezTo>
                    <a:pt x="4035" y="427"/>
                    <a:pt x="4036" y="424"/>
                    <a:pt x="4041" y="419"/>
                  </a:cubicBezTo>
                  <a:cubicBezTo>
                    <a:pt x="4045" y="415"/>
                    <a:pt x="4048" y="418"/>
                    <a:pt x="4051" y="420"/>
                  </a:cubicBezTo>
                  <a:cubicBezTo>
                    <a:pt x="4053" y="422"/>
                    <a:pt x="4056" y="422"/>
                    <a:pt x="4058" y="423"/>
                  </a:cubicBezTo>
                  <a:cubicBezTo>
                    <a:pt x="4061" y="425"/>
                    <a:pt x="4064" y="424"/>
                    <a:pt x="4067" y="421"/>
                  </a:cubicBezTo>
                  <a:cubicBezTo>
                    <a:pt x="4069" y="419"/>
                    <a:pt x="4071" y="416"/>
                    <a:pt x="4073" y="413"/>
                  </a:cubicBezTo>
                  <a:cubicBezTo>
                    <a:pt x="4076" y="416"/>
                    <a:pt x="4078" y="418"/>
                    <a:pt x="4081" y="421"/>
                  </a:cubicBezTo>
                  <a:cubicBezTo>
                    <a:pt x="4082" y="422"/>
                    <a:pt x="4084" y="423"/>
                    <a:pt x="4085" y="424"/>
                  </a:cubicBezTo>
                  <a:cubicBezTo>
                    <a:pt x="4094" y="430"/>
                    <a:pt x="4101" y="428"/>
                    <a:pt x="4107" y="419"/>
                  </a:cubicBezTo>
                  <a:cubicBezTo>
                    <a:pt x="4109" y="416"/>
                    <a:pt x="4111" y="413"/>
                    <a:pt x="4113" y="411"/>
                  </a:cubicBezTo>
                  <a:cubicBezTo>
                    <a:pt x="4117" y="406"/>
                    <a:pt x="4119" y="401"/>
                    <a:pt x="4119" y="395"/>
                  </a:cubicBezTo>
                  <a:cubicBezTo>
                    <a:pt x="4119" y="390"/>
                    <a:pt x="4119" y="386"/>
                    <a:pt x="4122" y="381"/>
                  </a:cubicBezTo>
                  <a:cubicBezTo>
                    <a:pt x="4126" y="373"/>
                    <a:pt x="4122" y="364"/>
                    <a:pt x="4114" y="359"/>
                  </a:cubicBezTo>
                  <a:close/>
                  <a:moveTo>
                    <a:pt x="1702" y="758"/>
                  </a:moveTo>
                  <a:cubicBezTo>
                    <a:pt x="1759" y="759"/>
                    <a:pt x="1816" y="758"/>
                    <a:pt x="1872" y="759"/>
                  </a:cubicBezTo>
                  <a:cubicBezTo>
                    <a:pt x="1899" y="759"/>
                    <a:pt x="1925" y="758"/>
                    <a:pt x="1951" y="758"/>
                  </a:cubicBezTo>
                  <a:cubicBezTo>
                    <a:pt x="2016" y="758"/>
                    <a:pt x="2082" y="758"/>
                    <a:pt x="2147" y="758"/>
                  </a:cubicBezTo>
                  <a:cubicBezTo>
                    <a:pt x="2241" y="758"/>
                    <a:pt x="2335" y="758"/>
                    <a:pt x="2429" y="759"/>
                  </a:cubicBezTo>
                  <a:cubicBezTo>
                    <a:pt x="2498" y="759"/>
                    <a:pt x="2567" y="759"/>
                    <a:pt x="2636" y="759"/>
                  </a:cubicBezTo>
                  <a:cubicBezTo>
                    <a:pt x="2640" y="759"/>
                    <a:pt x="2644" y="759"/>
                    <a:pt x="2648" y="759"/>
                  </a:cubicBezTo>
                  <a:cubicBezTo>
                    <a:pt x="2653" y="1340"/>
                    <a:pt x="2653" y="1340"/>
                    <a:pt x="2653" y="1340"/>
                  </a:cubicBezTo>
                  <a:cubicBezTo>
                    <a:pt x="2644" y="1341"/>
                    <a:pt x="2644" y="1341"/>
                    <a:pt x="2644" y="1341"/>
                  </a:cubicBezTo>
                  <a:cubicBezTo>
                    <a:pt x="2634" y="1347"/>
                    <a:pt x="2634" y="1347"/>
                    <a:pt x="2634" y="1347"/>
                  </a:cubicBezTo>
                  <a:cubicBezTo>
                    <a:pt x="2627" y="1346"/>
                    <a:pt x="2627" y="1346"/>
                    <a:pt x="2627" y="1346"/>
                  </a:cubicBezTo>
                  <a:cubicBezTo>
                    <a:pt x="2616" y="1351"/>
                    <a:pt x="2616" y="1351"/>
                    <a:pt x="2616" y="1351"/>
                  </a:cubicBezTo>
                  <a:cubicBezTo>
                    <a:pt x="2608" y="1346"/>
                    <a:pt x="2608" y="1346"/>
                    <a:pt x="2608" y="1346"/>
                  </a:cubicBezTo>
                  <a:cubicBezTo>
                    <a:pt x="2602" y="1346"/>
                    <a:pt x="2602" y="1346"/>
                    <a:pt x="2602" y="1346"/>
                  </a:cubicBezTo>
                  <a:cubicBezTo>
                    <a:pt x="2565" y="1332"/>
                    <a:pt x="2565" y="1332"/>
                    <a:pt x="2565" y="1332"/>
                  </a:cubicBezTo>
                  <a:cubicBezTo>
                    <a:pt x="2550" y="1339"/>
                    <a:pt x="2550" y="1339"/>
                    <a:pt x="2550" y="1339"/>
                  </a:cubicBezTo>
                  <a:cubicBezTo>
                    <a:pt x="2536" y="1339"/>
                    <a:pt x="2536" y="1339"/>
                    <a:pt x="2536" y="1339"/>
                  </a:cubicBezTo>
                  <a:cubicBezTo>
                    <a:pt x="2527" y="1333"/>
                    <a:pt x="2527" y="1333"/>
                    <a:pt x="2527" y="1333"/>
                  </a:cubicBezTo>
                  <a:cubicBezTo>
                    <a:pt x="2522" y="1338"/>
                    <a:pt x="2522" y="1338"/>
                    <a:pt x="2522" y="1338"/>
                  </a:cubicBezTo>
                  <a:cubicBezTo>
                    <a:pt x="2517" y="1336"/>
                    <a:pt x="2517" y="1336"/>
                    <a:pt x="2517" y="1336"/>
                  </a:cubicBezTo>
                  <a:cubicBezTo>
                    <a:pt x="2508" y="1339"/>
                    <a:pt x="2508" y="1339"/>
                    <a:pt x="2508" y="1339"/>
                  </a:cubicBezTo>
                  <a:cubicBezTo>
                    <a:pt x="2499" y="1338"/>
                    <a:pt x="2499" y="1338"/>
                    <a:pt x="2499" y="1338"/>
                  </a:cubicBezTo>
                  <a:cubicBezTo>
                    <a:pt x="2487" y="1342"/>
                    <a:pt x="2487" y="1342"/>
                    <a:pt x="2487" y="1342"/>
                  </a:cubicBezTo>
                  <a:cubicBezTo>
                    <a:pt x="2463" y="1328"/>
                    <a:pt x="2463" y="1328"/>
                    <a:pt x="2463" y="1328"/>
                  </a:cubicBezTo>
                  <a:cubicBezTo>
                    <a:pt x="2447" y="1338"/>
                    <a:pt x="2447" y="1338"/>
                    <a:pt x="2447" y="1338"/>
                  </a:cubicBezTo>
                  <a:cubicBezTo>
                    <a:pt x="2435" y="1331"/>
                    <a:pt x="2435" y="1331"/>
                    <a:pt x="2435" y="1331"/>
                  </a:cubicBezTo>
                  <a:cubicBezTo>
                    <a:pt x="2426" y="1336"/>
                    <a:pt x="2426" y="1336"/>
                    <a:pt x="2426" y="1336"/>
                  </a:cubicBezTo>
                  <a:cubicBezTo>
                    <a:pt x="2423" y="1344"/>
                    <a:pt x="2423" y="1344"/>
                    <a:pt x="2423" y="1344"/>
                  </a:cubicBezTo>
                  <a:cubicBezTo>
                    <a:pt x="2417" y="1348"/>
                    <a:pt x="2417" y="1348"/>
                    <a:pt x="2417" y="1348"/>
                  </a:cubicBezTo>
                  <a:cubicBezTo>
                    <a:pt x="2404" y="1370"/>
                    <a:pt x="2404" y="1370"/>
                    <a:pt x="2404" y="1370"/>
                  </a:cubicBezTo>
                  <a:cubicBezTo>
                    <a:pt x="2394" y="1381"/>
                    <a:pt x="2394" y="1381"/>
                    <a:pt x="2394" y="1381"/>
                  </a:cubicBezTo>
                  <a:cubicBezTo>
                    <a:pt x="2394" y="1401"/>
                    <a:pt x="2394" y="1401"/>
                    <a:pt x="2394" y="1401"/>
                  </a:cubicBezTo>
                  <a:cubicBezTo>
                    <a:pt x="2388" y="1430"/>
                    <a:pt x="2388" y="1430"/>
                    <a:pt x="2388" y="1430"/>
                  </a:cubicBezTo>
                  <a:cubicBezTo>
                    <a:pt x="2356" y="1447"/>
                    <a:pt x="2356" y="1447"/>
                    <a:pt x="2356" y="1447"/>
                  </a:cubicBezTo>
                  <a:cubicBezTo>
                    <a:pt x="2355" y="1457"/>
                    <a:pt x="2355" y="1457"/>
                    <a:pt x="2355" y="1457"/>
                  </a:cubicBezTo>
                  <a:cubicBezTo>
                    <a:pt x="2357" y="1464"/>
                    <a:pt x="2357" y="1464"/>
                    <a:pt x="2357" y="1464"/>
                  </a:cubicBezTo>
                  <a:cubicBezTo>
                    <a:pt x="2353" y="1467"/>
                    <a:pt x="2353" y="1467"/>
                    <a:pt x="2353" y="1467"/>
                  </a:cubicBezTo>
                  <a:cubicBezTo>
                    <a:pt x="2305" y="1450"/>
                    <a:pt x="2305" y="1450"/>
                    <a:pt x="2305" y="1450"/>
                  </a:cubicBezTo>
                  <a:cubicBezTo>
                    <a:pt x="2297" y="1444"/>
                    <a:pt x="2297" y="1444"/>
                    <a:pt x="2297" y="1444"/>
                  </a:cubicBezTo>
                  <a:cubicBezTo>
                    <a:pt x="2277" y="1433"/>
                    <a:pt x="2277" y="1433"/>
                    <a:pt x="2277" y="1433"/>
                  </a:cubicBezTo>
                  <a:cubicBezTo>
                    <a:pt x="2272" y="1440"/>
                    <a:pt x="2272" y="1440"/>
                    <a:pt x="2272" y="1440"/>
                  </a:cubicBezTo>
                  <a:cubicBezTo>
                    <a:pt x="2262" y="1428"/>
                    <a:pt x="2262" y="1428"/>
                    <a:pt x="2262" y="1428"/>
                  </a:cubicBezTo>
                  <a:cubicBezTo>
                    <a:pt x="2166" y="1484"/>
                    <a:pt x="2166" y="1484"/>
                    <a:pt x="2166" y="1484"/>
                  </a:cubicBezTo>
                  <a:cubicBezTo>
                    <a:pt x="2117" y="1410"/>
                    <a:pt x="2117" y="1410"/>
                    <a:pt x="2117" y="1410"/>
                  </a:cubicBezTo>
                  <a:cubicBezTo>
                    <a:pt x="1905" y="1546"/>
                    <a:pt x="1905" y="1546"/>
                    <a:pt x="1905" y="1546"/>
                  </a:cubicBezTo>
                  <a:cubicBezTo>
                    <a:pt x="1958" y="1461"/>
                    <a:pt x="1958" y="1461"/>
                    <a:pt x="1958" y="1461"/>
                  </a:cubicBezTo>
                  <a:cubicBezTo>
                    <a:pt x="1973" y="1351"/>
                    <a:pt x="1973" y="1351"/>
                    <a:pt x="1973" y="1351"/>
                  </a:cubicBezTo>
                  <a:cubicBezTo>
                    <a:pt x="1995" y="1341"/>
                    <a:pt x="1995" y="1341"/>
                    <a:pt x="1995" y="1341"/>
                  </a:cubicBezTo>
                  <a:cubicBezTo>
                    <a:pt x="1996" y="1341"/>
                    <a:pt x="1996" y="1341"/>
                    <a:pt x="1996" y="1341"/>
                  </a:cubicBezTo>
                  <a:cubicBezTo>
                    <a:pt x="1997" y="1340"/>
                    <a:pt x="2004" y="1333"/>
                    <a:pt x="2005" y="1327"/>
                  </a:cubicBezTo>
                  <a:cubicBezTo>
                    <a:pt x="2005" y="1322"/>
                    <a:pt x="2000" y="1316"/>
                    <a:pt x="1999" y="1315"/>
                  </a:cubicBezTo>
                  <a:cubicBezTo>
                    <a:pt x="1998" y="1314"/>
                    <a:pt x="1998" y="1314"/>
                    <a:pt x="1998" y="1314"/>
                  </a:cubicBezTo>
                  <a:cubicBezTo>
                    <a:pt x="1913" y="1314"/>
                    <a:pt x="1913" y="1314"/>
                    <a:pt x="1913" y="1314"/>
                  </a:cubicBezTo>
                  <a:cubicBezTo>
                    <a:pt x="1662" y="1070"/>
                    <a:pt x="1662" y="1070"/>
                    <a:pt x="1662" y="1070"/>
                  </a:cubicBezTo>
                  <a:cubicBezTo>
                    <a:pt x="1655" y="755"/>
                    <a:pt x="1655" y="755"/>
                    <a:pt x="1655" y="755"/>
                  </a:cubicBezTo>
                  <a:cubicBezTo>
                    <a:pt x="1671" y="757"/>
                    <a:pt x="1687" y="758"/>
                    <a:pt x="1702" y="758"/>
                  </a:cubicBezTo>
                  <a:close/>
                  <a:moveTo>
                    <a:pt x="1896" y="1552"/>
                  </a:moveTo>
                  <a:cubicBezTo>
                    <a:pt x="1853" y="1616"/>
                    <a:pt x="1853" y="1616"/>
                    <a:pt x="1853" y="1616"/>
                  </a:cubicBezTo>
                  <a:cubicBezTo>
                    <a:pt x="1804" y="1947"/>
                    <a:pt x="1804" y="1947"/>
                    <a:pt x="1804" y="1947"/>
                  </a:cubicBezTo>
                  <a:cubicBezTo>
                    <a:pt x="1847" y="2003"/>
                    <a:pt x="1847" y="2003"/>
                    <a:pt x="1847" y="2003"/>
                  </a:cubicBezTo>
                  <a:cubicBezTo>
                    <a:pt x="1747" y="2044"/>
                    <a:pt x="1747" y="2044"/>
                    <a:pt x="1747" y="2044"/>
                  </a:cubicBezTo>
                  <a:cubicBezTo>
                    <a:pt x="1685" y="2026"/>
                    <a:pt x="1685" y="2026"/>
                    <a:pt x="1685" y="2026"/>
                  </a:cubicBezTo>
                  <a:cubicBezTo>
                    <a:pt x="1650" y="2020"/>
                    <a:pt x="1650" y="2020"/>
                    <a:pt x="1650" y="2020"/>
                  </a:cubicBezTo>
                  <a:cubicBezTo>
                    <a:pt x="1640" y="2016"/>
                    <a:pt x="1640" y="2016"/>
                    <a:pt x="1640" y="2016"/>
                  </a:cubicBezTo>
                  <a:cubicBezTo>
                    <a:pt x="1635" y="2021"/>
                    <a:pt x="1635" y="2021"/>
                    <a:pt x="1635" y="2021"/>
                  </a:cubicBezTo>
                  <a:cubicBezTo>
                    <a:pt x="1622" y="2017"/>
                    <a:pt x="1622" y="2017"/>
                    <a:pt x="1622" y="2017"/>
                  </a:cubicBezTo>
                  <a:cubicBezTo>
                    <a:pt x="1525" y="2019"/>
                    <a:pt x="1525" y="2019"/>
                    <a:pt x="1525" y="2019"/>
                  </a:cubicBezTo>
                  <a:cubicBezTo>
                    <a:pt x="1521" y="2022"/>
                    <a:pt x="1521" y="2022"/>
                    <a:pt x="1521" y="2022"/>
                  </a:cubicBezTo>
                  <a:cubicBezTo>
                    <a:pt x="1303" y="1969"/>
                    <a:pt x="1303" y="1969"/>
                    <a:pt x="1303" y="1969"/>
                  </a:cubicBezTo>
                  <a:cubicBezTo>
                    <a:pt x="1300" y="1965"/>
                    <a:pt x="1300" y="1965"/>
                    <a:pt x="1300" y="1965"/>
                  </a:cubicBezTo>
                  <a:cubicBezTo>
                    <a:pt x="1374" y="1878"/>
                    <a:pt x="1374" y="1878"/>
                    <a:pt x="1374" y="1878"/>
                  </a:cubicBezTo>
                  <a:cubicBezTo>
                    <a:pt x="1411" y="1867"/>
                    <a:pt x="1411" y="1867"/>
                    <a:pt x="1411" y="1867"/>
                  </a:cubicBezTo>
                  <a:cubicBezTo>
                    <a:pt x="1529" y="1827"/>
                    <a:pt x="1529" y="1827"/>
                    <a:pt x="1529" y="1827"/>
                  </a:cubicBezTo>
                  <a:cubicBezTo>
                    <a:pt x="1553" y="1775"/>
                    <a:pt x="1553" y="1775"/>
                    <a:pt x="1553" y="1775"/>
                  </a:cubicBezTo>
                  <a:cubicBezTo>
                    <a:pt x="1454" y="1600"/>
                    <a:pt x="1454" y="1600"/>
                    <a:pt x="1454" y="1600"/>
                  </a:cubicBezTo>
                  <a:cubicBezTo>
                    <a:pt x="1456" y="1572"/>
                    <a:pt x="1456" y="1572"/>
                    <a:pt x="1456" y="1572"/>
                  </a:cubicBezTo>
                  <a:cubicBezTo>
                    <a:pt x="1470" y="1562"/>
                    <a:pt x="1470" y="1562"/>
                    <a:pt x="1470" y="1562"/>
                  </a:cubicBezTo>
                  <a:cubicBezTo>
                    <a:pt x="1470" y="1554"/>
                    <a:pt x="1470" y="1554"/>
                    <a:pt x="1470" y="1554"/>
                  </a:cubicBezTo>
                  <a:cubicBezTo>
                    <a:pt x="1476" y="1547"/>
                    <a:pt x="1476" y="1547"/>
                    <a:pt x="1476" y="1547"/>
                  </a:cubicBezTo>
                  <a:cubicBezTo>
                    <a:pt x="1661" y="1075"/>
                    <a:pt x="1661" y="1075"/>
                    <a:pt x="1661" y="1075"/>
                  </a:cubicBezTo>
                  <a:cubicBezTo>
                    <a:pt x="1910" y="1318"/>
                    <a:pt x="1910" y="1318"/>
                    <a:pt x="1910" y="1318"/>
                  </a:cubicBezTo>
                  <a:cubicBezTo>
                    <a:pt x="1911" y="1318"/>
                    <a:pt x="1911" y="1318"/>
                    <a:pt x="1911" y="1318"/>
                  </a:cubicBezTo>
                  <a:cubicBezTo>
                    <a:pt x="1996" y="1318"/>
                    <a:pt x="1996" y="1318"/>
                    <a:pt x="1996" y="1318"/>
                  </a:cubicBezTo>
                  <a:cubicBezTo>
                    <a:pt x="1998" y="1320"/>
                    <a:pt x="2001" y="1324"/>
                    <a:pt x="2000" y="1327"/>
                  </a:cubicBezTo>
                  <a:cubicBezTo>
                    <a:pt x="2000" y="1330"/>
                    <a:pt x="1996" y="1335"/>
                    <a:pt x="1993" y="1338"/>
                  </a:cubicBezTo>
                  <a:cubicBezTo>
                    <a:pt x="1969" y="1348"/>
                    <a:pt x="1969" y="1348"/>
                    <a:pt x="1969" y="1348"/>
                  </a:cubicBezTo>
                  <a:cubicBezTo>
                    <a:pt x="1954" y="1460"/>
                    <a:pt x="1954" y="1460"/>
                    <a:pt x="1954" y="1460"/>
                  </a:cubicBezTo>
                  <a:lnTo>
                    <a:pt x="1896" y="1552"/>
                  </a:lnTo>
                  <a:close/>
                  <a:moveTo>
                    <a:pt x="2159" y="2491"/>
                  </a:moveTo>
                  <a:cubicBezTo>
                    <a:pt x="2129" y="2481"/>
                    <a:pt x="2129" y="2481"/>
                    <a:pt x="2129" y="2481"/>
                  </a:cubicBezTo>
                  <a:cubicBezTo>
                    <a:pt x="2122" y="2483"/>
                    <a:pt x="2122" y="2483"/>
                    <a:pt x="2122" y="2483"/>
                  </a:cubicBezTo>
                  <a:cubicBezTo>
                    <a:pt x="2108" y="2477"/>
                    <a:pt x="2108" y="2477"/>
                    <a:pt x="2108" y="2477"/>
                  </a:cubicBezTo>
                  <a:cubicBezTo>
                    <a:pt x="2114" y="2459"/>
                    <a:pt x="2114" y="2459"/>
                    <a:pt x="2114" y="2459"/>
                  </a:cubicBezTo>
                  <a:cubicBezTo>
                    <a:pt x="2067" y="2443"/>
                    <a:pt x="2067" y="2443"/>
                    <a:pt x="2067" y="2443"/>
                  </a:cubicBezTo>
                  <a:cubicBezTo>
                    <a:pt x="2061" y="2459"/>
                    <a:pt x="2061" y="2459"/>
                    <a:pt x="2061" y="2459"/>
                  </a:cubicBezTo>
                  <a:cubicBezTo>
                    <a:pt x="2031" y="2450"/>
                    <a:pt x="2031" y="2450"/>
                    <a:pt x="2031" y="2450"/>
                  </a:cubicBezTo>
                  <a:cubicBezTo>
                    <a:pt x="2009" y="2512"/>
                    <a:pt x="2009" y="2512"/>
                    <a:pt x="2009" y="2512"/>
                  </a:cubicBezTo>
                  <a:cubicBezTo>
                    <a:pt x="2012" y="2516"/>
                    <a:pt x="2012" y="2516"/>
                    <a:pt x="2012" y="2516"/>
                  </a:cubicBezTo>
                  <a:cubicBezTo>
                    <a:pt x="1986" y="2597"/>
                    <a:pt x="1986" y="2597"/>
                    <a:pt x="1986" y="2597"/>
                  </a:cubicBezTo>
                  <a:cubicBezTo>
                    <a:pt x="1971" y="2599"/>
                    <a:pt x="1971" y="2599"/>
                    <a:pt x="1971" y="2599"/>
                  </a:cubicBezTo>
                  <a:cubicBezTo>
                    <a:pt x="1952" y="2683"/>
                    <a:pt x="1952" y="2683"/>
                    <a:pt x="1952" y="2683"/>
                  </a:cubicBezTo>
                  <a:cubicBezTo>
                    <a:pt x="1955" y="2689"/>
                    <a:pt x="1955" y="2689"/>
                    <a:pt x="1955" y="2689"/>
                  </a:cubicBezTo>
                  <a:cubicBezTo>
                    <a:pt x="1962" y="2686"/>
                    <a:pt x="1962" y="2686"/>
                    <a:pt x="1962" y="2686"/>
                  </a:cubicBezTo>
                  <a:cubicBezTo>
                    <a:pt x="1968" y="2699"/>
                    <a:pt x="1968" y="2699"/>
                    <a:pt x="1968" y="2699"/>
                  </a:cubicBezTo>
                  <a:cubicBezTo>
                    <a:pt x="1985" y="2692"/>
                    <a:pt x="1985" y="2692"/>
                    <a:pt x="1985" y="2692"/>
                  </a:cubicBezTo>
                  <a:cubicBezTo>
                    <a:pt x="1996" y="2713"/>
                    <a:pt x="1996" y="2713"/>
                    <a:pt x="1996" y="2713"/>
                  </a:cubicBezTo>
                  <a:cubicBezTo>
                    <a:pt x="1976" y="2715"/>
                    <a:pt x="1976" y="2715"/>
                    <a:pt x="1976" y="2715"/>
                  </a:cubicBezTo>
                  <a:cubicBezTo>
                    <a:pt x="1959" y="2712"/>
                    <a:pt x="1959" y="2712"/>
                    <a:pt x="1959" y="2712"/>
                  </a:cubicBezTo>
                  <a:cubicBezTo>
                    <a:pt x="1948" y="2702"/>
                    <a:pt x="1948" y="2702"/>
                    <a:pt x="1948" y="2702"/>
                  </a:cubicBezTo>
                  <a:cubicBezTo>
                    <a:pt x="1943" y="2717"/>
                    <a:pt x="1943" y="2717"/>
                    <a:pt x="1943" y="2717"/>
                  </a:cubicBezTo>
                  <a:cubicBezTo>
                    <a:pt x="1934" y="2757"/>
                    <a:pt x="1934" y="2757"/>
                    <a:pt x="1934" y="2757"/>
                  </a:cubicBezTo>
                  <a:cubicBezTo>
                    <a:pt x="1930" y="2785"/>
                    <a:pt x="1930" y="2785"/>
                    <a:pt x="1930" y="2785"/>
                  </a:cubicBezTo>
                  <a:cubicBezTo>
                    <a:pt x="1925" y="2793"/>
                    <a:pt x="1925" y="2793"/>
                    <a:pt x="1925" y="2793"/>
                  </a:cubicBezTo>
                  <a:cubicBezTo>
                    <a:pt x="1921" y="2799"/>
                    <a:pt x="1921" y="2799"/>
                    <a:pt x="1921" y="2799"/>
                  </a:cubicBezTo>
                  <a:cubicBezTo>
                    <a:pt x="1903" y="2796"/>
                    <a:pt x="1903" y="2796"/>
                    <a:pt x="1903" y="2796"/>
                  </a:cubicBezTo>
                  <a:cubicBezTo>
                    <a:pt x="1824" y="2628"/>
                    <a:pt x="1824" y="2628"/>
                    <a:pt x="1824" y="2628"/>
                  </a:cubicBezTo>
                  <a:cubicBezTo>
                    <a:pt x="1815" y="2631"/>
                    <a:pt x="1815" y="2631"/>
                    <a:pt x="1815" y="2631"/>
                  </a:cubicBezTo>
                  <a:cubicBezTo>
                    <a:pt x="1812" y="2628"/>
                    <a:pt x="1812" y="2628"/>
                    <a:pt x="1812" y="2628"/>
                  </a:cubicBezTo>
                  <a:cubicBezTo>
                    <a:pt x="1817" y="2622"/>
                    <a:pt x="1817" y="2622"/>
                    <a:pt x="1817" y="2622"/>
                  </a:cubicBezTo>
                  <a:cubicBezTo>
                    <a:pt x="1817" y="2616"/>
                    <a:pt x="1817" y="2616"/>
                    <a:pt x="1817" y="2616"/>
                  </a:cubicBezTo>
                  <a:cubicBezTo>
                    <a:pt x="1838" y="2596"/>
                    <a:pt x="1838" y="2596"/>
                    <a:pt x="1838" y="2596"/>
                  </a:cubicBezTo>
                  <a:cubicBezTo>
                    <a:pt x="1804" y="2539"/>
                    <a:pt x="1804" y="2539"/>
                    <a:pt x="1804" y="2539"/>
                  </a:cubicBezTo>
                  <a:cubicBezTo>
                    <a:pt x="1811" y="2530"/>
                    <a:pt x="1811" y="2530"/>
                    <a:pt x="1811" y="2530"/>
                  </a:cubicBezTo>
                  <a:cubicBezTo>
                    <a:pt x="1803" y="2521"/>
                    <a:pt x="1803" y="2521"/>
                    <a:pt x="1803" y="2521"/>
                  </a:cubicBezTo>
                  <a:cubicBezTo>
                    <a:pt x="1801" y="2512"/>
                    <a:pt x="1801" y="2512"/>
                    <a:pt x="1801" y="2512"/>
                  </a:cubicBezTo>
                  <a:cubicBezTo>
                    <a:pt x="1772" y="2506"/>
                    <a:pt x="1772" y="2506"/>
                    <a:pt x="1772" y="2506"/>
                  </a:cubicBezTo>
                  <a:cubicBezTo>
                    <a:pt x="1741" y="2473"/>
                    <a:pt x="1741" y="2473"/>
                    <a:pt x="1741" y="2473"/>
                  </a:cubicBezTo>
                  <a:cubicBezTo>
                    <a:pt x="1723" y="2445"/>
                    <a:pt x="1723" y="2445"/>
                    <a:pt x="1723" y="2445"/>
                  </a:cubicBezTo>
                  <a:cubicBezTo>
                    <a:pt x="1719" y="2428"/>
                    <a:pt x="1719" y="2428"/>
                    <a:pt x="1719" y="2428"/>
                  </a:cubicBezTo>
                  <a:cubicBezTo>
                    <a:pt x="1712" y="2403"/>
                    <a:pt x="1712" y="2403"/>
                    <a:pt x="1712" y="2403"/>
                  </a:cubicBezTo>
                  <a:cubicBezTo>
                    <a:pt x="1689" y="2398"/>
                    <a:pt x="1689" y="2398"/>
                    <a:pt x="1689" y="2398"/>
                  </a:cubicBezTo>
                  <a:cubicBezTo>
                    <a:pt x="1688" y="2393"/>
                    <a:pt x="1688" y="2393"/>
                    <a:pt x="1688" y="2393"/>
                  </a:cubicBezTo>
                  <a:cubicBezTo>
                    <a:pt x="1691" y="2388"/>
                    <a:pt x="1691" y="2388"/>
                    <a:pt x="1691" y="2388"/>
                  </a:cubicBezTo>
                  <a:cubicBezTo>
                    <a:pt x="1687" y="2381"/>
                    <a:pt x="1687" y="2381"/>
                    <a:pt x="1687" y="2381"/>
                  </a:cubicBezTo>
                  <a:cubicBezTo>
                    <a:pt x="1674" y="2373"/>
                    <a:pt x="1674" y="2373"/>
                    <a:pt x="1674" y="2373"/>
                  </a:cubicBezTo>
                  <a:cubicBezTo>
                    <a:pt x="1674" y="2366"/>
                    <a:pt x="1674" y="2366"/>
                    <a:pt x="1674" y="2366"/>
                  </a:cubicBezTo>
                  <a:cubicBezTo>
                    <a:pt x="1667" y="2364"/>
                    <a:pt x="1667" y="2364"/>
                    <a:pt x="1667" y="2364"/>
                  </a:cubicBezTo>
                  <a:cubicBezTo>
                    <a:pt x="1670" y="2356"/>
                    <a:pt x="1670" y="2356"/>
                    <a:pt x="1670" y="2356"/>
                  </a:cubicBezTo>
                  <a:cubicBezTo>
                    <a:pt x="1673" y="2337"/>
                    <a:pt x="1673" y="2337"/>
                    <a:pt x="1673" y="2337"/>
                  </a:cubicBezTo>
                  <a:cubicBezTo>
                    <a:pt x="1665" y="2330"/>
                    <a:pt x="1665" y="2330"/>
                    <a:pt x="1665" y="2330"/>
                  </a:cubicBezTo>
                  <a:cubicBezTo>
                    <a:pt x="1654" y="2327"/>
                    <a:pt x="1654" y="2327"/>
                    <a:pt x="1654" y="2327"/>
                  </a:cubicBezTo>
                  <a:cubicBezTo>
                    <a:pt x="1640" y="2315"/>
                    <a:pt x="1640" y="2315"/>
                    <a:pt x="1640" y="2315"/>
                  </a:cubicBezTo>
                  <a:cubicBezTo>
                    <a:pt x="1640" y="2307"/>
                    <a:pt x="1640" y="2307"/>
                    <a:pt x="1640" y="2307"/>
                  </a:cubicBezTo>
                  <a:cubicBezTo>
                    <a:pt x="1631" y="2302"/>
                    <a:pt x="1631" y="2302"/>
                    <a:pt x="1631" y="2302"/>
                  </a:cubicBezTo>
                  <a:cubicBezTo>
                    <a:pt x="1619" y="2299"/>
                    <a:pt x="1619" y="2299"/>
                    <a:pt x="1619" y="2299"/>
                  </a:cubicBezTo>
                  <a:cubicBezTo>
                    <a:pt x="1625" y="2285"/>
                    <a:pt x="1625" y="2285"/>
                    <a:pt x="1625" y="2285"/>
                  </a:cubicBezTo>
                  <a:cubicBezTo>
                    <a:pt x="1602" y="2276"/>
                    <a:pt x="1602" y="2276"/>
                    <a:pt x="1602" y="2276"/>
                  </a:cubicBezTo>
                  <a:cubicBezTo>
                    <a:pt x="1619" y="2218"/>
                    <a:pt x="1619" y="2218"/>
                    <a:pt x="1619" y="2218"/>
                  </a:cubicBezTo>
                  <a:cubicBezTo>
                    <a:pt x="1578" y="2133"/>
                    <a:pt x="1578" y="2133"/>
                    <a:pt x="1578" y="2133"/>
                  </a:cubicBezTo>
                  <a:cubicBezTo>
                    <a:pt x="1610" y="2118"/>
                    <a:pt x="1610" y="2118"/>
                    <a:pt x="1610" y="2118"/>
                  </a:cubicBezTo>
                  <a:cubicBezTo>
                    <a:pt x="1617" y="2121"/>
                    <a:pt x="1617" y="2121"/>
                    <a:pt x="1617" y="2121"/>
                  </a:cubicBezTo>
                  <a:cubicBezTo>
                    <a:pt x="1623" y="2117"/>
                    <a:pt x="1623" y="2117"/>
                    <a:pt x="1623" y="2117"/>
                  </a:cubicBezTo>
                  <a:cubicBezTo>
                    <a:pt x="1626" y="2103"/>
                    <a:pt x="1626" y="2103"/>
                    <a:pt x="1626" y="2103"/>
                  </a:cubicBezTo>
                  <a:cubicBezTo>
                    <a:pt x="1651" y="2024"/>
                    <a:pt x="1651" y="2024"/>
                    <a:pt x="1651" y="2024"/>
                  </a:cubicBezTo>
                  <a:cubicBezTo>
                    <a:pt x="1684" y="2030"/>
                    <a:pt x="1684" y="2030"/>
                    <a:pt x="1684" y="2030"/>
                  </a:cubicBezTo>
                  <a:cubicBezTo>
                    <a:pt x="1747" y="2049"/>
                    <a:pt x="1747" y="2049"/>
                    <a:pt x="1747" y="2049"/>
                  </a:cubicBezTo>
                  <a:cubicBezTo>
                    <a:pt x="1851" y="2006"/>
                    <a:pt x="1851" y="2006"/>
                    <a:pt x="1851" y="2006"/>
                  </a:cubicBezTo>
                  <a:cubicBezTo>
                    <a:pt x="1851" y="2006"/>
                    <a:pt x="1851" y="2006"/>
                    <a:pt x="1851" y="2006"/>
                  </a:cubicBezTo>
                  <a:cubicBezTo>
                    <a:pt x="1944" y="1969"/>
                    <a:pt x="1944" y="1969"/>
                    <a:pt x="1944" y="1969"/>
                  </a:cubicBezTo>
                  <a:cubicBezTo>
                    <a:pt x="1981" y="1979"/>
                    <a:pt x="1981" y="1979"/>
                    <a:pt x="1981" y="1979"/>
                  </a:cubicBezTo>
                  <a:cubicBezTo>
                    <a:pt x="1988" y="1986"/>
                    <a:pt x="1988" y="1986"/>
                    <a:pt x="1988" y="1986"/>
                  </a:cubicBezTo>
                  <a:cubicBezTo>
                    <a:pt x="2092" y="2023"/>
                    <a:pt x="2092" y="2023"/>
                    <a:pt x="2092" y="2023"/>
                  </a:cubicBezTo>
                  <a:cubicBezTo>
                    <a:pt x="2099" y="2010"/>
                    <a:pt x="2099" y="2010"/>
                    <a:pt x="2099" y="2010"/>
                  </a:cubicBezTo>
                  <a:cubicBezTo>
                    <a:pt x="2124" y="2021"/>
                    <a:pt x="2124" y="2021"/>
                    <a:pt x="2124" y="2021"/>
                  </a:cubicBezTo>
                  <a:cubicBezTo>
                    <a:pt x="2110" y="2070"/>
                    <a:pt x="2110" y="2070"/>
                    <a:pt x="2110" y="2070"/>
                  </a:cubicBezTo>
                  <a:cubicBezTo>
                    <a:pt x="2110" y="2077"/>
                    <a:pt x="2110" y="2077"/>
                    <a:pt x="2110" y="2077"/>
                  </a:cubicBezTo>
                  <a:cubicBezTo>
                    <a:pt x="2070" y="2193"/>
                    <a:pt x="2070" y="2193"/>
                    <a:pt x="2070" y="2193"/>
                  </a:cubicBezTo>
                  <a:cubicBezTo>
                    <a:pt x="2084" y="2201"/>
                    <a:pt x="2084" y="2201"/>
                    <a:pt x="2084" y="2201"/>
                  </a:cubicBezTo>
                  <a:cubicBezTo>
                    <a:pt x="2070" y="2245"/>
                    <a:pt x="2070" y="2245"/>
                    <a:pt x="2070" y="2245"/>
                  </a:cubicBezTo>
                  <a:cubicBezTo>
                    <a:pt x="2078" y="2250"/>
                    <a:pt x="2078" y="2250"/>
                    <a:pt x="2078" y="2250"/>
                  </a:cubicBezTo>
                  <a:cubicBezTo>
                    <a:pt x="2056" y="2321"/>
                    <a:pt x="2056" y="2321"/>
                    <a:pt x="2056" y="2321"/>
                  </a:cubicBezTo>
                  <a:cubicBezTo>
                    <a:pt x="2070" y="2328"/>
                    <a:pt x="2070" y="2328"/>
                    <a:pt x="2070" y="2328"/>
                  </a:cubicBezTo>
                  <a:cubicBezTo>
                    <a:pt x="2103" y="2340"/>
                    <a:pt x="2103" y="2340"/>
                    <a:pt x="2103" y="2340"/>
                  </a:cubicBezTo>
                  <a:cubicBezTo>
                    <a:pt x="2108" y="2333"/>
                    <a:pt x="2108" y="2333"/>
                    <a:pt x="2108" y="2333"/>
                  </a:cubicBezTo>
                  <a:cubicBezTo>
                    <a:pt x="2150" y="2348"/>
                    <a:pt x="2150" y="2348"/>
                    <a:pt x="2150" y="2348"/>
                  </a:cubicBezTo>
                  <a:cubicBezTo>
                    <a:pt x="2132" y="2417"/>
                    <a:pt x="2132" y="2417"/>
                    <a:pt x="2132" y="2417"/>
                  </a:cubicBezTo>
                  <a:cubicBezTo>
                    <a:pt x="2142" y="2422"/>
                    <a:pt x="2142" y="2422"/>
                    <a:pt x="2142" y="2422"/>
                  </a:cubicBezTo>
                  <a:cubicBezTo>
                    <a:pt x="2134" y="2452"/>
                    <a:pt x="2134" y="2452"/>
                    <a:pt x="2134" y="2452"/>
                  </a:cubicBezTo>
                  <a:cubicBezTo>
                    <a:pt x="2186" y="2471"/>
                    <a:pt x="2186" y="2471"/>
                    <a:pt x="2186" y="2471"/>
                  </a:cubicBezTo>
                  <a:cubicBezTo>
                    <a:pt x="2189" y="2492"/>
                    <a:pt x="2189" y="2492"/>
                    <a:pt x="2189" y="2492"/>
                  </a:cubicBezTo>
                  <a:cubicBezTo>
                    <a:pt x="2247" y="2517"/>
                    <a:pt x="2247" y="2517"/>
                    <a:pt x="2247" y="2517"/>
                  </a:cubicBezTo>
                  <a:cubicBezTo>
                    <a:pt x="2246" y="2525"/>
                    <a:pt x="2246" y="2525"/>
                    <a:pt x="2246" y="2525"/>
                  </a:cubicBezTo>
                  <a:cubicBezTo>
                    <a:pt x="2234" y="2525"/>
                    <a:pt x="2234" y="2525"/>
                    <a:pt x="2234" y="2525"/>
                  </a:cubicBezTo>
                  <a:cubicBezTo>
                    <a:pt x="2228" y="2547"/>
                    <a:pt x="2228" y="2547"/>
                    <a:pt x="2228" y="2547"/>
                  </a:cubicBezTo>
                  <a:cubicBezTo>
                    <a:pt x="2159" y="2524"/>
                    <a:pt x="2159" y="2524"/>
                    <a:pt x="2159" y="2524"/>
                  </a:cubicBezTo>
                  <a:cubicBezTo>
                    <a:pt x="2159" y="2518"/>
                    <a:pt x="2159" y="2518"/>
                    <a:pt x="2159" y="2518"/>
                  </a:cubicBezTo>
                  <a:cubicBezTo>
                    <a:pt x="2162" y="2511"/>
                    <a:pt x="2162" y="2511"/>
                    <a:pt x="2162" y="2511"/>
                  </a:cubicBezTo>
                  <a:lnTo>
                    <a:pt x="2159" y="2491"/>
                  </a:lnTo>
                  <a:close/>
                  <a:moveTo>
                    <a:pt x="1604" y="2728"/>
                  </a:moveTo>
                  <a:cubicBezTo>
                    <a:pt x="1545" y="2714"/>
                    <a:pt x="1545" y="2714"/>
                    <a:pt x="1545" y="2714"/>
                  </a:cubicBezTo>
                  <a:cubicBezTo>
                    <a:pt x="1556" y="2649"/>
                    <a:pt x="1556" y="2649"/>
                    <a:pt x="1556" y="2649"/>
                  </a:cubicBezTo>
                  <a:cubicBezTo>
                    <a:pt x="1494" y="2634"/>
                    <a:pt x="1494" y="2634"/>
                    <a:pt x="1494" y="2634"/>
                  </a:cubicBezTo>
                  <a:cubicBezTo>
                    <a:pt x="1507" y="2566"/>
                    <a:pt x="1507" y="2566"/>
                    <a:pt x="1507" y="2566"/>
                  </a:cubicBezTo>
                  <a:cubicBezTo>
                    <a:pt x="1461" y="2551"/>
                    <a:pt x="1461" y="2551"/>
                    <a:pt x="1461" y="2551"/>
                  </a:cubicBezTo>
                  <a:cubicBezTo>
                    <a:pt x="1470" y="2493"/>
                    <a:pt x="1470" y="2493"/>
                    <a:pt x="1470" y="2493"/>
                  </a:cubicBezTo>
                  <a:cubicBezTo>
                    <a:pt x="1414" y="2478"/>
                    <a:pt x="1414" y="2478"/>
                    <a:pt x="1414" y="2478"/>
                  </a:cubicBezTo>
                  <a:cubicBezTo>
                    <a:pt x="1422" y="2425"/>
                    <a:pt x="1422" y="2425"/>
                    <a:pt x="1422" y="2425"/>
                  </a:cubicBezTo>
                  <a:cubicBezTo>
                    <a:pt x="1405" y="2420"/>
                    <a:pt x="1405" y="2420"/>
                    <a:pt x="1405" y="2420"/>
                  </a:cubicBezTo>
                  <a:cubicBezTo>
                    <a:pt x="1418" y="2355"/>
                    <a:pt x="1418" y="2355"/>
                    <a:pt x="1418" y="2355"/>
                  </a:cubicBezTo>
                  <a:cubicBezTo>
                    <a:pt x="1408" y="2349"/>
                    <a:pt x="1408" y="2349"/>
                    <a:pt x="1408" y="2349"/>
                  </a:cubicBezTo>
                  <a:cubicBezTo>
                    <a:pt x="1431" y="2225"/>
                    <a:pt x="1431" y="2225"/>
                    <a:pt x="1431" y="2225"/>
                  </a:cubicBezTo>
                  <a:cubicBezTo>
                    <a:pt x="1372" y="2208"/>
                    <a:pt x="1372" y="2208"/>
                    <a:pt x="1372" y="2208"/>
                  </a:cubicBezTo>
                  <a:cubicBezTo>
                    <a:pt x="1383" y="2148"/>
                    <a:pt x="1383" y="2148"/>
                    <a:pt x="1383" y="2148"/>
                  </a:cubicBezTo>
                  <a:cubicBezTo>
                    <a:pt x="1322" y="2133"/>
                    <a:pt x="1322" y="2133"/>
                    <a:pt x="1322" y="2133"/>
                  </a:cubicBezTo>
                  <a:cubicBezTo>
                    <a:pt x="1334" y="2071"/>
                    <a:pt x="1334" y="2071"/>
                    <a:pt x="1334" y="2071"/>
                  </a:cubicBezTo>
                  <a:cubicBezTo>
                    <a:pt x="1284" y="2058"/>
                    <a:pt x="1284" y="2058"/>
                    <a:pt x="1284" y="2058"/>
                  </a:cubicBezTo>
                  <a:cubicBezTo>
                    <a:pt x="1304" y="1973"/>
                    <a:pt x="1304" y="1973"/>
                    <a:pt x="1304" y="1973"/>
                  </a:cubicBezTo>
                  <a:cubicBezTo>
                    <a:pt x="1522" y="2027"/>
                    <a:pt x="1522" y="2027"/>
                    <a:pt x="1522" y="2027"/>
                  </a:cubicBezTo>
                  <a:cubicBezTo>
                    <a:pt x="1527" y="2023"/>
                    <a:pt x="1527" y="2023"/>
                    <a:pt x="1527" y="2023"/>
                  </a:cubicBezTo>
                  <a:cubicBezTo>
                    <a:pt x="1622" y="2021"/>
                    <a:pt x="1622" y="2021"/>
                    <a:pt x="1622" y="2021"/>
                  </a:cubicBezTo>
                  <a:cubicBezTo>
                    <a:pt x="1636" y="2025"/>
                    <a:pt x="1636" y="2025"/>
                    <a:pt x="1636" y="2025"/>
                  </a:cubicBezTo>
                  <a:cubicBezTo>
                    <a:pt x="1641" y="2021"/>
                    <a:pt x="1641" y="2021"/>
                    <a:pt x="1641" y="2021"/>
                  </a:cubicBezTo>
                  <a:cubicBezTo>
                    <a:pt x="1646" y="2023"/>
                    <a:pt x="1646" y="2023"/>
                    <a:pt x="1646" y="2023"/>
                  </a:cubicBezTo>
                  <a:cubicBezTo>
                    <a:pt x="1622" y="2101"/>
                    <a:pt x="1622" y="2101"/>
                    <a:pt x="1622" y="2101"/>
                  </a:cubicBezTo>
                  <a:cubicBezTo>
                    <a:pt x="1619" y="2114"/>
                    <a:pt x="1619" y="2114"/>
                    <a:pt x="1619" y="2114"/>
                  </a:cubicBezTo>
                  <a:cubicBezTo>
                    <a:pt x="1617" y="2116"/>
                    <a:pt x="1617" y="2116"/>
                    <a:pt x="1617" y="2116"/>
                  </a:cubicBezTo>
                  <a:cubicBezTo>
                    <a:pt x="1610" y="2113"/>
                    <a:pt x="1610" y="2113"/>
                    <a:pt x="1610" y="2113"/>
                  </a:cubicBezTo>
                  <a:cubicBezTo>
                    <a:pt x="1573" y="2131"/>
                    <a:pt x="1573" y="2131"/>
                    <a:pt x="1573" y="2131"/>
                  </a:cubicBezTo>
                  <a:cubicBezTo>
                    <a:pt x="1615" y="2218"/>
                    <a:pt x="1615" y="2218"/>
                    <a:pt x="1615" y="2218"/>
                  </a:cubicBezTo>
                  <a:cubicBezTo>
                    <a:pt x="1596" y="2278"/>
                    <a:pt x="1596" y="2278"/>
                    <a:pt x="1596" y="2278"/>
                  </a:cubicBezTo>
                  <a:cubicBezTo>
                    <a:pt x="1619" y="2287"/>
                    <a:pt x="1619" y="2287"/>
                    <a:pt x="1619" y="2287"/>
                  </a:cubicBezTo>
                  <a:cubicBezTo>
                    <a:pt x="1613" y="2302"/>
                    <a:pt x="1613" y="2302"/>
                    <a:pt x="1613" y="2302"/>
                  </a:cubicBezTo>
                  <a:cubicBezTo>
                    <a:pt x="1630" y="2306"/>
                    <a:pt x="1630" y="2306"/>
                    <a:pt x="1630" y="2306"/>
                  </a:cubicBezTo>
                  <a:cubicBezTo>
                    <a:pt x="1636" y="2309"/>
                    <a:pt x="1636" y="2309"/>
                    <a:pt x="1636" y="2309"/>
                  </a:cubicBezTo>
                  <a:cubicBezTo>
                    <a:pt x="1636" y="2317"/>
                    <a:pt x="1636" y="2317"/>
                    <a:pt x="1636" y="2317"/>
                  </a:cubicBezTo>
                  <a:cubicBezTo>
                    <a:pt x="1652" y="2332"/>
                    <a:pt x="1652" y="2332"/>
                    <a:pt x="1652" y="2332"/>
                  </a:cubicBezTo>
                  <a:cubicBezTo>
                    <a:pt x="1663" y="2334"/>
                    <a:pt x="1663" y="2334"/>
                    <a:pt x="1663" y="2334"/>
                  </a:cubicBezTo>
                  <a:cubicBezTo>
                    <a:pt x="1668" y="2339"/>
                    <a:pt x="1668" y="2339"/>
                    <a:pt x="1668" y="2339"/>
                  </a:cubicBezTo>
                  <a:cubicBezTo>
                    <a:pt x="1666" y="2355"/>
                    <a:pt x="1666" y="2355"/>
                    <a:pt x="1666" y="2355"/>
                  </a:cubicBezTo>
                  <a:cubicBezTo>
                    <a:pt x="1661" y="2367"/>
                    <a:pt x="1661" y="2367"/>
                    <a:pt x="1661" y="2367"/>
                  </a:cubicBezTo>
                  <a:cubicBezTo>
                    <a:pt x="1670" y="2369"/>
                    <a:pt x="1670" y="2369"/>
                    <a:pt x="1670" y="2369"/>
                  </a:cubicBezTo>
                  <a:cubicBezTo>
                    <a:pt x="1670" y="2375"/>
                    <a:pt x="1670" y="2375"/>
                    <a:pt x="1670" y="2375"/>
                  </a:cubicBezTo>
                  <a:cubicBezTo>
                    <a:pt x="1684" y="2384"/>
                    <a:pt x="1684" y="2384"/>
                    <a:pt x="1684" y="2384"/>
                  </a:cubicBezTo>
                  <a:cubicBezTo>
                    <a:pt x="1686" y="2388"/>
                    <a:pt x="1686" y="2388"/>
                    <a:pt x="1686" y="2388"/>
                  </a:cubicBezTo>
                  <a:cubicBezTo>
                    <a:pt x="1683" y="2393"/>
                    <a:pt x="1683" y="2393"/>
                    <a:pt x="1683" y="2393"/>
                  </a:cubicBezTo>
                  <a:cubicBezTo>
                    <a:pt x="1686" y="2402"/>
                    <a:pt x="1686" y="2402"/>
                    <a:pt x="1686" y="2402"/>
                  </a:cubicBezTo>
                  <a:cubicBezTo>
                    <a:pt x="1708" y="2406"/>
                    <a:pt x="1708" y="2406"/>
                    <a:pt x="1708" y="2406"/>
                  </a:cubicBezTo>
                  <a:cubicBezTo>
                    <a:pt x="1715" y="2429"/>
                    <a:pt x="1715" y="2429"/>
                    <a:pt x="1715" y="2429"/>
                  </a:cubicBezTo>
                  <a:cubicBezTo>
                    <a:pt x="1719" y="2446"/>
                    <a:pt x="1719" y="2446"/>
                    <a:pt x="1719" y="2446"/>
                  </a:cubicBezTo>
                  <a:cubicBezTo>
                    <a:pt x="1738" y="2476"/>
                    <a:pt x="1738" y="2476"/>
                    <a:pt x="1738" y="2476"/>
                  </a:cubicBezTo>
                  <a:cubicBezTo>
                    <a:pt x="1770" y="2510"/>
                    <a:pt x="1770" y="2510"/>
                    <a:pt x="1770" y="2510"/>
                  </a:cubicBezTo>
                  <a:cubicBezTo>
                    <a:pt x="1798" y="2516"/>
                    <a:pt x="1798" y="2516"/>
                    <a:pt x="1798" y="2516"/>
                  </a:cubicBezTo>
                  <a:cubicBezTo>
                    <a:pt x="1799" y="2523"/>
                    <a:pt x="1799" y="2523"/>
                    <a:pt x="1799" y="2523"/>
                  </a:cubicBezTo>
                  <a:cubicBezTo>
                    <a:pt x="1806" y="2530"/>
                    <a:pt x="1806" y="2530"/>
                    <a:pt x="1806" y="2530"/>
                  </a:cubicBezTo>
                  <a:cubicBezTo>
                    <a:pt x="1798" y="2538"/>
                    <a:pt x="1798" y="2538"/>
                    <a:pt x="1798" y="2538"/>
                  </a:cubicBezTo>
                  <a:cubicBezTo>
                    <a:pt x="1833" y="2596"/>
                    <a:pt x="1833" y="2596"/>
                    <a:pt x="1833" y="2596"/>
                  </a:cubicBezTo>
                  <a:cubicBezTo>
                    <a:pt x="1813" y="2614"/>
                    <a:pt x="1813" y="2614"/>
                    <a:pt x="1813" y="2614"/>
                  </a:cubicBezTo>
                  <a:cubicBezTo>
                    <a:pt x="1813" y="2620"/>
                    <a:pt x="1813" y="2620"/>
                    <a:pt x="1813" y="2620"/>
                  </a:cubicBezTo>
                  <a:cubicBezTo>
                    <a:pt x="1806" y="2628"/>
                    <a:pt x="1806" y="2628"/>
                    <a:pt x="1806" y="2628"/>
                  </a:cubicBezTo>
                  <a:cubicBezTo>
                    <a:pt x="1814" y="2636"/>
                    <a:pt x="1814" y="2636"/>
                    <a:pt x="1814" y="2636"/>
                  </a:cubicBezTo>
                  <a:cubicBezTo>
                    <a:pt x="1822" y="2634"/>
                    <a:pt x="1822" y="2634"/>
                    <a:pt x="1822" y="2634"/>
                  </a:cubicBezTo>
                  <a:cubicBezTo>
                    <a:pt x="1897" y="2795"/>
                    <a:pt x="1897" y="2795"/>
                    <a:pt x="1897" y="2795"/>
                  </a:cubicBezTo>
                  <a:cubicBezTo>
                    <a:pt x="1615" y="2726"/>
                    <a:pt x="1615" y="2726"/>
                    <a:pt x="1615" y="2726"/>
                  </a:cubicBezTo>
                  <a:cubicBezTo>
                    <a:pt x="1615" y="2726"/>
                    <a:pt x="1615" y="2726"/>
                    <a:pt x="1615" y="2726"/>
                  </a:cubicBezTo>
                  <a:lnTo>
                    <a:pt x="1604" y="2728"/>
                  </a:lnTo>
                  <a:close/>
                  <a:moveTo>
                    <a:pt x="1138" y="2963"/>
                  </a:moveTo>
                  <a:cubicBezTo>
                    <a:pt x="1135" y="2972"/>
                    <a:pt x="1135" y="2972"/>
                    <a:pt x="1135" y="2972"/>
                  </a:cubicBezTo>
                  <a:cubicBezTo>
                    <a:pt x="1053" y="2957"/>
                    <a:pt x="1053" y="2957"/>
                    <a:pt x="1053" y="2957"/>
                  </a:cubicBezTo>
                  <a:cubicBezTo>
                    <a:pt x="1051" y="2941"/>
                    <a:pt x="1051" y="2941"/>
                    <a:pt x="1051" y="2941"/>
                  </a:cubicBezTo>
                  <a:cubicBezTo>
                    <a:pt x="1040" y="2938"/>
                    <a:pt x="1040" y="2938"/>
                    <a:pt x="1040" y="2938"/>
                  </a:cubicBezTo>
                  <a:cubicBezTo>
                    <a:pt x="1036" y="2934"/>
                    <a:pt x="1036" y="2934"/>
                    <a:pt x="1036" y="2934"/>
                  </a:cubicBezTo>
                  <a:cubicBezTo>
                    <a:pt x="1036" y="2917"/>
                    <a:pt x="1036" y="2917"/>
                    <a:pt x="1036" y="2917"/>
                  </a:cubicBezTo>
                  <a:cubicBezTo>
                    <a:pt x="989" y="2907"/>
                    <a:pt x="989" y="2907"/>
                    <a:pt x="989" y="2907"/>
                  </a:cubicBezTo>
                  <a:cubicBezTo>
                    <a:pt x="992" y="2878"/>
                    <a:pt x="992" y="2878"/>
                    <a:pt x="992" y="2878"/>
                  </a:cubicBezTo>
                  <a:cubicBezTo>
                    <a:pt x="900" y="2860"/>
                    <a:pt x="900" y="2860"/>
                    <a:pt x="900" y="2860"/>
                  </a:cubicBezTo>
                  <a:cubicBezTo>
                    <a:pt x="924" y="2736"/>
                    <a:pt x="924" y="2736"/>
                    <a:pt x="924" y="2736"/>
                  </a:cubicBezTo>
                  <a:cubicBezTo>
                    <a:pt x="879" y="2726"/>
                    <a:pt x="879" y="2726"/>
                    <a:pt x="879" y="2726"/>
                  </a:cubicBezTo>
                  <a:cubicBezTo>
                    <a:pt x="906" y="2599"/>
                    <a:pt x="906" y="2599"/>
                    <a:pt x="906" y="2599"/>
                  </a:cubicBezTo>
                  <a:cubicBezTo>
                    <a:pt x="921" y="2599"/>
                    <a:pt x="921" y="2599"/>
                    <a:pt x="921" y="2599"/>
                  </a:cubicBezTo>
                  <a:cubicBezTo>
                    <a:pt x="936" y="2538"/>
                    <a:pt x="936" y="2538"/>
                    <a:pt x="936" y="2538"/>
                  </a:cubicBezTo>
                  <a:cubicBezTo>
                    <a:pt x="1033" y="2558"/>
                    <a:pt x="1033" y="2558"/>
                    <a:pt x="1033" y="2558"/>
                  </a:cubicBezTo>
                  <a:cubicBezTo>
                    <a:pt x="1050" y="2486"/>
                    <a:pt x="1050" y="2486"/>
                    <a:pt x="1050" y="2486"/>
                  </a:cubicBezTo>
                  <a:cubicBezTo>
                    <a:pt x="1034" y="2480"/>
                    <a:pt x="1034" y="2480"/>
                    <a:pt x="1034" y="2480"/>
                  </a:cubicBezTo>
                  <a:cubicBezTo>
                    <a:pt x="1037" y="2452"/>
                    <a:pt x="1037" y="2452"/>
                    <a:pt x="1037" y="2452"/>
                  </a:cubicBezTo>
                  <a:cubicBezTo>
                    <a:pt x="1008" y="2445"/>
                    <a:pt x="1008" y="2445"/>
                    <a:pt x="1008" y="2445"/>
                  </a:cubicBezTo>
                  <a:cubicBezTo>
                    <a:pt x="1012" y="2411"/>
                    <a:pt x="1012" y="2411"/>
                    <a:pt x="1012" y="2411"/>
                  </a:cubicBezTo>
                  <a:cubicBezTo>
                    <a:pt x="997" y="2408"/>
                    <a:pt x="997" y="2408"/>
                    <a:pt x="997" y="2408"/>
                  </a:cubicBezTo>
                  <a:cubicBezTo>
                    <a:pt x="1003" y="2375"/>
                    <a:pt x="1003" y="2375"/>
                    <a:pt x="1003" y="2375"/>
                  </a:cubicBezTo>
                  <a:cubicBezTo>
                    <a:pt x="907" y="2352"/>
                    <a:pt x="907" y="2352"/>
                    <a:pt x="907" y="2352"/>
                  </a:cubicBezTo>
                  <a:cubicBezTo>
                    <a:pt x="912" y="2321"/>
                    <a:pt x="912" y="2321"/>
                    <a:pt x="912" y="2321"/>
                  </a:cubicBezTo>
                  <a:cubicBezTo>
                    <a:pt x="881" y="2314"/>
                    <a:pt x="881" y="2314"/>
                    <a:pt x="881" y="2314"/>
                  </a:cubicBezTo>
                  <a:cubicBezTo>
                    <a:pt x="873" y="2316"/>
                    <a:pt x="873" y="2316"/>
                    <a:pt x="873" y="2316"/>
                  </a:cubicBezTo>
                  <a:cubicBezTo>
                    <a:pt x="863" y="2311"/>
                    <a:pt x="863" y="2311"/>
                    <a:pt x="863" y="2311"/>
                  </a:cubicBezTo>
                  <a:cubicBezTo>
                    <a:pt x="891" y="2181"/>
                    <a:pt x="891" y="2181"/>
                    <a:pt x="891" y="2181"/>
                  </a:cubicBezTo>
                  <a:cubicBezTo>
                    <a:pt x="1044" y="2210"/>
                    <a:pt x="1044" y="2210"/>
                    <a:pt x="1044" y="2210"/>
                  </a:cubicBezTo>
                  <a:cubicBezTo>
                    <a:pt x="1067" y="2086"/>
                    <a:pt x="1067" y="2086"/>
                    <a:pt x="1067" y="2086"/>
                  </a:cubicBezTo>
                  <a:cubicBezTo>
                    <a:pt x="1096" y="2091"/>
                    <a:pt x="1096" y="2091"/>
                    <a:pt x="1096" y="2091"/>
                  </a:cubicBezTo>
                  <a:cubicBezTo>
                    <a:pt x="1118" y="1998"/>
                    <a:pt x="1118" y="1998"/>
                    <a:pt x="1118" y="1998"/>
                  </a:cubicBezTo>
                  <a:cubicBezTo>
                    <a:pt x="1143" y="2004"/>
                    <a:pt x="1143" y="2004"/>
                    <a:pt x="1143" y="2004"/>
                  </a:cubicBezTo>
                  <a:cubicBezTo>
                    <a:pt x="1165" y="2005"/>
                    <a:pt x="1165" y="2005"/>
                    <a:pt x="1165" y="2005"/>
                  </a:cubicBezTo>
                  <a:cubicBezTo>
                    <a:pt x="1172" y="1973"/>
                    <a:pt x="1172" y="1973"/>
                    <a:pt x="1172" y="1973"/>
                  </a:cubicBezTo>
                  <a:cubicBezTo>
                    <a:pt x="1186" y="1975"/>
                    <a:pt x="1186" y="1975"/>
                    <a:pt x="1186" y="1975"/>
                  </a:cubicBezTo>
                  <a:cubicBezTo>
                    <a:pt x="1194" y="1946"/>
                    <a:pt x="1194" y="1946"/>
                    <a:pt x="1194" y="1946"/>
                  </a:cubicBezTo>
                  <a:cubicBezTo>
                    <a:pt x="1254" y="1957"/>
                    <a:pt x="1254" y="1957"/>
                    <a:pt x="1254" y="1957"/>
                  </a:cubicBezTo>
                  <a:cubicBezTo>
                    <a:pt x="1296" y="1968"/>
                    <a:pt x="1296" y="1968"/>
                    <a:pt x="1296" y="1968"/>
                  </a:cubicBezTo>
                  <a:cubicBezTo>
                    <a:pt x="1300" y="1971"/>
                    <a:pt x="1300" y="1971"/>
                    <a:pt x="1300" y="1971"/>
                  </a:cubicBezTo>
                  <a:cubicBezTo>
                    <a:pt x="1279" y="2061"/>
                    <a:pt x="1279" y="2061"/>
                    <a:pt x="1279" y="2061"/>
                  </a:cubicBezTo>
                  <a:cubicBezTo>
                    <a:pt x="1329" y="2074"/>
                    <a:pt x="1329" y="2074"/>
                    <a:pt x="1329" y="2074"/>
                  </a:cubicBezTo>
                  <a:cubicBezTo>
                    <a:pt x="1317" y="2136"/>
                    <a:pt x="1317" y="2136"/>
                    <a:pt x="1317" y="2136"/>
                  </a:cubicBezTo>
                  <a:cubicBezTo>
                    <a:pt x="1378" y="2152"/>
                    <a:pt x="1378" y="2152"/>
                    <a:pt x="1378" y="2152"/>
                  </a:cubicBezTo>
                  <a:cubicBezTo>
                    <a:pt x="1367" y="2212"/>
                    <a:pt x="1367" y="2212"/>
                    <a:pt x="1367" y="2212"/>
                  </a:cubicBezTo>
                  <a:cubicBezTo>
                    <a:pt x="1426" y="2228"/>
                    <a:pt x="1426" y="2228"/>
                    <a:pt x="1426" y="2228"/>
                  </a:cubicBezTo>
                  <a:cubicBezTo>
                    <a:pt x="1403" y="2352"/>
                    <a:pt x="1403" y="2352"/>
                    <a:pt x="1403" y="2352"/>
                  </a:cubicBezTo>
                  <a:cubicBezTo>
                    <a:pt x="1414" y="2357"/>
                    <a:pt x="1414" y="2357"/>
                    <a:pt x="1414" y="2357"/>
                  </a:cubicBezTo>
                  <a:cubicBezTo>
                    <a:pt x="1400" y="2423"/>
                    <a:pt x="1400" y="2423"/>
                    <a:pt x="1400" y="2423"/>
                  </a:cubicBezTo>
                  <a:cubicBezTo>
                    <a:pt x="1418" y="2428"/>
                    <a:pt x="1418" y="2428"/>
                    <a:pt x="1418" y="2428"/>
                  </a:cubicBezTo>
                  <a:cubicBezTo>
                    <a:pt x="1409" y="2482"/>
                    <a:pt x="1409" y="2482"/>
                    <a:pt x="1409" y="2482"/>
                  </a:cubicBezTo>
                  <a:cubicBezTo>
                    <a:pt x="1465" y="2496"/>
                    <a:pt x="1465" y="2496"/>
                    <a:pt x="1465" y="2496"/>
                  </a:cubicBezTo>
                  <a:cubicBezTo>
                    <a:pt x="1457" y="2554"/>
                    <a:pt x="1457" y="2554"/>
                    <a:pt x="1457" y="2554"/>
                  </a:cubicBezTo>
                  <a:cubicBezTo>
                    <a:pt x="1502" y="2569"/>
                    <a:pt x="1502" y="2569"/>
                    <a:pt x="1502" y="2569"/>
                  </a:cubicBezTo>
                  <a:cubicBezTo>
                    <a:pt x="1489" y="2638"/>
                    <a:pt x="1489" y="2638"/>
                    <a:pt x="1489" y="2638"/>
                  </a:cubicBezTo>
                  <a:cubicBezTo>
                    <a:pt x="1551" y="2653"/>
                    <a:pt x="1551" y="2653"/>
                    <a:pt x="1551" y="2653"/>
                  </a:cubicBezTo>
                  <a:cubicBezTo>
                    <a:pt x="1541" y="2713"/>
                    <a:pt x="1541" y="2713"/>
                    <a:pt x="1541" y="2713"/>
                  </a:cubicBezTo>
                  <a:cubicBezTo>
                    <a:pt x="1411" y="2685"/>
                    <a:pt x="1411" y="2685"/>
                    <a:pt x="1411" y="2685"/>
                  </a:cubicBezTo>
                  <a:cubicBezTo>
                    <a:pt x="1393" y="2780"/>
                    <a:pt x="1393" y="2780"/>
                    <a:pt x="1393" y="2780"/>
                  </a:cubicBezTo>
                  <a:cubicBezTo>
                    <a:pt x="1259" y="2750"/>
                    <a:pt x="1259" y="2750"/>
                    <a:pt x="1259" y="2750"/>
                  </a:cubicBezTo>
                  <a:cubicBezTo>
                    <a:pt x="1253" y="2753"/>
                    <a:pt x="1253" y="2753"/>
                    <a:pt x="1253" y="2753"/>
                  </a:cubicBezTo>
                  <a:cubicBezTo>
                    <a:pt x="1250" y="2770"/>
                    <a:pt x="1250" y="2770"/>
                    <a:pt x="1250" y="2770"/>
                  </a:cubicBezTo>
                  <a:cubicBezTo>
                    <a:pt x="1188" y="2758"/>
                    <a:pt x="1188" y="2758"/>
                    <a:pt x="1188" y="2758"/>
                  </a:cubicBezTo>
                  <a:cubicBezTo>
                    <a:pt x="1181" y="2789"/>
                    <a:pt x="1181" y="2789"/>
                    <a:pt x="1181" y="2789"/>
                  </a:cubicBezTo>
                  <a:cubicBezTo>
                    <a:pt x="1165" y="2787"/>
                    <a:pt x="1165" y="2787"/>
                    <a:pt x="1165" y="2787"/>
                  </a:cubicBezTo>
                  <a:cubicBezTo>
                    <a:pt x="1149" y="2847"/>
                    <a:pt x="1149" y="2847"/>
                    <a:pt x="1149" y="2847"/>
                  </a:cubicBezTo>
                  <a:cubicBezTo>
                    <a:pt x="1164" y="2853"/>
                    <a:pt x="1164" y="2853"/>
                    <a:pt x="1164" y="2853"/>
                  </a:cubicBezTo>
                  <a:cubicBezTo>
                    <a:pt x="1153" y="2908"/>
                    <a:pt x="1153" y="2908"/>
                    <a:pt x="1153" y="2908"/>
                  </a:cubicBezTo>
                  <a:cubicBezTo>
                    <a:pt x="1145" y="2908"/>
                    <a:pt x="1145" y="2908"/>
                    <a:pt x="1145" y="2908"/>
                  </a:cubicBezTo>
                  <a:cubicBezTo>
                    <a:pt x="1135" y="2958"/>
                    <a:pt x="1135" y="2958"/>
                    <a:pt x="1135" y="2958"/>
                  </a:cubicBezTo>
                  <a:lnTo>
                    <a:pt x="1138" y="2963"/>
                  </a:lnTo>
                  <a:close/>
                  <a:moveTo>
                    <a:pt x="1004" y="1808"/>
                  </a:moveTo>
                  <a:cubicBezTo>
                    <a:pt x="994" y="1804"/>
                    <a:pt x="983" y="1800"/>
                    <a:pt x="972" y="1797"/>
                  </a:cubicBezTo>
                  <a:cubicBezTo>
                    <a:pt x="967" y="1795"/>
                    <a:pt x="964" y="1793"/>
                    <a:pt x="961" y="1789"/>
                  </a:cubicBezTo>
                  <a:cubicBezTo>
                    <a:pt x="944" y="1756"/>
                    <a:pt x="926" y="1723"/>
                    <a:pt x="908" y="1691"/>
                  </a:cubicBezTo>
                  <a:cubicBezTo>
                    <a:pt x="897" y="1670"/>
                    <a:pt x="885" y="1650"/>
                    <a:pt x="874" y="1630"/>
                  </a:cubicBezTo>
                  <a:cubicBezTo>
                    <a:pt x="866" y="1617"/>
                    <a:pt x="859" y="1603"/>
                    <a:pt x="851" y="1589"/>
                  </a:cubicBezTo>
                  <a:cubicBezTo>
                    <a:pt x="846" y="1580"/>
                    <a:pt x="845" y="1580"/>
                    <a:pt x="835" y="1582"/>
                  </a:cubicBezTo>
                  <a:cubicBezTo>
                    <a:pt x="806" y="1590"/>
                    <a:pt x="777" y="1597"/>
                    <a:pt x="747" y="1605"/>
                  </a:cubicBezTo>
                  <a:cubicBezTo>
                    <a:pt x="734" y="1608"/>
                    <a:pt x="734" y="1608"/>
                    <a:pt x="734" y="1595"/>
                  </a:cubicBezTo>
                  <a:cubicBezTo>
                    <a:pt x="733" y="1559"/>
                    <a:pt x="732" y="1523"/>
                    <a:pt x="731" y="1487"/>
                  </a:cubicBezTo>
                  <a:cubicBezTo>
                    <a:pt x="730" y="1432"/>
                    <a:pt x="729" y="1377"/>
                    <a:pt x="727" y="1322"/>
                  </a:cubicBezTo>
                  <a:cubicBezTo>
                    <a:pt x="726" y="1283"/>
                    <a:pt x="725" y="1244"/>
                    <a:pt x="723" y="1205"/>
                  </a:cubicBezTo>
                  <a:cubicBezTo>
                    <a:pt x="723" y="1197"/>
                    <a:pt x="725" y="1194"/>
                    <a:pt x="731" y="1190"/>
                  </a:cubicBezTo>
                  <a:cubicBezTo>
                    <a:pt x="821" y="1130"/>
                    <a:pt x="910" y="1070"/>
                    <a:pt x="1001" y="1011"/>
                  </a:cubicBezTo>
                  <a:cubicBezTo>
                    <a:pt x="1054" y="977"/>
                    <a:pt x="1108" y="943"/>
                    <a:pt x="1161" y="910"/>
                  </a:cubicBezTo>
                  <a:cubicBezTo>
                    <a:pt x="1180" y="898"/>
                    <a:pt x="1198" y="886"/>
                    <a:pt x="1217" y="874"/>
                  </a:cubicBezTo>
                  <a:cubicBezTo>
                    <a:pt x="1226" y="868"/>
                    <a:pt x="1228" y="863"/>
                    <a:pt x="1224" y="852"/>
                  </a:cubicBezTo>
                  <a:cubicBezTo>
                    <a:pt x="1222" y="848"/>
                    <a:pt x="1220" y="844"/>
                    <a:pt x="1217" y="840"/>
                  </a:cubicBezTo>
                  <a:cubicBezTo>
                    <a:pt x="1214" y="836"/>
                    <a:pt x="1214" y="832"/>
                    <a:pt x="1218" y="829"/>
                  </a:cubicBezTo>
                  <a:cubicBezTo>
                    <a:pt x="1226" y="821"/>
                    <a:pt x="1224" y="812"/>
                    <a:pt x="1222" y="803"/>
                  </a:cubicBezTo>
                  <a:cubicBezTo>
                    <a:pt x="1221" y="800"/>
                    <a:pt x="1220" y="797"/>
                    <a:pt x="1219" y="794"/>
                  </a:cubicBezTo>
                  <a:cubicBezTo>
                    <a:pt x="1218" y="785"/>
                    <a:pt x="1219" y="784"/>
                    <a:pt x="1228" y="785"/>
                  </a:cubicBezTo>
                  <a:cubicBezTo>
                    <a:pt x="1230" y="785"/>
                    <a:pt x="1233" y="785"/>
                    <a:pt x="1234" y="786"/>
                  </a:cubicBezTo>
                  <a:cubicBezTo>
                    <a:pt x="1242" y="792"/>
                    <a:pt x="1251" y="795"/>
                    <a:pt x="1259" y="800"/>
                  </a:cubicBezTo>
                  <a:cubicBezTo>
                    <a:pt x="1261" y="802"/>
                    <a:pt x="1265" y="802"/>
                    <a:pt x="1266" y="801"/>
                  </a:cubicBezTo>
                  <a:cubicBezTo>
                    <a:pt x="1269" y="798"/>
                    <a:pt x="1273" y="794"/>
                    <a:pt x="1272" y="791"/>
                  </a:cubicBezTo>
                  <a:cubicBezTo>
                    <a:pt x="1272" y="786"/>
                    <a:pt x="1271" y="783"/>
                    <a:pt x="1277" y="781"/>
                  </a:cubicBezTo>
                  <a:cubicBezTo>
                    <a:pt x="1278" y="781"/>
                    <a:pt x="1279" y="779"/>
                    <a:pt x="1280" y="777"/>
                  </a:cubicBezTo>
                  <a:cubicBezTo>
                    <a:pt x="1280" y="773"/>
                    <a:pt x="1281" y="771"/>
                    <a:pt x="1284" y="769"/>
                  </a:cubicBezTo>
                  <a:cubicBezTo>
                    <a:pt x="1285" y="768"/>
                    <a:pt x="1287" y="766"/>
                    <a:pt x="1287" y="765"/>
                  </a:cubicBezTo>
                  <a:cubicBezTo>
                    <a:pt x="1285" y="757"/>
                    <a:pt x="1290" y="756"/>
                    <a:pt x="1296" y="757"/>
                  </a:cubicBezTo>
                  <a:cubicBezTo>
                    <a:pt x="1301" y="757"/>
                    <a:pt x="1303" y="755"/>
                    <a:pt x="1304" y="749"/>
                  </a:cubicBezTo>
                  <a:cubicBezTo>
                    <a:pt x="1305" y="742"/>
                    <a:pt x="1305" y="742"/>
                    <a:pt x="1313" y="742"/>
                  </a:cubicBezTo>
                  <a:cubicBezTo>
                    <a:pt x="1322" y="742"/>
                    <a:pt x="1323" y="742"/>
                    <a:pt x="1324" y="733"/>
                  </a:cubicBezTo>
                  <a:cubicBezTo>
                    <a:pt x="1325" y="723"/>
                    <a:pt x="1332" y="717"/>
                    <a:pt x="1338" y="711"/>
                  </a:cubicBezTo>
                  <a:cubicBezTo>
                    <a:pt x="1340" y="709"/>
                    <a:pt x="1344" y="709"/>
                    <a:pt x="1346" y="709"/>
                  </a:cubicBezTo>
                  <a:cubicBezTo>
                    <a:pt x="1360" y="711"/>
                    <a:pt x="1373" y="712"/>
                    <a:pt x="1387" y="714"/>
                  </a:cubicBezTo>
                  <a:cubicBezTo>
                    <a:pt x="1409" y="717"/>
                    <a:pt x="1432" y="721"/>
                    <a:pt x="1454" y="724"/>
                  </a:cubicBezTo>
                  <a:cubicBezTo>
                    <a:pt x="1476" y="728"/>
                    <a:pt x="1499" y="731"/>
                    <a:pt x="1521" y="734"/>
                  </a:cubicBezTo>
                  <a:cubicBezTo>
                    <a:pt x="1538" y="736"/>
                    <a:pt x="1555" y="739"/>
                    <a:pt x="1572" y="742"/>
                  </a:cubicBezTo>
                  <a:cubicBezTo>
                    <a:pt x="1597" y="745"/>
                    <a:pt x="1622" y="748"/>
                    <a:pt x="1646" y="753"/>
                  </a:cubicBezTo>
                  <a:cubicBezTo>
                    <a:pt x="1647" y="754"/>
                    <a:pt x="1649" y="754"/>
                    <a:pt x="1651" y="754"/>
                  </a:cubicBezTo>
                  <a:cubicBezTo>
                    <a:pt x="1658" y="1070"/>
                    <a:pt x="1658" y="1070"/>
                    <a:pt x="1658" y="1070"/>
                  </a:cubicBezTo>
                  <a:cubicBezTo>
                    <a:pt x="1472" y="1545"/>
                    <a:pt x="1472" y="1545"/>
                    <a:pt x="1472" y="1545"/>
                  </a:cubicBezTo>
                  <a:cubicBezTo>
                    <a:pt x="1466" y="1552"/>
                    <a:pt x="1466" y="1552"/>
                    <a:pt x="1466" y="1552"/>
                  </a:cubicBezTo>
                  <a:cubicBezTo>
                    <a:pt x="1466" y="1560"/>
                    <a:pt x="1466" y="1560"/>
                    <a:pt x="1466" y="1560"/>
                  </a:cubicBezTo>
                  <a:cubicBezTo>
                    <a:pt x="1452" y="1570"/>
                    <a:pt x="1452" y="1570"/>
                    <a:pt x="1452" y="1570"/>
                  </a:cubicBezTo>
                  <a:cubicBezTo>
                    <a:pt x="1450" y="1601"/>
                    <a:pt x="1450" y="1601"/>
                    <a:pt x="1450" y="1601"/>
                  </a:cubicBezTo>
                  <a:cubicBezTo>
                    <a:pt x="1548" y="1775"/>
                    <a:pt x="1548" y="1775"/>
                    <a:pt x="1548" y="1775"/>
                  </a:cubicBezTo>
                  <a:cubicBezTo>
                    <a:pt x="1526" y="1824"/>
                    <a:pt x="1526" y="1824"/>
                    <a:pt x="1526" y="1824"/>
                  </a:cubicBezTo>
                  <a:cubicBezTo>
                    <a:pt x="1409" y="1863"/>
                    <a:pt x="1409" y="1863"/>
                    <a:pt x="1409" y="1863"/>
                  </a:cubicBezTo>
                  <a:cubicBezTo>
                    <a:pt x="1372" y="1874"/>
                    <a:pt x="1372" y="1874"/>
                    <a:pt x="1372" y="1874"/>
                  </a:cubicBezTo>
                  <a:cubicBezTo>
                    <a:pt x="1296" y="1963"/>
                    <a:pt x="1296" y="1963"/>
                    <a:pt x="1296" y="1963"/>
                  </a:cubicBezTo>
                  <a:cubicBezTo>
                    <a:pt x="1255" y="1953"/>
                    <a:pt x="1255" y="1953"/>
                    <a:pt x="1255" y="1953"/>
                  </a:cubicBezTo>
                  <a:cubicBezTo>
                    <a:pt x="1191" y="1942"/>
                    <a:pt x="1191" y="1942"/>
                    <a:pt x="1191" y="1942"/>
                  </a:cubicBezTo>
                  <a:cubicBezTo>
                    <a:pt x="1183" y="1970"/>
                    <a:pt x="1183" y="1970"/>
                    <a:pt x="1183" y="1970"/>
                  </a:cubicBezTo>
                  <a:cubicBezTo>
                    <a:pt x="1169" y="1969"/>
                    <a:pt x="1169" y="1969"/>
                    <a:pt x="1169" y="1969"/>
                  </a:cubicBezTo>
                  <a:cubicBezTo>
                    <a:pt x="1162" y="2001"/>
                    <a:pt x="1162" y="2001"/>
                    <a:pt x="1162" y="2001"/>
                  </a:cubicBezTo>
                  <a:cubicBezTo>
                    <a:pt x="1144" y="2000"/>
                    <a:pt x="1144" y="2000"/>
                    <a:pt x="1144" y="2000"/>
                  </a:cubicBezTo>
                  <a:cubicBezTo>
                    <a:pt x="1118" y="1994"/>
                    <a:pt x="1118" y="1994"/>
                    <a:pt x="1118" y="1994"/>
                  </a:cubicBezTo>
                  <a:cubicBezTo>
                    <a:pt x="1123" y="1964"/>
                    <a:pt x="1123" y="1964"/>
                    <a:pt x="1123" y="1964"/>
                  </a:cubicBezTo>
                  <a:cubicBezTo>
                    <a:pt x="1107" y="1961"/>
                    <a:pt x="1107" y="1961"/>
                    <a:pt x="1107" y="1961"/>
                  </a:cubicBezTo>
                  <a:cubicBezTo>
                    <a:pt x="1109" y="1948"/>
                    <a:pt x="1109" y="1948"/>
                    <a:pt x="1109" y="1948"/>
                  </a:cubicBezTo>
                  <a:cubicBezTo>
                    <a:pt x="1104" y="1942"/>
                    <a:pt x="1104" y="1942"/>
                    <a:pt x="1104" y="1942"/>
                  </a:cubicBezTo>
                  <a:cubicBezTo>
                    <a:pt x="1110" y="1908"/>
                    <a:pt x="1110" y="1908"/>
                    <a:pt x="1110" y="1908"/>
                  </a:cubicBezTo>
                  <a:cubicBezTo>
                    <a:pt x="1104" y="1897"/>
                    <a:pt x="1104" y="1897"/>
                    <a:pt x="1104" y="1897"/>
                  </a:cubicBezTo>
                  <a:cubicBezTo>
                    <a:pt x="1099" y="1879"/>
                    <a:pt x="1099" y="1879"/>
                    <a:pt x="1099" y="1879"/>
                  </a:cubicBezTo>
                  <a:cubicBezTo>
                    <a:pt x="1085" y="1869"/>
                    <a:pt x="1085" y="1869"/>
                    <a:pt x="1085" y="1869"/>
                  </a:cubicBezTo>
                  <a:cubicBezTo>
                    <a:pt x="1068" y="1869"/>
                    <a:pt x="1068" y="1869"/>
                    <a:pt x="1068" y="1869"/>
                  </a:cubicBezTo>
                  <a:cubicBezTo>
                    <a:pt x="1060" y="1857"/>
                    <a:pt x="1060" y="1857"/>
                    <a:pt x="1060" y="1857"/>
                  </a:cubicBezTo>
                  <a:cubicBezTo>
                    <a:pt x="1063" y="1850"/>
                    <a:pt x="1063" y="1850"/>
                    <a:pt x="1063" y="1850"/>
                  </a:cubicBezTo>
                  <a:cubicBezTo>
                    <a:pt x="1056" y="1841"/>
                    <a:pt x="1056" y="1841"/>
                    <a:pt x="1056" y="1841"/>
                  </a:cubicBezTo>
                  <a:cubicBezTo>
                    <a:pt x="1044" y="1838"/>
                    <a:pt x="1044" y="1838"/>
                    <a:pt x="1044" y="1838"/>
                  </a:cubicBezTo>
                  <a:cubicBezTo>
                    <a:pt x="1023" y="1823"/>
                    <a:pt x="1023" y="1823"/>
                    <a:pt x="1023" y="1823"/>
                  </a:cubicBezTo>
                  <a:cubicBezTo>
                    <a:pt x="1018" y="1821"/>
                    <a:pt x="1018" y="1821"/>
                    <a:pt x="1018" y="1821"/>
                  </a:cubicBezTo>
                  <a:cubicBezTo>
                    <a:pt x="1017" y="1815"/>
                    <a:pt x="1014" y="1812"/>
                    <a:pt x="1004" y="1808"/>
                  </a:cubicBezTo>
                  <a:close/>
                  <a:moveTo>
                    <a:pt x="815" y="2711"/>
                  </a:moveTo>
                  <a:cubicBezTo>
                    <a:pt x="778" y="2703"/>
                    <a:pt x="740" y="2696"/>
                    <a:pt x="703" y="2688"/>
                  </a:cubicBezTo>
                  <a:cubicBezTo>
                    <a:pt x="694" y="2687"/>
                    <a:pt x="685" y="2684"/>
                    <a:pt x="675" y="2683"/>
                  </a:cubicBezTo>
                  <a:cubicBezTo>
                    <a:pt x="663" y="2680"/>
                    <a:pt x="661" y="2682"/>
                    <a:pt x="659" y="2694"/>
                  </a:cubicBezTo>
                  <a:cubicBezTo>
                    <a:pt x="656" y="2709"/>
                    <a:pt x="653" y="2724"/>
                    <a:pt x="650" y="2739"/>
                  </a:cubicBezTo>
                  <a:cubicBezTo>
                    <a:pt x="650" y="2744"/>
                    <a:pt x="648" y="2744"/>
                    <a:pt x="643" y="2743"/>
                  </a:cubicBezTo>
                  <a:cubicBezTo>
                    <a:pt x="628" y="2740"/>
                    <a:pt x="612" y="2737"/>
                    <a:pt x="596" y="2734"/>
                  </a:cubicBezTo>
                  <a:cubicBezTo>
                    <a:pt x="586" y="2732"/>
                    <a:pt x="585" y="2733"/>
                    <a:pt x="583" y="2742"/>
                  </a:cubicBezTo>
                  <a:cubicBezTo>
                    <a:pt x="577" y="2770"/>
                    <a:pt x="571" y="2798"/>
                    <a:pt x="566" y="2826"/>
                  </a:cubicBezTo>
                  <a:cubicBezTo>
                    <a:pt x="564" y="2833"/>
                    <a:pt x="564" y="2840"/>
                    <a:pt x="569" y="2846"/>
                  </a:cubicBezTo>
                  <a:cubicBezTo>
                    <a:pt x="572" y="2850"/>
                    <a:pt x="573" y="2855"/>
                    <a:pt x="574" y="2860"/>
                  </a:cubicBezTo>
                  <a:cubicBezTo>
                    <a:pt x="574" y="2874"/>
                    <a:pt x="575" y="2888"/>
                    <a:pt x="575" y="2902"/>
                  </a:cubicBezTo>
                  <a:cubicBezTo>
                    <a:pt x="575" y="2910"/>
                    <a:pt x="574" y="2910"/>
                    <a:pt x="567" y="2910"/>
                  </a:cubicBezTo>
                  <a:cubicBezTo>
                    <a:pt x="546" y="2909"/>
                    <a:pt x="526" y="2908"/>
                    <a:pt x="505" y="2907"/>
                  </a:cubicBezTo>
                  <a:cubicBezTo>
                    <a:pt x="489" y="2906"/>
                    <a:pt x="473" y="2905"/>
                    <a:pt x="458" y="2904"/>
                  </a:cubicBezTo>
                  <a:cubicBezTo>
                    <a:pt x="449" y="2903"/>
                    <a:pt x="447" y="2905"/>
                    <a:pt x="447" y="2915"/>
                  </a:cubicBezTo>
                  <a:cubicBezTo>
                    <a:pt x="446" y="2930"/>
                    <a:pt x="445" y="2945"/>
                    <a:pt x="444" y="2960"/>
                  </a:cubicBezTo>
                  <a:cubicBezTo>
                    <a:pt x="444" y="2968"/>
                    <a:pt x="444" y="2968"/>
                    <a:pt x="436" y="2967"/>
                  </a:cubicBezTo>
                  <a:cubicBezTo>
                    <a:pt x="429" y="2967"/>
                    <a:pt x="422" y="2966"/>
                    <a:pt x="415" y="2966"/>
                  </a:cubicBezTo>
                  <a:cubicBezTo>
                    <a:pt x="407" y="2966"/>
                    <a:pt x="407" y="2966"/>
                    <a:pt x="407" y="2958"/>
                  </a:cubicBezTo>
                  <a:cubicBezTo>
                    <a:pt x="407" y="2945"/>
                    <a:pt x="408" y="2933"/>
                    <a:pt x="408" y="2920"/>
                  </a:cubicBezTo>
                  <a:cubicBezTo>
                    <a:pt x="409" y="2917"/>
                    <a:pt x="409" y="2915"/>
                    <a:pt x="409" y="2912"/>
                  </a:cubicBezTo>
                  <a:cubicBezTo>
                    <a:pt x="409" y="2904"/>
                    <a:pt x="407" y="2902"/>
                    <a:pt x="398" y="2901"/>
                  </a:cubicBezTo>
                  <a:cubicBezTo>
                    <a:pt x="392" y="2901"/>
                    <a:pt x="387" y="2900"/>
                    <a:pt x="381" y="2900"/>
                  </a:cubicBezTo>
                  <a:cubicBezTo>
                    <a:pt x="377" y="2900"/>
                    <a:pt x="376" y="2899"/>
                    <a:pt x="376" y="2895"/>
                  </a:cubicBezTo>
                  <a:cubicBezTo>
                    <a:pt x="377" y="2860"/>
                    <a:pt x="377" y="2825"/>
                    <a:pt x="378" y="2790"/>
                  </a:cubicBezTo>
                  <a:cubicBezTo>
                    <a:pt x="378" y="2783"/>
                    <a:pt x="377" y="2777"/>
                    <a:pt x="374" y="2770"/>
                  </a:cubicBezTo>
                  <a:cubicBezTo>
                    <a:pt x="364" y="2749"/>
                    <a:pt x="355" y="2727"/>
                    <a:pt x="346" y="2705"/>
                  </a:cubicBezTo>
                  <a:cubicBezTo>
                    <a:pt x="344" y="2702"/>
                    <a:pt x="345" y="2700"/>
                    <a:pt x="348" y="2698"/>
                  </a:cubicBezTo>
                  <a:cubicBezTo>
                    <a:pt x="369" y="2682"/>
                    <a:pt x="387" y="2661"/>
                    <a:pt x="410" y="2647"/>
                  </a:cubicBezTo>
                  <a:cubicBezTo>
                    <a:pt x="414" y="2645"/>
                    <a:pt x="417" y="2642"/>
                    <a:pt x="416" y="2636"/>
                  </a:cubicBezTo>
                  <a:cubicBezTo>
                    <a:pt x="415" y="2634"/>
                    <a:pt x="416" y="2631"/>
                    <a:pt x="417" y="2629"/>
                  </a:cubicBezTo>
                  <a:cubicBezTo>
                    <a:pt x="419" y="2626"/>
                    <a:pt x="422" y="2623"/>
                    <a:pt x="424" y="2619"/>
                  </a:cubicBezTo>
                  <a:cubicBezTo>
                    <a:pt x="432" y="2609"/>
                    <a:pt x="436" y="2599"/>
                    <a:pt x="435" y="2586"/>
                  </a:cubicBezTo>
                  <a:cubicBezTo>
                    <a:pt x="435" y="2580"/>
                    <a:pt x="439" y="2573"/>
                    <a:pt x="440" y="2567"/>
                  </a:cubicBezTo>
                  <a:cubicBezTo>
                    <a:pt x="442" y="2557"/>
                    <a:pt x="441" y="2556"/>
                    <a:pt x="431" y="2554"/>
                  </a:cubicBezTo>
                  <a:cubicBezTo>
                    <a:pt x="424" y="2553"/>
                    <a:pt x="417" y="2551"/>
                    <a:pt x="410" y="2551"/>
                  </a:cubicBezTo>
                  <a:cubicBezTo>
                    <a:pt x="405" y="2550"/>
                    <a:pt x="402" y="2548"/>
                    <a:pt x="399" y="2545"/>
                  </a:cubicBezTo>
                  <a:cubicBezTo>
                    <a:pt x="387" y="2535"/>
                    <a:pt x="376" y="2525"/>
                    <a:pt x="365" y="2515"/>
                  </a:cubicBezTo>
                  <a:cubicBezTo>
                    <a:pt x="360" y="2511"/>
                    <a:pt x="355" y="2509"/>
                    <a:pt x="349" y="2509"/>
                  </a:cubicBezTo>
                  <a:cubicBezTo>
                    <a:pt x="339" y="2509"/>
                    <a:pt x="339" y="2508"/>
                    <a:pt x="335" y="2499"/>
                  </a:cubicBezTo>
                  <a:cubicBezTo>
                    <a:pt x="332" y="2492"/>
                    <a:pt x="328" y="2486"/>
                    <a:pt x="324" y="2479"/>
                  </a:cubicBezTo>
                  <a:cubicBezTo>
                    <a:pt x="320" y="2474"/>
                    <a:pt x="318" y="2469"/>
                    <a:pt x="318" y="2463"/>
                  </a:cubicBezTo>
                  <a:cubicBezTo>
                    <a:pt x="319" y="2456"/>
                    <a:pt x="319" y="2449"/>
                    <a:pt x="318" y="2442"/>
                  </a:cubicBezTo>
                  <a:cubicBezTo>
                    <a:pt x="317" y="2431"/>
                    <a:pt x="320" y="2421"/>
                    <a:pt x="325" y="2411"/>
                  </a:cubicBezTo>
                  <a:cubicBezTo>
                    <a:pt x="334" y="2396"/>
                    <a:pt x="333" y="2380"/>
                    <a:pt x="328" y="2363"/>
                  </a:cubicBezTo>
                  <a:cubicBezTo>
                    <a:pt x="320" y="2336"/>
                    <a:pt x="306" y="2311"/>
                    <a:pt x="290" y="2287"/>
                  </a:cubicBezTo>
                  <a:cubicBezTo>
                    <a:pt x="287" y="2283"/>
                    <a:pt x="283" y="2279"/>
                    <a:pt x="278" y="2275"/>
                  </a:cubicBezTo>
                  <a:cubicBezTo>
                    <a:pt x="264" y="2264"/>
                    <a:pt x="249" y="2252"/>
                    <a:pt x="234" y="2241"/>
                  </a:cubicBezTo>
                  <a:cubicBezTo>
                    <a:pt x="218" y="2230"/>
                    <a:pt x="202" y="2221"/>
                    <a:pt x="184" y="2215"/>
                  </a:cubicBezTo>
                  <a:cubicBezTo>
                    <a:pt x="176" y="2212"/>
                    <a:pt x="169" y="2209"/>
                    <a:pt x="163" y="2206"/>
                  </a:cubicBezTo>
                  <a:cubicBezTo>
                    <a:pt x="152" y="2200"/>
                    <a:pt x="140" y="2200"/>
                    <a:pt x="128" y="2198"/>
                  </a:cubicBezTo>
                  <a:cubicBezTo>
                    <a:pt x="121" y="2196"/>
                    <a:pt x="115" y="2194"/>
                    <a:pt x="109" y="2191"/>
                  </a:cubicBezTo>
                  <a:cubicBezTo>
                    <a:pt x="91" y="2178"/>
                    <a:pt x="73" y="2166"/>
                    <a:pt x="54" y="2154"/>
                  </a:cubicBezTo>
                  <a:cubicBezTo>
                    <a:pt x="52" y="2153"/>
                    <a:pt x="50" y="2151"/>
                    <a:pt x="49" y="2149"/>
                  </a:cubicBezTo>
                  <a:cubicBezTo>
                    <a:pt x="39" y="2136"/>
                    <a:pt x="29" y="2122"/>
                    <a:pt x="19" y="2109"/>
                  </a:cubicBezTo>
                  <a:cubicBezTo>
                    <a:pt x="17" y="2105"/>
                    <a:pt x="18" y="2103"/>
                    <a:pt x="21" y="2101"/>
                  </a:cubicBezTo>
                  <a:cubicBezTo>
                    <a:pt x="45" y="2087"/>
                    <a:pt x="69" y="2073"/>
                    <a:pt x="95" y="2064"/>
                  </a:cubicBezTo>
                  <a:cubicBezTo>
                    <a:pt x="98" y="2063"/>
                    <a:pt x="101" y="2063"/>
                    <a:pt x="103" y="2063"/>
                  </a:cubicBezTo>
                  <a:cubicBezTo>
                    <a:pt x="130" y="2067"/>
                    <a:pt x="157" y="2071"/>
                    <a:pt x="183" y="2075"/>
                  </a:cubicBezTo>
                  <a:cubicBezTo>
                    <a:pt x="189" y="2076"/>
                    <a:pt x="193" y="2077"/>
                    <a:pt x="195" y="2070"/>
                  </a:cubicBezTo>
                  <a:cubicBezTo>
                    <a:pt x="196" y="2068"/>
                    <a:pt x="198" y="2066"/>
                    <a:pt x="200" y="2068"/>
                  </a:cubicBezTo>
                  <a:cubicBezTo>
                    <a:pt x="204" y="2071"/>
                    <a:pt x="208" y="2070"/>
                    <a:pt x="212" y="2068"/>
                  </a:cubicBezTo>
                  <a:cubicBezTo>
                    <a:pt x="224" y="2061"/>
                    <a:pt x="235" y="2055"/>
                    <a:pt x="247" y="2048"/>
                  </a:cubicBezTo>
                  <a:cubicBezTo>
                    <a:pt x="251" y="2046"/>
                    <a:pt x="256" y="2044"/>
                    <a:pt x="261" y="2043"/>
                  </a:cubicBezTo>
                  <a:cubicBezTo>
                    <a:pt x="281" y="2040"/>
                    <a:pt x="301" y="2038"/>
                    <a:pt x="321" y="2035"/>
                  </a:cubicBezTo>
                  <a:cubicBezTo>
                    <a:pt x="339" y="2033"/>
                    <a:pt x="356" y="2033"/>
                    <a:pt x="374" y="2030"/>
                  </a:cubicBezTo>
                  <a:cubicBezTo>
                    <a:pt x="403" y="2026"/>
                    <a:pt x="432" y="2030"/>
                    <a:pt x="461" y="2030"/>
                  </a:cubicBezTo>
                  <a:cubicBezTo>
                    <a:pt x="484" y="2031"/>
                    <a:pt x="507" y="2032"/>
                    <a:pt x="530" y="2032"/>
                  </a:cubicBezTo>
                  <a:cubicBezTo>
                    <a:pt x="543" y="2032"/>
                    <a:pt x="543" y="2032"/>
                    <a:pt x="544" y="2046"/>
                  </a:cubicBezTo>
                  <a:cubicBezTo>
                    <a:pt x="545" y="2056"/>
                    <a:pt x="548" y="2066"/>
                    <a:pt x="550" y="2076"/>
                  </a:cubicBezTo>
                  <a:cubicBezTo>
                    <a:pt x="551" y="2081"/>
                    <a:pt x="554" y="2084"/>
                    <a:pt x="560" y="2085"/>
                  </a:cubicBezTo>
                  <a:cubicBezTo>
                    <a:pt x="575" y="2087"/>
                    <a:pt x="591" y="2090"/>
                    <a:pt x="607" y="2093"/>
                  </a:cubicBezTo>
                  <a:cubicBezTo>
                    <a:pt x="614" y="2094"/>
                    <a:pt x="617" y="2092"/>
                    <a:pt x="619" y="2083"/>
                  </a:cubicBezTo>
                  <a:cubicBezTo>
                    <a:pt x="621" y="2071"/>
                    <a:pt x="623" y="2059"/>
                    <a:pt x="626" y="2047"/>
                  </a:cubicBezTo>
                  <a:cubicBezTo>
                    <a:pt x="627" y="2042"/>
                    <a:pt x="628" y="2037"/>
                    <a:pt x="629" y="2032"/>
                  </a:cubicBezTo>
                  <a:cubicBezTo>
                    <a:pt x="632" y="2025"/>
                    <a:pt x="632" y="2025"/>
                    <a:pt x="639" y="2026"/>
                  </a:cubicBezTo>
                  <a:cubicBezTo>
                    <a:pt x="651" y="2028"/>
                    <a:pt x="662" y="2031"/>
                    <a:pt x="673" y="2034"/>
                  </a:cubicBezTo>
                  <a:cubicBezTo>
                    <a:pt x="679" y="2035"/>
                    <a:pt x="685" y="2036"/>
                    <a:pt x="691" y="2037"/>
                  </a:cubicBezTo>
                  <a:cubicBezTo>
                    <a:pt x="699" y="2039"/>
                    <a:pt x="707" y="2031"/>
                    <a:pt x="705" y="2024"/>
                  </a:cubicBezTo>
                  <a:cubicBezTo>
                    <a:pt x="703" y="2017"/>
                    <a:pt x="706" y="2010"/>
                    <a:pt x="707" y="2003"/>
                  </a:cubicBezTo>
                  <a:cubicBezTo>
                    <a:pt x="708" y="1995"/>
                    <a:pt x="711" y="1986"/>
                    <a:pt x="712" y="1978"/>
                  </a:cubicBezTo>
                  <a:cubicBezTo>
                    <a:pt x="713" y="1973"/>
                    <a:pt x="715" y="1971"/>
                    <a:pt x="720" y="1973"/>
                  </a:cubicBezTo>
                  <a:cubicBezTo>
                    <a:pt x="742" y="1978"/>
                    <a:pt x="763" y="1982"/>
                    <a:pt x="784" y="1987"/>
                  </a:cubicBezTo>
                  <a:cubicBezTo>
                    <a:pt x="792" y="1989"/>
                    <a:pt x="799" y="1990"/>
                    <a:pt x="805" y="1992"/>
                  </a:cubicBezTo>
                  <a:cubicBezTo>
                    <a:pt x="816" y="1995"/>
                    <a:pt x="818" y="1993"/>
                    <a:pt x="820" y="1983"/>
                  </a:cubicBezTo>
                  <a:cubicBezTo>
                    <a:pt x="823" y="1970"/>
                    <a:pt x="825" y="1958"/>
                    <a:pt x="827" y="1946"/>
                  </a:cubicBezTo>
                  <a:cubicBezTo>
                    <a:pt x="829" y="1939"/>
                    <a:pt x="831" y="1932"/>
                    <a:pt x="833" y="1925"/>
                  </a:cubicBezTo>
                  <a:cubicBezTo>
                    <a:pt x="839" y="1926"/>
                    <a:pt x="846" y="1927"/>
                    <a:pt x="853" y="1929"/>
                  </a:cubicBezTo>
                  <a:cubicBezTo>
                    <a:pt x="887" y="1935"/>
                    <a:pt x="921" y="1941"/>
                    <a:pt x="956" y="1948"/>
                  </a:cubicBezTo>
                  <a:cubicBezTo>
                    <a:pt x="963" y="1949"/>
                    <a:pt x="971" y="1951"/>
                    <a:pt x="979" y="1953"/>
                  </a:cubicBezTo>
                  <a:cubicBezTo>
                    <a:pt x="989" y="1955"/>
                    <a:pt x="991" y="1954"/>
                    <a:pt x="993" y="1944"/>
                  </a:cubicBezTo>
                  <a:cubicBezTo>
                    <a:pt x="996" y="1926"/>
                    <a:pt x="1000" y="1908"/>
                    <a:pt x="1004" y="1890"/>
                  </a:cubicBezTo>
                  <a:cubicBezTo>
                    <a:pt x="1008" y="1871"/>
                    <a:pt x="1012" y="1851"/>
                    <a:pt x="1016" y="1831"/>
                  </a:cubicBezTo>
                  <a:cubicBezTo>
                    <a:pt x="1017" y="1829"/>
                    <a:pt x="1017" y="1827"/>
                    <a:pt x="1017" y="1826"/>
                  </a:cubicBezTo>
                  <a:cubicBezTo>
                    <a:pt x="1021" y="1827"/>
                    <a:pt x="1021" y="1827"/>
                    <a:pt x="1021" y="1827"/>
                  </a:cubicBezTo>
                  <a:cubicBezTo>
                    <a:pt x="1042" y="1841"/>
                    <a:pt x="1042" y="1841"/>
                    <a:pt x="1042" y="1841"/>
                  </a:cubicBezTo>
                  <a:cubicBezTo>
                    <a:pt x="1053" y="1845"/>
                    <a:pt x="1053" y="1845"/>
                    <a:pt x="1053" y="1845"/>
                  </a:cubicBezTo>
                  <a:cubicBezTo>
                    <a:pt x="1058" y="1851"/>
                    <a:pt x="1058" y="1851"/>
                    <a:pt x="1058" y="1851"/>
                  </a:cubicBezTo>
                  <a:cubicBezTo>
                    <a:pt x="1055" y="1858"/>
                    <a:pt x="1055" y="1858"/>
                    <a:pt x="1055" y="1858"/>
                  </a:cubicBezTo>
                  <a:cubicBezTo>
                    <a:pt x="1066" y="1873"/>
                    <a:pt x="1066" y="1873"/>
                    <a:pt x="1066" y="1873"/>
                  </a:cubicBezTo>
                  <a:cubicBezTo>
                    <a:pt x="1083" y="1873"/>
                    <a:pt x="1083" y="1873"/>
                    <a:pt x="1083" y="1873"/>
                  </a:cubicBezTo>
                  <a:cubicBezTo>
                    <a:pt x="1095" y="1882"/>
                    <a:pt x="1095" y="1882"/>
                    <a:pt x="1095" y="1882"/>
                  </a:cubicBezTo>
                  <a:cubicBezTo>
                    <a:pt x="1100" y="1899"/>
                    <a:pt x="1100" y="1899"/>
                    <a:pt x="1100" y="1899"/>
                  </a:cubicBezTo>
                  <a:cubicBezTo>
                    <a:pt x="1106" y="1909"/>
                    <a:pt x="1106" y="1909"/>
                    <a:pt x="1106" y="1909"/>
                  </a:cubicBezTo>
                  <a:cubicBezTo>
                    <a:pt x="1099" y="1943"/>
                    <a:pt x="1099" y="1943"/>
                    <a:pt x="1099" y="1943"/>
                  </a:cubicBezTo>
                  <a:cubicBezTo>
                    <a:pt x="1104" y="1949"/>
                    <a:pt x="1104" y="1949"/>
                    <a:pt x="1104" y="1949"/>
                  </a:cubicBezTo>
                  <a:cubicBezTo>
                    <a:pt x="1102" y="1964"/>
                    <a:pt x="1102" y="1964"/>
                    <a:pt x="1102" y="1964"/>
                  </a:cubicBezTo>
                  <a:cubicBezTo>
                    <a:pt x="1118" y="1968"/>
                    <a:pt x="1118" y="1968"/>
                    <a:pt x="1118" y="1968"/>
                  </a:cubicBezTo>
                  <a:cubicBezTo>
                    <a:pt x="1114" y="1995"/>
                    <a:pt x="1114" y="1995"/>
                    <a:pt x="1114" y="1995"/>
                  </a:cubicBezTo>
                  <a:cubicBezTo>
                    <a:pt x="1093" y="2086"/>
                    <a:pt x="1093" y="2086"/>
                    <a:pt x="1093" y="2086"/>
                  </a:cubicBezTo>
                  <a:cubicBezTo>
                    <a:pt x="1064" y="2081"/>
                    <a:pt x="1064" y="2081"/>
                    <a:pt x="1064" y="2081"/>
                  </a:cubicBezTo>
                  <a:cubicBezTo>
                    <a:pt x="1041" y="2205"/>
                    <a:pt x="1041" y="2205"/>
                    <a:pt x="1041" y="2205"/>
                  </a:cubicBezTo>
                  <a:cubicBezTo>
                    <a:pt x="888" y="2176"/>
                    <a:pt x="888" y="2176"/>
                    <a:pt x="888" y="2176"/>
                  </a:cubicBezTo>
                  <a:cubicBezTo>
                    <a:pt x="858" y="2314"/>
                    <a:pt x="858" y="2314"/>
                    <a:pt x="858" y="2314"/>
                  </a:cubicBezTo>
                  <a:cubicBezTo>
                    <a:pt x="873" y="2320"/>
                    <a:pt x="873" y="2320"/>
                    <a:pt x="873" y="2320"/>
                  </a:cubicBezTo>
                  <a:cubicBezTo>
                    <a:pt x="881" y="2318"/>
                    <a:pt x="881" y="2318"/>
                    <a:pt x="881" y="2318"/>
                  </a:cubicBezTo>
                  <a:cubicBezTo>
                    <a:pt x="907" y="2324"/>
                    <a:pt x="907" y="2324"/>
                    <a:pt x="907" y="2324"/>
                  </a:cubicBezTo>
                  <a:cubicBezTo>
                    <a:pt x="902" y="2355"/>
                    <a:pt x="902" y="2355"/>
                    <a:pt x="902" y="2355"/>
                  </a:cubicBezTo>
                  <a:cubicBezTo>
                    <a:pt x="998" y="2378"/>
                    <a:pt x="998" y="2378"/>
                    <a:pt x="998" y="2378"/>
                  </a:cubicBezTo>
                  <a:cubicBezTo>
                    <a:pt x="992" y="2411"/>
                    <a:pt x="992" y="2411"/>
                    <a:pt x="992" y="2411"/>
                  </a:cubicBezTo>
                  <a:cubicBezTo>
                    <a:pt x="1007" y="2415"/>
                    <a:pt x="1007" y="2415"/>
                    <a:pt x="1007" y="2415"/>
                  </a:cubicBezTo>
                  <a:cubicBezTo>
                    <a:pt x="1003" y="2448"/>
                    <a:pt x="1003" y="2448"/>
                    <a:pt x="1003" y="2448"/>
                  </a:cubicBezTo>
                  <a:cubicBezTo>
                    <a:pt x="1032" y="2455"/>
                    <a:pt x="1032" y="2455"/>
                    <a:pt x="1032" y="2455"/>
                  </a:cubicBezTo>
                  <a:cubicBezTo>
                    <a:pt x="1029" y="2483"/>
                    <a:pt x="1029" y="2483"/>
                    <a:pt x="1029" y="2483"/>
                  </a:cubicBezTo>
                  <a:cubicBezTo>
                    <a:pt x="1045" y="2489"/>
                    <a:pt x="1045" y="2489"/>
                    <a:pt x="1045" y="2489"/>
                  </a:cubicBezTo>
                  <a:cubicBezTo>
                    <a:pt x="1030" y="2553"/>
                    <a:pt x="1030" y="2553"/>
                    <a:pt x="1030" y="2553"/>
                  </a:cubicBezTo>
                  <a:cubicBezTo>
                    <a:pt x="933" y="2533"/>
                    <a:pt x="933" y="2533"/>
                    <a:pt x="933" y="2533"/>
                  </a:cubicBezTo>
                  <a:cubicBezTo>
                    <a:pt x="918" y="2594"/>
                    <a:pt x="918" y="2594"/>
                    <a:pt x="918" y="2594"/>
                  </a:cubicBezTo>
                  <a:cubicBezTo>
                    <a:pt x="902" y="2594"/>
                    <a:pt x="902" y="2594"/>
                    <a:pt x="902" y="2594"/>
                  </a:cubicBezTo>
                  <a:cubicBezTo>
                    <a:pt x="875" y="2726"/>
                    <a:pt x="875" y="2726"/>
                    <a:pt x="875" y="2726"/>
                  </a:cubicBezTo>
                  <a:cubicBezTo>
                    <a:pt x="850" y="2721"/>
                    <a:pt x="850" y="2721"/>
                    <a:pt x="850" y="2721"/>
                  </a:cubicBezTo>
                  <a:cubicBezTo>
                    <a:pt x="848" y="2719"/>
                    <a:pt x="846" y="2718"/>
                    <a:pt x="842" y="2717"/>
                  </a:cubicBezTo>
                  <a:cubicBezTo>
                    <a:pt x="833" y="2715"/>
                    <a:pt x="824" y="2713"/>
                    <a:pt x="815" y="2711"/>
                  </a:cubicBezTo>
                  <a:close/>
                  <a:moveTo>
                    <a:pt x="740" y="3192"/>
                  </a:moveTo>
                  <a:cubicBezTo>
                    <a:pt x="732" y="3190"/>
                    <a:pt x="732" y="3190"/>
                    <a:pt x="734" y="3182"/>
                  </a:cubicBezTo>
                  <a:cubicBezTo>
                    <a:pt x="738" y="3158"/>
                    <a:pt x="743" y="3135"/>
                    <a:pt x="748" y="3112"/>
                  </a:cubicBezTo>
                  <a:cubicBezTo>
                    <a:pt x="752" y="3092"/>
                    <a:pt x="757" y="3072"/>
                    <a:pt x="760" y="3053"/>
                  </a:cubicBezTo>
                  <a:cubicBezTo>
                    <a:pt x="763" y="3040"/>
                    <a:pt x="765" y="3028"/>
                    <a:pt x="767" y="3015"/>
                  </a:cubicBezTo>
                  <a:cubicBezTo>
                    <a:pt x="767" y="3014"/>
                    <a:pt x="769" y="3012"/>
                    <a:pt x="769" y="3012"/>
                  </a:cubicBezTo>
                  <a:cubicBezTo>
                    <a:pt x="778" y="3015"/>
                    <a:pt x="780" y="3008"/>
                    <a:pt x="781" y="3002"/>
                  </a:cubicBezTo>
                  <a:cubicBezTo>
                    <a:pt x="782" y="2998"/>
                    <a:pt x="783" y="2997"/>
                    <a:pt x="787" y="2998"/>
                  </a:cubicBezTo>
                  <a:cubicBezTo>
                    <a:pt x="795" y="2998"/>
                    <a:pt x="796" y="2998"/>
                    <a:pt x="797" y="2990"/>
                  </a:cubicBezTo>
                  <a:cubicBezTo>
                    <a:pt x="803" y="2961"/>
                    <a:pt x="809" y="2932"/>
                    <a:pt x="814" y="2903"/>
                  </a:cubicBezTo>
                  <a:cubicBezTo>
                    <a:pt x="821" y="2868"/>
                    <a:pt x="827" y="2833"/>
                    <a:pt x="834" y="2797"/>
                  </a:cubicBezTo>
                  <a:cubicBezTo>
                    <a:pt x="835" y="2789"/>
                    <a:pt x="838" y="2781"/>
                    <a:pt x="840" y="2772"/>
                  </a:cubicBezTo>
                  <a:cubicBezTo>
                    <a:pt x="844" y="2757"/>
                    <a:pt x="847" y="2742"/>
                    <a:pt x="850" y="2726"/>
                  </a:cubicBezTo>
                  <a:cubicBezTo>
                    <a:pt x="850" y="2726"/>
                    <a:pt x="850" y="2726"/>
                    <a:pt x="850" y="2726"/>
                  </a:cubicBezTo>
                  <a:cubicBezTo>
                    <a:pt x="876" y="2730"/>
                    <a:pt x="876" y="2730"/>
                    <a:pt x="876" y="2730"/>
                  </a:cubicBezTo>
                  <a:cubicBezTo>
                    <a:pt x="919" y="2739"/>
                    <a:pt x="919" y="2739"/>
                    <a:pt x="919" y="2739"/>
                  </a:cubicBezTo>
                  <a:cubicBezTo>
                    <a:pt x="895" y="2863"/>
                    <a:pt x="895" y="2863"/>
                    <a:pt x="895" y="2863"/>
                  </a:cubicBezTo>
                  <a:cubicBezTo>
                    <a:pt x="988" y="2882"/>
                    <a:pt x="988" y="2882"/>
                    <a:pt x="988" y="2882"/>
                  </a:cubicBezTo>
                  <a:cubicBezTo>
                    <a:pt x="984" y="2911"/>
                    <a:pt x="984" y="2911"/>
                    <a:pt x="984" y="2911"/>
                  </a:cubicBezTo>
                  <a:cubicBezTo>
                    <a:pt x="1031" y="2920"/>
                    <a:pt x="1031" y="2920"/>
                    <a:pt x="1031" y="2920"/>
                  </a:cubicBezTo>
                  <a:cubicBezTo>
                    <a:pt x="1031" y="2936"/>
                    <a:pt x="1031" y="2936"/>
                    <a:pt x="1031" y="2936"/>
                  </a:cubicBezTo>
                  <a:cubicBezTo>
                    <a:pt x="1037" y="2942"/>
                    <a:pt x="1037" y="2942"/>
                    <a:pt x="1037" y="2942"/>
                  </a:cubicBezTo>
                  <a:cubicBezTo>
                    <a:pt x="1047" y="2944"/>
                    <a:pt x="1047" y="2944"/>
                    <a:pt x="1047" y="2944"/>
                  </a:cubicBezTo>
                  <a:cubicBezTo>
                    <a:pt x="1049" y="2959"/>
                    <a:pt x="1049" y="2959"/>
                    <a:pt x="1049" y="2959"/>
                  </a:cubicBezTo>
                  <a:cubicBezTo>
                    <a:pt x="1039" y="3017"/>
                    <a:pt x="1039" y="3017"/>
                    <a:pt x="1039" y="3017"/>
                  </a:cubicBezTo>
                  <a:cubicBezTo>
                    <a:pt x="1018" y="3014"/>
                    <a:pt x="1018" y="3014"/>
                    <a:pt x="1018" y="3014"/>
                  </a:cubicBezTo>
                  <a:cubicBezTo>
                    <a:pt x="1016" y="3018"/>
                    <a:pt x="1016" y="3018"/>
                    <a:pt x="1016" y="3018"/>
                  </a:cubicBezTo>
                  <a:cubicBezTo>
                    <a:pt x="968" y="3010"/>
                    <a:pt x="968" y="3010"/>
                    <a:pt x="968" y="3010"/>
                  </a:cubicBezTo>
                  <a:cubicBezTo>
                    <a:pt x="964" y="3013"/>
                    <a:pt x="964" y="3013"/>
                    <a:pt x="964" y="3013"/>
                  </a:cubicBezTo>
                  <a:cubicBezTo>
                    <a:pt x="951" y="3013"/>
                    <a:pt x="951" y="3013"/>
                    <a:pt x="951" y="3013"/>
                  </a:cubicBezTo>
                  <a:cubicBezTo>
                    <a:pt x="948" y="3021"/>
                    <a:pt x="948" y="3021"/>
                    <a:pt x="948" y="3021"/>
                  </a:cubicBezTo>
                  <a:cubicBezTo>
                    <a:pt x="958" y="3027"/>
                    <a:pt x="958" y="3027"/>
                    <a:pt x="958" y="3027"/>
                  </a:cubicBezTo>
                  <a:cubicBezTo>
                    <a:pt x="958" y="3028"/>
                    <a:pt x="958" y="3028"/>
                    <a:pt x="958" y="3028"/>
                  </a:cubicBezTo>
                  <a:cubicBezTo>
                    <a:pt x="944" y="3028"/>
                    <a:pt x="944" y="3028"/>
                    <a:pt x="944" y="3028"/>
                  </a:cubicBezTo>
                  <a:cubicBezTo>
                    <a:pt x="939" y="3041"/>
                    <a:pt x="939" y="3041"/>
                    <a:pt x="939" y="3041"/>
                  </a:cubicBezTo>
                  <a:cubicBezTo>
                    <a:pt x="921" y="3039"/>
                    <a:pt x="921" y="3039"/>
                    <a:pt x="921" y="3039"/>
                  </a:cubicBezTo>
                  <a:cubicBezTo>
                    <a:pt x="917" y="3053"/>
                    <a:pt x="917" y="3053"/>
                    <a:pt x="917" y="3053"/>
                  </a:cubicBezTo>
                  <a:cubicBezTo>
                    <a:pt x="898" y="3051"/>
                    <a:pt x="898" y="3051"/>
                    <a:pt x="898" y="3051"/>
                  </a:cubicBezTo>
                  <a:cubicBezTo>
                    <a:pt x="893" y="3082"/>
                    <a:pt x="893" y="3082"/>
                    <a:pt x="893" y="3082"/>
                  </a:cubicBezTo>
                  <a:cubicBezTo>
                    <a:pt x="872" y="3079"/>
                    <a:pt x="872" y="3079"/>
                    <a:pt x="872" y="3079"/>
                  </a:cubicBezTo>
                  <a:cubicBezTo>
                    <a:pt x="861" y="3141"/>
                    <a:pt x="861" y="3141"/>
                    <a:pt x="861" y="3141"/>
                  </a:cubicBezTo>
                  <a:cubicBezTo>
                    <a:pt x="799" y="3129"/>
                    <a:pt x="799" y="3129"/>
                    <a:pt x="799" y="3129"/>
                  </a:cubicBezTo>
                  <a:cubicBezTo>
                    <a:pt x="786" y="3201"/>
                    <a:pt x="786" y="3201"/>
                    <a:pt x="786" y="3201"/>
                  </a:cubicBezTo>
                  <a:cubicBezTo>
                    <a:pt x="771" y="3198"/>
                    <a:pt x="756" y="3195"/>
                    <a:pt x="740" y="3192"/>
                  </a:cubicBezTo>
                  <a:close/>
                  <a:moveTo>
                    <a:pt x="806" y="3205"/>
                  </a:moveTo>
                  <a:cubicBezTo>
                    <a:pt x="801" y="3203"/>
                    <a:pt x="796" y="3202"/>
                    <a:pt x="790" y="3201"/>
                  </a:cubicBezTo>
                  <a:cubicBezTo>
                    <a:pt x="803" y="3134"/>
                    <a:pt x="803" y="3134"/>
                    <a:pt x="803" y="3134"/>
                  </a:cubicBezTo>
                  <a:cubicBezTo>
                    <a:pt x="864" y="3146"/>
                    <a:pt x="864" y="3146"/>
                    <a:pt x="864" y="3146"/>
                  </a:cubicBezTo>
                  <a:cubicBezTo>
                    <a:pt x="876" y="3084"/>
                    <a:pt x="876" y="3084"/>
                    <a:pt x="876" y="3084"/>
                  </a:cubicBezTo>
                  <a:cubicBezTo>
                    <a:pt x="897" y="3086"/>
                    <a:pt x="897" y="3086"/>
                    <a:pt x="897" y="3086"/>
                  </a:cubicBezTo>
                  <a:cubicBezTo>
                    <a:pt x="902" y="3056"/>
                    <a:pt x="902" y="3056"/>
                    <a:pt x="902" y="3056"/>
                  </a:cubicBezTo>
                  <a:cubicBezTo>
                    <a:pt x="921" y="3058"/>
                    <a:pt x="921" y="3058"/>
                    <a:pt x="921" y="3058"/>
                  </a:cubicBezTo>
                  <a:cubicBezTo>
                    <a:pt x="925" y="3043"/>
                    <a:pt x="925" y="3043"/>
                    <a:pt x="925" y="3043"/>
                  </a:cubicBezTo>
                  <a:cubicBezTo>
                    <a:pt x="942" y="3045"/>
                    <a:pt x="942" y="3045"/>
                    <a:pt x="942" y="3045"/>
                  </a:cubicBezTo>
                  <a:cubicBezTo>
                    <a:pt x="947" y="3032"/>
                    <a:pt x="947" y="3032"/>
                    <a:pt x="947" y="3032"/>
                  </a:cubicBezTo>
                  <a:cubicBezTo>
                    <a:pt x="962" y="3032"/>
                    <a:pt x="962" y="3032"/>
                    <a:pt x="962" y="3032"/>
                  </a:cubicBezTo>
                  <a:cubicBezTo>
                    <a:pt x="962" y="3025"/>
                    <a:pt x="962" y="3025"/>
                    <a:pt x="962" y="3025"/>
                  </a:cubicBezTo>
                  <a:cubicBezTo>
                    <a:pt x="953" y="3019"/>
                    <a:pt x="953" y="3019"/>
                    <a:pt x="953" y="3019"/>
                  </a:cubicBezTo>
                  <a:cubicBezTo>
                    <a:pt x="954" y="3018"/>
                    <a:pt x="954" y="3018"/>
                    <a:pt x="954" y="3018"/>
                  </a:cubicBezTo>
                  <a:cubicBezTo>
                    <a:pt x="966" y="3018"/>
                    <a:pt x="966" y="3018"/>
                    <a:pt x="966" y="3018"/>
                  </a:cubicBezTo>
                  <a:cubicBezTo>
                    <a:pt x="969" y="3015"/>
                    <a:pt x="969" y="3015"/>
                    <a:pt x="969" y="3015"/>
                  </a:cubicBezTo>
                  <a:cubicBezTo>
                    <a:pt x="1018" y="3023"/>
                    <a:pt x="1018" y="3023"/>
                    <a:pt x="1018" y="3023"/>
                  </a:cubicBezTo>
                  <a:cubicBezTo>
                    <a:pt x="1020" y="3019"/>
                    <a:pt x="1020" y="3019"/>
                    <a:pt x="1020" y="3019"/>
                  </a:cubicBezTo>
                  <a:cubicBezTo>
                    <a:pt x="1042" y="3021"/>
                    <a:pt x="1042" y="3021"/>
                    <a:pt x="1042" y="3021"/>
                  </a:cubicBezTo>
                  <a:cubicBezTo>
                    <a:pt x="1053" y="2962"/>
                    <a:pt x="1053" y="2962"/>
                    <a:pt x="1053" y="2962"/>
                  </a:cubicBezTo>
                  <a:cubicBezTo>
                    <a:pt x="1134" y="2976"/>
                    <a:pt x="1134" y="2976"/>
                    <a:pt x="1134" y="2976"/>
                  </a:cubicBezTo>
                  <a:cubicBezTo>
                    <a:pt x="1113" y="3086"/>
                    <a:pt x="1113" y="3086"/>
                    <a:pt x="1113" y="3086"/>
                  </a:cubicBezTo>
                  <a:cubicBezTo>
                    <a:pt x="1115" y="3091"/>
                    <a:pt x="1115" y="3091"/>
                    <a:pt x="1115" y="3091"/>
                  </a:cubicBezTo>
                  <a:cubicBezTo>
                    <a:pt x="1166" y="3102"/>
                    <a:pt x="1166" y="3102"/>
                    <a:pt x="1166" y="3102"/>
                  </a:cubicBezTo>
                  <a:cubicBezTo>
                    <a:pt x="1163" y="3120"/>
                    <a:pt x="1163" y="3120"/>
                    <a:pt x="1163" y="3120"/>
                  </a:cubicBezTo>
                  <a:cubicBezTo>
                    <a:pt x="1153" y="3134"/>
                    <a:pt x="1153" y="3134"/>
                    <a:pt x="1153" y="3134"/>
                  </a:cubicBezTo>
                  <a:cubicBezTo>
                    <a:pt x="1151" y="3145"/>
                    <a:pt x="1151" y="3145"/>
                    <a:pt x="1151" y="3145"/>
                  </a:cubicBezTo>
                  <a:cubicBezTo>
                    <a:pt x="1143" y="3150"/>
                    <a:pt x="1143" y="3150"/>
                    <a:pt x="1143" y="3150"/>
                  </a:cubicBezTo>
                  <a:cubicBezTo>
                    <a:pt x="1132" y="3150"/>
                    <a:pt x="1132" y="3150"/>
                    <a:pt x="1132" y="3150"/>
                  </a:cubicBezTo>
                  <a:cubicBezTo>
                    <a:pt x="1120" y="3157"/>
                    <a:pt x="1120" y="3157"/>
                    <a:pt x="1120" y="3157"/>
                  </a:cubicBezTo>
                  <a:cubicBezTo>
                    <a:pt x="1115" y="3150"/>
                    <a:pt x="1115" y="3150"/>
                    <a:pt x="1115" y="3150"/>
                  </a:cubicBezTo>
                  <a:cubicBezTo>
                    <a:pt x="1103" y="3144"/>
                    <a:pt x="1103" y="3144"/>
                    <a:pt x="1103" y="3144"/>
                  </a:cubicBezTo>
                  <a:cubicBezTo>
                    <a:pt x="1103" y="3129"/>
                    <a:pt x="1103" y="3129"/>
                    <a:pt x="1103" y="3129"/>
                  </a:cubicBezTo>
                  <a:cubicBezTo>
                    <a:pt x="1079" y="3123"/>
                    <a:pt x="1079" y="3123"/>
                    <a:pt x="1079" y="3123"/>
                  </a:cubicBezTo>
                  <a:cubicBezTo>
                    <a:pt x="1071" y="3114"/>
                    <a:pt x="1071" y="3114"/>
                    <a:pt x="1071" y="3114"/>
                  </a:cubicBezTo>
                  <a:cubicBezTo>
                    <a:pt x="1062" y="3114"/>
                    <a:pt x="1062" y="3114"/>
                    <a:pt x="1062" y="3114"/>
                  </a:cubicBezTo>
                  <a:cubicBezTo>
                    <a:pt x="1058" y="3107"/>
                    <a:pt x="1058" y="3107"/>
                    <a:pt x="1058" y="3107"/>
                  </a:cubicBezTo>
                  <a:cubicBezTo>
                    <a:pt x="1050" y="3109"/>
                    <a:pt x="1050" y="3109"/>
                    <a:pt x="1050" y="3109"/>
                  </a:cubicBezTo>
                  <a:cubicBezTo>
                    <a:pt x="1047" y="3095"/>
                    <a:pt x="1047" y="3095"/>
                    <a:pt x="1047" y="3095"/>
                  </a:cubicBezTo>
                  <a:cubicBezTo>
                    <a:pt x="1029" y="3092"/>
                    <a:pt x="1029" y="3092"/>
                    <a:pt x="1029" y="3092"/>
                  </a:cubicBezTo>
                  <a:cubicBezTo>
                    <a:pt x="1027" y="3099"/>
                    <a:pt x="1027" y="3099"/>
                    <a:pt x="1027" y="3099"/>
                  </a:cubicBezTo>
                  <a:cubicBezTo>
                    <a:pt x="1004" y="3094"/>
                    <a:pt x="1004" y="3094"/>
                    <a:pt x="1004" y="3094"/>
                  </a:cubicBezTo>
                  <a:cubicBezTo>
                    <a:pt x="998" y="3126"/>
                    <a:pt x="998" y="3126"/>
                    <a:pt x="998" y="3126"/>
                  </a:cubicBezTo>
                  <a:cubicBezTo>
                    <a:pt x="1012" y="3131"/>
                    <a:pt x="1012" y="3131"/>
                    <a:pt x="1012" y="3131"/>
                  </a:cubicBezTo>
                  <a:cubicBezTo>
                    <a:pt x="1011" y="3144"/>
                    <a:pt x="1011" y="3144"/>
                    <a:pt x="1011" y="3144"/>
                  </a:cubicBezTo>
                  <a:cubicBezTo>
                    <a:pt x="1018" y="3148"/>
                    <a:pt x="1018" y="3148"/>
                    <a:pt x="1018" y="3148"/>
                  </a:cubicBezTo>
                  <a:cubicBezTo>
                    <a:pt x="1018" y="3154"/>
                    <a:pt x="1018" y="3154"/>
                    <a:pt x="1018" y="3154"/>
                  </a:cubicBezTo>
                  <a:cubicBezTo>
                    <a:pt x="1024" y="3157"/>
                    <a:pt x="1024" y="3157"/>
                    <a:pt x="1024" y="3157"/>
                  </a:cubicBezTo>
                  <a:cubicBezTo>
                    <a:pt x="1024" y="3162"/>
                    <a:pt x="1024" y="3162"/>
                    <a:pt x="1024" y="3162"/>
                  </a:cubicBezTo>
                  <a:cubicBezTo>
                    <a:pt x="1037" y="3167"/>
                    <a:pt x="1037" y="3167"/>
                    <a:pt x="1037" y="3167"/>
                  </a:cubicBezTo>
                  <a:cubicBezTo>
                    <a:pt x="1037" y="3177"/>
                    <a:pt x="1037" y="3177"/>
                    <a:pt x="1037" y="3177"/>
                  </a:cubicBezTo>
                  <a:cubicBezTo>
                    <a:pt x="1043" y="3180"/>
                    <a:pt x="1043" y="3180"/>
                    <a:pt x="1043" y="3180"/>
                  </a:cubicBezTo>
                  <a:cubicBezTo>
                    <a:pt x="1044" y="3189"/>
                    <a:pt x="1044" y="3189"/>
                    <a:pt x="1044" y="3189"/>
                  </a:cubicBezTo>
                  <a:cubicBezTo>
                    <a:pt x="1051" y="3192"/>
                    <a:pt x="1051" y="3192"/>
                    <a:pt x="1051" y="3192"/>
                  </a:cubicBezTo>
                  <a:cubicBezTo>
                    <a:pt x="1053" y="3197"/>
                    <a:pt x="1053" y="3197"/>
                    <a:pt x="1053" y="3197"/>
                  </a:cubicBezTo>
                  <a:cubicBezTo>
                    <a:pt x="1071" y="3201"/>
                    <a:pt x="1071" y="3201"/>
                    <a:pt x="1071" y="3201"/>
                  </a:cubicBezTo>
                  <a:cubicBezTo>
                    <a:pt x="1075" y="3206"/>
                    <a:pt x="1075" y="3206"/>
                    <a:pt x="1075" y="3206"/>
                  </a:cubicBezTo>
                  <a:cubicBezTo>
                    <a:pt x="1082" y="3210"/>
                    <a:pt x="1082" y="3210"/>
                    <a:pt x="1082" y="3210"/>
                  </a:cubicBezTo>
                  <a:cubicBezTo>
                    <a:pt x="1084" y="3220"/>
                    <a:pt x="1084" y="3220"/>
                    <a:pt x="1084" y="3220"/>
                  </a:cubicBezTo>
                  <a:cubicBezTo>
                    <a:pt x="1103" y="3224"/>
                    <a:pt x="1103" y="3224"/>
                    <a:pt x="1103" y="3224"/>
                  </a:cubicBezTo>
                  <a:cubicBezTo>
                    <a:pt x="1106" y="3216"/>
                    <a:pt x="1106" y="3216"/>
                    <a:pt x="1106" y="3216"/>
                  </a:cubicBezTo>
                  <a:cubicBezTo>
                    <a:pt x="1115" y="3218"/>
                    <a:pt x="1115" y="3218"/>
                    <a:pt x="1115" y="3218"/>
                  </a:cubicBezTo>
                  <a:cubicBezTo>
                    <a:pt x="1111" y="3250"/>
                    <a:pt x="1111" y="3250"/>
                    <a:pt x="1111" y="3250"/>
                  </a:cubicBezTo>
                  <a:cubicBezTo>
                    <a:pt x="1124" y="3254"/>
                    <a:pt x="1124" y="3254"/>
                    <a:pt x="1124" y="3254"/>
                  </a:cubicBezTo>
                  <a:cubicBezTo>
                    <a:pt x="1120" y="3286"/>
                    <a:pt x="1120" y="3286"/>
                    <a:pt x="1120" y="3286"/>
                  </a:cubicBezTo>
                  <a:cubicBezTo>
                    <a:pt x="1181" y="3299"/>
                    <a:pt x="1181" y="3299"/>
                    <a:pt x="1181" y="3299"/>
                  </a:cubicBezTo>
                  <a:cubicBezTo>
                    <a:pt x="1178" y="3328"/>
                    <a:pt x="1178" y="3328"/>
                    <a:pt x="1178" y="3328"/>
                  </a:cubicBezTo>
                  <a:cubicBezTo>
                    <a:pt x="1204" y="3335"/>
                    <a:pt x="1204" y="3335"/>
                    <a:pt x="1204" y="3335"/>
                  </a:cubicBezTo>
                  <a:cubicBezTo>
                    <a:pt x="1188" y="3428"/>
                    <a:pt x="1188" y="3428"/>
                    <a:pt x="1188" y="3428"/>
                  </a:cubicBezTo>
                  <a:cubicBezTo>
                    <a:pt x="1217" y="3436"/>
                    <a:pt x="1217" y="3436"/>
                    <a:pt x="1217" y="3436"/>
                  </a:cubicBezTo>
                  <a:cubicBezTo>
                    <a:pt x="1207" y="3489"/>
                    <a:pt x="1207" y="3489"/>
                    <a:pt x="1207" y="3489"/>
                  </a:cubicBezTo>
                  <a:cubicBezTo>
                    <a:pt x="1101" y="3467"/>
                    <a:pt x="1101" y="3467"/>
                    <a:pt x="1101" y="3467"/>
                  </a:cubicBezTo>
                  <a:cubicBezTo>
                    <a:pt x="1106" y="3439"/>
                    <a:pt x="1106" y="3439"/>
                    <a:pt x="1106" y="3439"/>
                  </a:cubicBezTo>
                  <a:cubicBezTo>
                    <a:pt x="1074" y="3431"/>
                    <a:pt x="1074" y="3431"/>
                    <a:pt x="1074" y="3431"/>
                  </a:cubicBezTo>
                  <a:cubicBezTo>
                    <a:pt x="1067" y="3452"/>
                    <a:pt x="1067" y="3452"/>
                    <a:pt x="1067" y="3452"/>
                  </a:cubicBezTo>
                  <a:cubicBezTo>
                    <a:pt x="1057" y="3448"/>
                    <a:pt x="1057" y="3448"/>
                    <a:pt x="1057" y="3448"/>
                  </a:cubicBezTo>
                  <a:cubicBezTo>
                    <a:pt x="1064" y="3407"/>
                    <a:pt x="1064" y="3407"/>
                    <a:pt x="1064" y="3407"/>
                  </a:cubicBezTo>
                  <a:cubicBezTo>
                    <a:pt x="1056" y="3404"/>
                    <a:pt x="1056" y="3404"/>
                    <a:pt x="1056" y="3404"/>
                  </a:cubicBezTo>
                  <a:cubicBezTo>
                    <a:pt x="1056" y="3396"/>
                    <a:pt x="1056" y="3396"/>
                    <a:pt x="1056" y="3396"/>
                  </a:cubicBezTo>
                  <a:cubicBezTo>
                    <a:pt x="1029" y="3391"/>
                    <a:pt x="1029" y="3391"/>
                    <a:pt x="1029" y="3391"/>
                  </a:cubicBezTo>
                  <a:cubicBezTo>
                    <a:pt x="1021" y="3395"/>
                    <a:pt x="1021" y="3395"/>
                    <a:pt x="1021" y="3395"/>
                  </a:cubicBezTo>
                  <a:cubicBezTo>
                    <a:pt x="1006" y="3379"/>
                    <a:pt x="1006" y="3379"/>
                    <a:pt x="1006" y="3379"/>
                  </a:cubicBezTo>
                  <a:cubicBezTo>
                    <a:pt x="999" y="3383"/>
                    <a:pt x="999" y="3383"/>
                    <a:pt x="999" y="3383"/>
                  </a:cubicBezTo>
                  <a:cubicBezTo>
                    <a:pt x="985" y="3375"/>
                    <a:pt x="985" y="3375"/>
                    <a:pt x="985" y="3375"/>
                  </a:cubicBezTo>
                  <a:cubicBezTo>
                    <a:pt x="992" y="3324"/>
                    <a:pt x="992" y="3324"/>
                    <a:pt x="992" y="3324"/>
                  </a:cubicBezTo>
                  <a:cubicBezTo>
                    <a:pt x="980" y="3321"/>
                    <a:pt x="980" y="3321"/>
                    <a:pt x="980" y="3321"/>
                  </a:cubicBezTo>
                  <a:cubicBezTo>
                    <a:pt x="980" y="3306"/>
                    <a:pt x="980" y="3306"/>
                    <a:pt x="980" y="3306"/>
                  </a:cubicBezTo>
                  <a:cubicBezTo>
                    <a:pt x="960" y="3300"/>
                    <a:pt x="960" y="3300"/>
                    <a:pt x="960" y="3300"/>
                  </a:cubicBezTo>
                  <a:cubicBezTo>
                    <a:pt x="963" y="3270"/>
                    <a:pt x="963" y="3270"/>
                    <a:pt x="963" y="3270"/>
                  </a:cubicBezTo>
                  <a:cubicBezTo>
                    <a:pt x="935" y="3263"/>
                    <a:pt x="935" y="3263"/>
                    <a:pt x="935" y="3263"/>
                  </a:cubicBezTo>
                  <a:cubicBezTo>
                    <a:pt x="935" y="3249"/>
                    <a:pt x="935" y="3249"/>
                    <a:pt x="935" y="3249"/>
                  </a:cubicBezTo>
                  <a:cubicBezTo>
                    <a:pt x="886" y="3239"/>
                    <a:pt x="886" y="3239"/>
                    <a:pt x="886" y="3239"/>
                  </a:cubicBezTo>
                  <a:cubicBezTo>
                    <a:pt x="875" y="3285"/>
                    <a:pt x="875" y="3285"/>
                    <a:pt x="875" y="3285"/>
                  </a:cubicBezTo>
                  <a:cubicBezTo>
                    <a:pt x="812" y="3272"/>
                    <a:pt x="812" y="3272"/>
                    <a:pt x="812" y="3272"/>
                  </a:cubicBezTo>
                  <a:cubicBezTo>
                    <a:pt x="815" y="3259"/>
                    <a:pt x="818" y="3247"/>
                    <a:pt x="820" y="3234"/>
                  </a:cubicBezTo>
                  <a:cubicBezTo>
                    <a:pt x="821" y="3230"/>
                    <a:pt x="821" y="3227"/>
                    <a:pt x="821" y="3223"/>
                  </a:cubicBezTo>
                  <a:cubicBezTo>
                    <a:pt x="821" y="3209"/>
                    <a:pt x="820" y="3207"/>
                    <a:pt x="806" y="3205"/>
                  </a:cubicBezTo>
                  <a:close/>
                  <a:moveTo>
                    <a:pt x="1118" y="3214"/>
                  </a:moveTo>
                  <a:cubicBezTo>
                    <a:pt x="1103" y="3211"/>
                    <a:pt x="1103" y="3211"/>
                    <a:pt x="1103" y="3211"/>
                  </a:cubicBezTo>
                  <a:cubicBezTo>
                    <a:pt x="1100" y="3219"/>
                    <a:pt x="1100" y="3219"/>
                    <a:pt x="1100" y="3219"/>
                  </a:cubicBezTo>
                  <a:cubicBezTo>
                    <a:pt x="1088" y="3216"/>
                    <a:pt x="1088" y="3216"/>
                    <a:pt x="1088" y="3216"/>
                  </a:cubicBezTo>
                  <a:cubicBezTo>
                    <a:pt x="1085" y="3207"/>
                    <a:pt x="1085" y="3207"/>
                    <a:pt x="1085" y="3207"/>
                  </a:cubicBezTo>
                  <a:cubicBezTo>
                    <a:pt x="1078" y="3202"/>
                    <a:pt x="1078" y="3202"/>
                    <a:pt x="1078" y="3202"/>
                  </a:cubicBezTo>
                  <a:cubicBezTo>
                    <a:pt x="1073" y="3197"/>
                    <a:pt x="1073" y="3197"/>
                    <a:pt x="1073" y="3197"/>
                  </a:cubicBezTo>
                  <a:cubicBezTo>
                    <a:pt x="1056" y="3194"/>
                    <a:pt x="1056" y="3194"/>
                    <a:pt x="1056" y="3194"/>
                  </a:cubicBezTo>
                  <a:cubicBezTo>
                    <a:pt x="1055" y="3189"/>
                    <a:pt x="1055" y="3189"/>
                    <a:pt x="1055" y="3189"/>
                  </a:cubicBezTo>
                  <a:cubicBezTo>
                    <a:pt x="1048" y="3186"/>
                    <a:pt x="1048" y="3186"/>
                    <a:pt x="1048" y="3186"/>
                  </a:cubicBezTo>
                  <a:cubicBezTo>
                    <a:pt x="1047" y="3177"/>
                    <a:pt x="1047" y="3177"/>
                    <a:pt x="1047" y="3177"/>
                  </a:cubicBezTo>
                  <a:cubicBezTo>
                    <a:pt x="1041" y="3174"/>
                    <a:pt x="1041" y="3174"/>
                    <a:pt x="1041" y="3174"/>
                  </a:cubicBezTo>
                  <a:cubicBezTo>
                    <a:pt x="1041" y="3164"/>
                    <a:pt x="1041" y="3164"/>
                    <a:pt x="1041" y="3164"/>
                  </a:cubicBezTo>
                  <a:cubicBezTo>
                    <a:pt x="1028" y="3159"/>
                    <a:pt x="1028" y="3159"/>
                    <a:pt x="1028" y="3159"/>
                  </a:cubicBezTo>
                  <a:cubicBezTo>
                    <a:pt x="1028" y="3154"/>
                    <a:pt x="1028" y="3154"/>
                    <a:pt x="1028" y="3154"/>
                  </a:cubicBezTo>
                  <a:cubicBezTo>
                    <a:pt x="1022" y="3151"/>
                    <a:pt x="1022" y="3151"/>
                    <a:pt x="1022" y="3151"/>
                  </a:cubicBezTo>
                  <a:cubicBezTo>
                    <a:pt x="1022" y="3146"/>
                    <a:pt x="1022" y="3146"/>
                    <a:pt x="1022" y="3146"/>
                  </a:cubicBezTo>
                  <a:cubicBezTo>
                    <a:pt x="1016" y="3142"/>
                    <a:pt x="1016" y="3142"/>
                    <a:pt x="1016" y="3142"/>
                  </a:cubicBezTo>
                  <a:cubicBezTo>
                    <a:pt x="1017" y="3128"/>
                    <a:pt x="1017" y="3128"/>
                    <a:pt x="1017" y="3128"/>
                  </a:cubicBezTo>
                  <a:cubicBezTo>
                    <a:pt x="1003" y="3123"/>
                    <a:pt x="1003" y="3123"/>
                    <a:pt x="1003" y="3123"/>
                  </a:cubicBezTo>
                  <a:cubicBezTo>
                    <a:pt x="1008" y="3100"/>
                    <a:pt x="1008" y="3100"/>
                    <a:pt x="1008" y="3100"/>
                  </a:cubicBezTo>
                  <a:cubicBezTo>
                    <a:pt x="1029" y="3105"/>
                    <a:pt x="1029" y="3105"/>
                    <a:pt x="1029" y="3105"/>
                  </a:cubicBezTo>
                  <a:cubicBezTo>
                    <a:pt x="1032" y="3097"/>
                    <a:pt x="1032" y="3097"/>
                    <a:pt x="1032" y="3097"/>
                  </a:cubicBezTo>
                  <a:cubicBezTo>
                    <a:pt x="1043" y="3099"/>
                    <a:pt x="1043" y="3099"/>
                    <a:pt x="1043" y="3099"/>
                  </a:cubicBezTo>
                  <a:cubicBezTo>
                    <a:pt x="1047" y="3114"/>
                    <a:pt x="1047" y="3114"/>
                    <a:pt x="1047" y="3114"/>
                  </a:cubicBezTo>
                  <a:cubicBezTo>
                    <a:pt x="1056" y="3112"/>
                    <a:pt x="1056" y="3112"/>
                    <a:pt x="1056" y="3112"/>
                  </a:cubicBezTo>
                  <a:cubicBezTo>
                    <a:pt x="1059" y="3119"/>
                    <a:pt x="1059" y="3119"/>
                    <a:pt x="1059" y="3119"/>
                  </a:cubicBezTo>
                  <a:cubicBezTo>
                    <a:pt x="1069" y="3119"/>
                    <a:pt x="1069" y="3119"/>
                    <a:pt x="1069" y="3119"/>
                  </a:cubicBezTo>
                  <a:cubicBezTo>
                    <a:pt x="1077" y="3127"/>
                    <a:pt x="1077" y="3127"/>
                    <a:pt x="1077" y="3127"/>
                  </a:cubicBezTo>
                  <a:cubicBezTo>
                    <a:pt x="1098" y="3133"/>
                    <a:pt x="1098" y="3133"/>
                    <a:pt x="1098" y="3133"/>
                  </a:cubicBezTo>
                  <a:cubicBezTo>
                    <a:pt x="1098" y="3147"/>
                    <a:pt x="1098" y="3147"/>
                    <a:pt x="1098" y="3147"/>
                  </a:cubicBezTo>
                  <a:cubicBezTo>
                    <a:pt x="1112" y="3154"/>
                    <a:pt x="1112" y="3154"/>
                    <a:pt x="1112" y="3154"/>
                  </a:cubicBezTo>
                  <a:cubicBezTo>
                    <a:pt x="1120" y="3163"/>
                    <a:pt x="1120" y="3163"/>
                    <a:pt x="1120" y="3163"/>
                  </a:cubicBezTo>
                  <a:cubicBezTo>
                    <a:pt x="1133" y="3154"/>
                    <a:pt x="1133" y="3154"/>
                    <a:pt x="1133" y="3154"/>
                  </a:cubicBezTo>
                  <a:cubicBezTo>
                    <a:pt x="1141" y="3154"/>
                    <a:pt x="1141" y="3154"/>
                    <a:pt x="1141" y="3154"/>
                  </a:cubicBezTo>
                  <a:cubicBezTo>
                    <a:pt x="1141" y="3163"/>
                    <a:pt x="1141" y="3163"/>
                    <a:pt x="1141" y="3163"/>
                  </a:cubicBezTo>
                  <a:cubicBezTo>
                    <a:pt x="1157" y="3174"/>
                    <a:pt x="1157" y="3174"/>
                    <a:pt x="1157" y="3174"/>
                  </a:cubicBezTo>
                  <a:cubicBezTo>
                    <a:pt x="1148" y="3220"/>
                    <a:pt x="1148" y="3220"/>
                    <a:pt x="1148" y="3220"/>
                  </a:cubicBezTo>
                  <a:lnTo>
                    <a:pt x="1118" y="3214"/>
                  </a:lnTo>
                  <a:close/>
                  <a:moveTo>
                    <a:pt x="718" y="3420"/>
                  </a:moveTo>
                  <a:cubicBezTo>
                    <a:pt x="725" y="3414"/>
                    <a:pt x="731" y="3409"/>
                    <a:pt x="738" y="3403"/>
                  </a:cubicBezTo>
                  <a:cubicBezTo>
                    <a:pt x="742" y="3399"/>
                    <a:pt x="745" y="3398"/>
                    <a:pt x="751" y="3400"/>
                  </a:cubicBezTo>
                  <a:cubicBezTo>
                    <a:pt x="758" y="3402"/>
                    <a:pt x="767" y="3404"/>
                    <a:pt x="775" y="3405"/>
                  </a:cubicBezTo>
                  <a:cubicBezTo>
                    <a:pt x="784" y="3406"/>
                    <a:pt x="786" y="3404"/>
                    <a:pt x="788" y="3395"/>
                  </a:cubicBezTo>
                  <a:cubicBezTo>
                    <a:pt x="796" y="3357"/>
                    <a:pt x="803" y="3318"/>
                    <a:pt x="811" y="3279"/>
                  </a:cubicBezTo>
                  <a:cubicBezTo>
                    <a:pt x="811" y="3278"/>
                    <a:pt x="811" y="3277"/>
                    <a:pt x="811" y="3277"/>
                  </a:cubicBezTo>
                  <a:cubicBezTo>
                    <a:pt x="879" y="3290"/>
                    <a:pt x="879" y="3290"/>
                    <a:pt x="879" y="3290"/>
                  </a:cubicBezTo>
                  <a:cubicBezTo>
                    <a:pt x="889" y="3244"/>
                    <a:pt x="889" y="3244"/>
                    <a:pt x="889" y="3244"/>
                  </a:cubicBezTo>
                  <a:cubicBezTo>
                    <a:pt x="930" y="3252"/>
                    <a:pt x="930" y="3252"/>
                    <a:pt x="930" y="3252"/>
                  </a:cubicBezTo>
                  <a:cubicBezTo>
                    <a:pt x="930" y="3266"/>
                    <a:pt x="930" y="3266"/>
                    <a:pt x="930" y="3266"/>
                  </a:cubicBezTo>
                  <a:cubicBezTo>
                    <a:pt x="958" y="3274"/>
                    <a:pt x="958" y="3274"/>
                    <a:pt x="958" y="3274"/>
                  </a:cubicBezTo>
                  <a:cubicBezTo>
                    <a:pt x="955" y="3303"/>
                    <a:pt x="955" y="3303"/>
                    <a:pt x="955" y="3303"/>
                  </a:cubicBezTo>
                  <a:cubicBezTo>
                    <a:pt x="975" y="3309"/>
                    <a:pt x="975" y="3309"/>
                    <a:pt x="975" y="3309"/>
                  </a:cubicBezTo>
                  <a:cubicBezTo>
                    <a:pt x="975" y="3324"/>
                    <a:pt x="975" y="3324"/>
                    <a:pt x="975" y="3324"/>
                  </a:cubicBezTo>
                  <a:cubicBezTo>
                    <a:pt x="988" y="3327"/>
                    <a:pt x="988" y="3327"/>
                    <a:pt x="988" y="3327"/>
                  </a:cubicBezTo>
                  <a:cubicBezTo>
                    <a:pt x="980" y="3377"/>
                    <a:pt x="980" y="3377"/>
                    <a:pt x="980" y="3377"/>
                  </a:cubicBezTo>
                  <a:cubicBezTo>
                    <a:pt x="999" y="3388"/>
                    <a:pt x="999" y="3388"/>
                    <a:pt x="999" y="3388"/>
                  </a:cubicBezTo>
                  <a:cubicBezTo>
                    <a:pt x="1005" y="3384"/>
                    <a:pt x="1005" y="3384"/>
                    <a:pt x="1005" y="3384"/>
                  </a:cubicBezTo>
                  <a:cubicBezTo>
                    <a:pt x="1019" y="3400"/>
                    <a:pt x="1019" y="3400"/>
                    <a:pt x="1019" y="3400"/>
                  </a:cubicBezTo>
                  <a:cubicBezTo>
                    <a:pt x="1030" y="3395"/>
                    <a:pt x="1030" y="3395"/>
                    <a:pt x="1030" y="3395"/>
                  </a:cubicBezTo>
                  <a:cubicBezTo>
                    <a:pt x="1051" y="3399"/>
                    <a:pt x="1051" y="3399"/>
                    <a:pt x="1051" y="3399"/>
                  </a:cubicBezTo>
                  <a:cubicBezTo>
                    <a:pt x="1051" y="3407"/>
                    <a:pt x="1051" y="3407"/>
                    <a:pt x="1051" y="3407"/>
                  </a:cubicBezTo>
                  <a:cubicBezTo>
                    <a:pt x="1059" y="3410"/>
                    <a:pt x="1059" y="3410"/>
                    <a:pt x="1059" y="3410"/>
                  </a:cubicBezTo>
                  <a:cubicBezTo>
                    <a:pt x="1052" y="3451"/>
                    <a:pt x="1052" y="3451"/>
                    <a:pt x="1052" y="3451"/>
                  </a:cubicBezTo>
                  <a:cubicBezTo>
                    <a:pt x="1069" y="3457"/>
                    <a:pt x="1069" y="3457"/>
                    <a:pt x="1069" y="3457"/>
                  </a:cubicBezTo>
                  <a:cubicBezTo>
                    <a:pt x="1077" y="3436"/>
                    <a:pt x="1077" y="3436"/>
                    <a:pt x="1077" y="3436"/>
                  </a:cubicBezTo>
                  <a:cubicBezTo>
                    <a:pt x="1101" y="3442"/>
                    <a:pt x="1101" y="3442"/>
                    <a:pt x="1101" y="3442"/>
                  </a:cubicBezTo>
                  <a:cubicBezTo>
                    <a:pt x="1097" y="3469"/>
                    <a:pt x="1097" y="3469"/>
                    <a:pt x="1097" y="3469"/>
                  </a:cubicBezTo>
                  <a:cubicBezTo>
                    <a:pt x="1083" y="3527"/>
                    <a:pt x="1083" y="3527"/>
                    <a:pt x="1083" y="3527"/>
                  </a:cubicBezTo>
                  <a:cubicBezTo>
                    <a:pt x="1038" y="3519"/>
                    <a:pt x="1038" y="3519"/>
                    <a:pt x="1038" y="3519"/>
                  </a:cubicBezTo>
                  <a:cubicBezTo>
                    <a:pt x="1026" y="3572"/>
                    <a:pt x="1026" y="3572"/>
                    <a:pt x="1026" y="3572"/>
                  </a:cubicBezTo>
                  <a:cubicBezTo>
                    <a:pt x="967" y="3562"/>
                    <a:pt x="967" y="3562"/>
                    <a:pt x="967" y="3562"/>
                  </a:cubicBezTo>
                  <a:cubicBezTo>
                    <a:pt x="978" y="3576"/>
                    <a:pt x="978" y="3576"/>
                    <a:pt x="978" y="3576"/>
                  </a:cubicBezTo>
                  <a:cubicBezTo>
                    <a:pt x="979" y="3583"/>
                    <a:pt x="979" y="3583"/>
                    <a:pt x="979" y="3583"/>
                  </a:cubicBezTo>
                  <a:cubicBezTo>
                    <a:pt x="973" y="3593"/>
                    <a:pt x="973" y="3593"/>
                    <a:pt x="973" y="3593"/>
                  </a:cubicBezTo>
                  <a:cubicBezTo>
                    <a:pt x="915" y="3584"/>
                    <a:pt x="915" y="3584"/>
                    <a:pt x="915" y="3584"/>
                  </a:cubicBezTo>
                  <a:cubicBezTo>
                    <a:pt x="909" y="3612"/>
                    <a:pt x="909" y="3612"/>
                    <a:pt x="909" y="3612"/>
                  </a:cubicBezTo>
                  <a:cubicBezTo>
                    <a:pt x="883" y="3609"/>
                    <a:pt x="883" y="3609"/>
                    <a:pt x="883" y="3609"/>
                  </a:cubicBezTo>
                  <a:cubicBezTo>
                    <a:pt x="865" y="3606"/>
                    <a:pt x="865" y="3606"/>
                    <a:pt x="865" y="3606"/>
                  </a:cubicBezTo>
                  <a:cubicBezTo>
                    <a:pt x="857" y="3600"/>
                    <a:pt x="857" y="3600"/>
                    <a:pt x="857" y="3600"/>
                  </a:cubicBezTo>
                  <a:cubicBezTo>
                    <a:pt x="844" y="3599"/>
                    <a:pt x="844" y="3599"/>
                    <a:pt x="844" y="3599"/>
                  </a:cubicBezTo>
                  <a:cubicBezTo>
                    <a:pt x="844" y="3575"/>
                    <a:pt x="844" y="3575"/>
                    <a:pt x="844" y="3575"/>
                  </a:cubicBezTo>
                  <a:cubicBezTo>
                    <a:pt x="811" y="3569"/>
                    <a:pt x="811" y="3569"/>
                    <a:pt x="811" y="3569"/>
                  </a:cubicBezTo>
                  <a:cubicBezTo>
                    <a:pt x="752" y="3448"/>
                    <a:pt x="752" y="3448"/>
                    <a:pt x="752" y="3448"/>
                  </a:cubicBezTo>
                  <a:cubicBezTo>
                    <a:pt x="718" y="3432"/>
                    <a:pt x="718" y="3432"/>
                    <a:pt x="718" y="3432"/>
                  </a:cubicBezTo>
                  <a:cubicBezTo>
                    <a:pt x="714" y="3424"/>
                    <a:pt x="714" y="3424"/>
                    <a:pt x="714" y="3424"/>
                  </a:cubicBezTo>
                  <a:cubicBezTo>
                    <a:pt x="715" y="3423"/>
                    <a:pt x="716" y="3422"/>
                    <a:pt x="718" y="3420"/>
                  </a:cubicBezTo>
                  <a:close/>
                  <a:moveTo>
                    <a:pt x="913" y="3985"/>
                  </a:moveTo>
                  <a:cubicBezTo>
                    <a:pt x="908" y="3989"/>
                    <a:pt x="904" y="3991"/>
                    <a:pt x="898" y="3990"/>
                  </a:cubicBezTo>
                  <a:cubicBezTo>
                    <a:pt x="895" y="3990"/>
                    <a:pt x="892" y="3990"/>
                    <a:pt x="889" y="3991"/>
                  </a:cubicBezTo>
                  <a:cubicBezTo>
                    <a:pt x="884" y="3991"/>
                    <a:pt x="881" y="3994"/>
                    <a:pt x="880" y="3999"/>
                  </a:cubicBezTo>
                  <a:cubicBezTo>
                    <a:pt x="876" y="4019"/>
                    <a:pt x="873" y="4038"/>
                    <a:pt x="869" y="4058"/>
                  </a:cubicBezTo>
                  <a:cubicBezTo>
                    <a:pt x="868" y="4065"/>
                    <a:pt x="869" y="4067"/>
                    <a:pt x="876" y="4070"/>
                  </a:cubicBezTo>
                  <a:cubicBezTo>
                    <a:pt x="881" y="4072"/>
                    <a:pt x="881" y="4075"/>
                    <a:pt x="880" y="4079"/>
                  </a:cubicBezTo>
                  <a:cubicBezTo>
                    <a:pt x="878" y="4087"/>
                    <a:pt x="877" y="4095"/>
                    <a:pt x="876" y="4103"/>
                  </a:cubicBezTo>
                  <a:cubicBezTo>
                    <a:pt x="875" y="4108"/>
                    <a:pt x="874" y="4113"/>
                    <a:pt x="879" y="4117"/>
                  </a:cubicBezTo>
                  <a:cubicBezTo>
                    <a:pt x="880" y="4118"/>
                    <a:pt x="880" y="4121"/>
                    <a:pt x="880" y="4122"/>
                  </a:cubicBezTo>
                  <a:cubicBezTo>
                    <a:pt x="878" y="4133"/>
                    <a:pt x="877" y="4143"/>
                    <a:pt x="875" y="4153"/>
                  </a:cubicBezTo>
                  <a:cubicBezTo>
                    <a:pt x="874" y="4156"/>
                    <a:pt x="873" y="4160"/>
                    <a:pt x="868" y="4159"/>
                  </a:cubicBezTo>
                  <a:cubicBezTo>
                    <a:pt x="867" y="4159"/>
                    <a:pt x="865" y="4160"/>
                    <a:pt x="865" y="4161"/>
                  </a:cubicBezTo>
                  <a:cubicBezTo>
                    <a:pt x="861" y="4170"/>
                    <a:pt x="854" y="4166"/>
                    <a:pt x="848" y="4166"/>
                  </a:cubicBezTo>
                  <a:cubicBezTo>
                    <a:pt x="844" y="4165"/>
                    <a:pt x="840" y="4164"/>
                    <a:pt x="836" y="4164"/>
                  </a:cubicBezTo>
                  <a:cubicBezTo>
                    <a:pt x="830" y="4162"/>
                    <a:pt x="826" y="4158"/>
                    <a:pt x="827" y="4151"/>
                  </a:cubicBezTo>
                  <a:cubicBezTo>
                    <a:pt x="830" y="4138"/>
                    <a:pt x="832" y="4125"/>
                    <a:pt x="835" y="4111"/>
                  </a:cubicBezTo>
                  <a:cubicBezTo>
                    <a:pt x="835" y="4109"/>
                    <a:pt x="836" y="4107"/>
                    <a:pt x="836" y="4105"/>
                  </a:cubicBezTo>
                  <a:cubicBezTo>
                    <a:pt x="836" y="4095"/>
                    <a:pt x="835" y="4094"/>
                    <a:pt x="825" y="4093"/>
                  </a:cubicBezTo>
                  <a:cubicBezTo>
                    <a:pt x="817" y="4091"/>
                    <a:pt x="808" y="4090"/>
                    <a:pt x="800" y="4089"/>
                  </a:cubicBezTo>
                  <a:cubicBezTo>
                    <a:pt x="795" y="4088"/>
                    <a:pt x="794" y="4087"/>
                    <a:pt x="794" y="4082"/>
                  </a:cubicBezTo>
                  <a:cubicBezTo>
                    <a:pt x="796" y="4068"/>
                    <a:pt x="793" y="4065"/>
                    <a:pt x="780" y="4064"/>
                  </a:cubicBezTo>
                  <a:cubicBezTo>
                    <a:pt x="770" y="4064"/>
                    <a:pt x="764" y="4058"/>
                    <a:pt x="757" y="4053"/>
                  </a:cubicBezTo>
                  <a:cubicBezTo>
                    <a:pt x="750" y="4049"/>
                    <a:pt x="745" y="4047"/>
                    <a:pt x="738" y="4052"/>
                  </a:cubicBezTo>
                  <a:cubicBezTo>
                    <a:pt x="737" y="4053"/>
                    <a:pt x="736" y="4053"/>
                    <a:pt x="735" y="4053"/>
                  </a:cubicBezTo>
                  <a:cubicBezTo>
                    <a:pt x="735" y="4052"/>
                    <a:pt x="734" y="4051"/>
                    <a:pt x="735" y="4049"/>
                  </a:cubicBezTo>
                  <a:cubicBezTo>
                    <a:pt x="737" y="4035"/>
                    <a:pt x="739" y="4021"/>
                    <a:pt x="742" y="4007"/>
                  </a:cubicBezTo>
                  <a:cubicBezTo>
                    <a:pt x="742" y="4004"/>
                    <a:pt x="743" y="4002"/>
                    <a:pt x="743" y="3999"/>
                  </a:cubicBezTo>
                  <a:cubicBezTo>
                    <a:pt x="743" y="3992"/>
                    <a:pt x="742" y="3989"/>
                    <a:pt x="734" y="3988"/>
                  </a:cubicBezTo>
                  <a:cubicBezTo>
                    <a:pt x="721" y="3986"/>
                    <a:pt x="707" y="3983"/>
                    <a:pt x="694" y="3982"/>
                  </a:cubicBezTo>
                  <a:cubicBezTo>
                    <a:pt x="690" y="3981"/>
                    <a:pt x="688" y="3980"/>
                    <a:pt x="686" y="3977"/>
                  </a:cubicBezTo>
                  <a:cubicBezTo>
                    <a:pt x="683" y="3973"/>
                    <a:pt x="679" y="3972"/>
                    <a:pt x="674" y="3975"/>
                  </a:cubicBezTo>
                  <a:cubicBezTo>
                    <a:pt x="672" y="3977"/>
                    <a:pt x="667" y="3977"/>
                    <a:pt x="664" y="3977"/>
                  </a:cubicBezTo>
                  <a:cubicBezTo>
                    <a:pt x="655" y="3976"/>
                    <a:pt x="645" y="3974"/>
                    <a:pt x="636" y="3973"/>
                  </a:cubicBezTo>
                  <a:cubicBezTo>
                    <a:pt x="628" y="3972"/>
                    <a:pt x="628" y="3971"/>
                    <a:pt x="628" y="3963"/>
                  </a:cubicBezTo>
                  <a:cubicBezTo>
                    <a:pt x="627" y="3946"/>
                    <a:pt x="627" y="3929"/>
                    <a:pt x="626" y="3911"/>
                  </a:cubicBezTo>
                  <a:cubicBezTo>
                    <a:pt x="626" y="3911"/>
                    <a:pt x="626" y="3911"/>
                    <a:pt x="626" y="3911"/>
                  </a:cubicBezTo>
                  <a:cubicBezTo>
                    <a:pt x="626" y="3898"/>
                    <a:pt x="626" y="3885"/>
                    <a:pt x="626" y="3871"/>
                  </a:cubicBezTo>
                  <a:cubicBezTo>
                    <a:pt x="626" y="3863"/>
                    <a:pt x="627" y="3855"/>
                    <a:pt x="622" y="3847"/>
                  </a:cubicBezTo>
                  <a:cubicBezTo>
                    <a:pt x="622" y="3847"/>
                    <a:pt x="622" y="3846"/>
                    <a:pt x="622" y="3845"/>
                  </a:cubicBezTo>
                  <a:cubicBezTo>
                    <a:pt x="622" y="3831"/>
                    <a:pt x="621" y="3818"/>
                    <a:pt x="622" y="3804"/>
                  </a:cubicBezTo>
                  <a:cubicBezTo>
                    <a:pt x="622" y="3793"/>
                    <a:pt x="627" y="3784"/>
                    <a:pt x="636" y="3777"/>
                  </a:cubicBezTo>
                  <a:cubicBezTo>
                    <a:pt x="649" y="3766"/>
                    <a:pt x="661" y="3755"/>
                    <a:pt x="673" y="3744"/>
                  </a:cubicBezTo>
                  <a:cubicBezTo>
                    <a:pt x="682" y="3735"/>
                    <a:pt x="683" y="3721"/>
                    <a:pt x="674" y="3712"/>
                  </a:cubicBezTo>
                  <a:cubicBezTo>
                    <a:pt x="670" y="3709"/>
                    <a:pt x="666" y="3705"/>
                    <a:pt x="662" y="3701"/>
                  </a:cubicBezTo>
                  <a:cubicBezTo>
                    <a:pt x="660" y="3700"/>
                    <a:pt x="658" y="3698"/>
                    <a:pt x="657" y="3698"/>
                  </a:cubicBezTo>
                  <a:cubicBezTo>
                    <a:pt x="650" y="3698"/>
                    <a:pt x="648" y="3697"/>
                    <a:pt x="651" y="3690"/>
                  </a:cubicBezTo>
                  <a:cubicBezTo>
                    <a:pt x="652" y="3689"/>
                    <a:pt x="648" y="3685"/>
                    <a:pt x="646" y="3684"/>
                  </a:cubicBezTo>
                  <a:cubicBezTo>
                    <a:pt x="642" y="3681"/>
                    <a:pt x="636" y="3680"/>
                    <a:pt x="633" y="3675"/>
                  </a:cubicBezTo>
                  <a:cubicBezTo>
                    <a:pt x="631" y="3672"/>
                    <a:pt x="627" y="3671"/>
                    <a:pt x="628" y="3666"/>
                  </a:cubicBezTo>
                  <a:cubicBezTo>
                    <a:pt x="629" y="3661"/>
                    <a:pt x="627" y="3655"/>
                    <a:pt x="632" y="3650"/>
                  </a:cubicBezTo>
                  <a:cubicBezTo>
                    <a:pt x="637" y="3647"/>
                    <a:pt x="637" y="3642"/>
                    <a:pt x="636" y="3637"/>
                  </a:cubicBezTo>
                  <a:cubicBezTo>
                    <a:pt x="628" y="3607"/>
                    <a:pt x="622" y="3577"/>
                    <a:pt x="614" y="3547"/>
                  </a:cubicBezTo>
                  <a:cubicBezTo>
                    <a:pt x="611" y="3535"/>
                    <a:pt x="611" y="3523"/>
                    <a:pt x="613" y="3512"/>
                  </a:cubicBezTo>
                  <a:cubicBezTo>
                    <a:pt x="616" y="3495"/>
                    <a:pt x="619" y="3479"/>
                    <a:pt x="621" y="3463"/>
                  </a:cubicBezTo>
                  <a:cubicBezTo>
                    <a:pt x="622" y="3457"/>
                    <a:pt x="624" y="3454"/>
                    <a:pt x="629" y="3451"/>
                  </a:cubicBezTo>
                  <a:cubicBezTo>
                    <a:pt x="650" y="3441"/>
                    <a:pt x="671" y="3430"/>
                    <a:pt x="691" y="3419"/>
                  </a:cubicBezTo>
                  <a:cubicBezTo>
                    <a:pt x="696" y="3416"/>
                    <a:pt x="699" y="3415"/>
                    <a:pt x="703" y="3420"/>
                  </a:cubicBezTo>
                  <a:cubicBezTo>
                    <a:pt x="706" y="3423"/>
                    <a:pt x="708" y="3425"/>
                    <a:pt x="709" y="3425"/>
                  </a:cubicBezTo>
                  <a:cubicBezTo>
                    <a:pt x="715" y="3436"/>
                    <a:pt x="715" y="3436"/>
                    <a:pt x="715" y="3436"/>
                  </a:cubicBezTo>
                  <a:cubicBezTo>
                    <a:pt x="748" y="3451"/>
                    <a:pt x="748" y="3451"/>
                    <a:pt x="748" y="3451"/>
                  </a:cubicBezTo>
                  <a:cubicBezTo>
                    <a:pt x="808" y="3572"/>
                    <a:pt x="808" y="3572"/>
                    <a:pt x="808" y="3572"/>
                  </a:cubicBezTo>
                  <a:cubicBezTo>
                    <a:pt x="840" y="3579"/>
                    <a:pt x="840" y="3579"/>
                    <a:pt x="840" y="3579"/>
                  </a:cubicBezTo>
                  <a:cubicBezTo>
                    <a:pt x="840" y="3603"/>
                    <a:pt x="840" y="3603"/>
                    <a:pt x="840" y="3603"/>
                  </a:cubicBezTo>
                  <a:cubicBezTo>
                    <a:pt x="856" y="3604"/>
                    <a:pt x="856" y="3604"/>
                    <a:pt x="856" y="3604"/>
                  </a:cubicBezTo>
                  <a:cubicBezTo>
                    <a:pt x="863" y="3610"/>
                    <a:pt x="863" y="3610"/>
                    <a:pt x="863" y="3610"/>
                  </a:cubicBezTo>
                  <a:cubicBezTo>
                    <a:pt x="883" y="3613"/>
                    <a:pt x="883" y="3613"/>
                    <a:pt x="883" y="3613"/>
                  </a:cubicBezTo>
                  <a:cubicBezTo>
                    <a:pt x="899" y="3615"/>
                    <a:pt x="899" y="3615"/>
                    <a:pt x="899" y="3615"/>
                  </a:cubicBezTo>
                  <a:cubicBezTo>
                    <a:pt x="895" y="3649"/>
                    <a:pt x="895" y="3649"/>
                    <a:pt x="895" y="3649"/>
                  </a:cubicBezTo>
                  <a:cubicBezTo>
                    <a:pt x="900" y="3654"/>
                    <a:pt x="900" y="3654"/>
                    <a:pt x="900" y="3654"/>
                  </a:cubicBezTo>
                  <a:cubicBezTo>
                    <a:pt x="921" y="3658"/>
                    <a:pt x="921" y="3658"/>
                    <a:pt x="921" y="3658"/>
                  </a:cubicBezTo>
                  <a:cubicBezTo>
                    <a:pt x="922" y="3683"/>
                    <a:pt x="922" y="3683"/>
                    <a:pt x="922" y="3683"/>
                  </a:cubicBezTo>
                  <a:cubicBezTo>
                    <a:pt x="1001" y="3699"/>
                    <a:pt x="1001" y="3699"/>
                    <a:pt x="1001" y="3699"/>
                  </a:cubicBezTo>
                  <a:cubicBezTo>
                    <a:pt x="991" y="3753"/>
                    <a:pt x="991" y="3753"/>
                    <a:pt x="991" y="3753"/>
                  </a:cubicBezTo>
                  <a:cubicBezTo>
                    <a:pt x="946" y="3745"/>
                    <a:pt x="946" y="3745"/>
                    <a:pt x="946" y="3745"/>
                  </a:cubicBezTo>
                  <a:cubicBezTo>
                    <a:pt x="911" y="3942"/>
                    <a:pt x="911" y="3942"/>
                    <a:pt x="911" y="3942"/>
                  </a:cubicBezTo>
                  <a:cubicBezTo>
                    <a:pt x="910" y="3943"/>
                    <a:pt x="909" y="3944"/>
                    <a:pt x="909" y="3945"/>
                  </a:cubicBezTo>
                  <a:cubicBezTo>
                    <a:pt x="901" y="3956"/>
                    <a:pt x="903" y="3972"/>
                    <a:pt x="913" y="3981"/>
                  </a:cubicBezTo>
                  <a:cubicBezTo>
                    <a:pt x="916" y="3983"/>
                    <a:pt x="914" y="3984"/>
                    <a:pt x="913" y="3985"/>
                  </a:cubicBezTo>
                  <a:close/>
                  <a:moveTo>
                    <a:pt x="1268" y="3576"/>
                  </a:moveTo>
                  <a:cubicBezTo>
                    <a:pt x="1265" y="3591"/>
                    <a:pt x="1262" y="3606"/>
                    <a:pt x="1259" y="3622"/>
                  </a:cubicBezTo>
                  <a:cubicBezTo>
                    <a:pt x="1259" y="3623"/>
                    <a:pt x="1259" y="3624"/>
                    <a:pt x="1258" y="3626"/>
                  </a:cubicBezTo>
                  <a:cubicBezTo>
                    <a:pt x="1257" y="3635"/>
                    <a:pt x="1259" y="3637"/>
                    <a:pt x="1268" y="3639"/>
                  </a:cubicBezTo>
                  <a:cubicBezTo>
                    <a:pt x="1285" y="3643"/>
                    <a:pt x="1303" y="3646"/>
                    <a:pt x="1320" y="3650"/>
                  </a:cubicBezTo>
                  <a:cubicBezTo>
                    <a:pt x="1334" y="3653"/>
                    <a:pt x="1332" y="3650"/>
                    <a:pt x="1329" y="3664"/>
                  </a:cubicBezTo>
                  <a:cubicBezTo>
                    <a:pt x="1326" y="3682"/>
                    <a:pt x="1326" y="3683"/>
                    <a:pt x="1343" y="3687"/>
                  </a:cubicBezTo>
                  <a:cubicBezTo>
                    <a:pt x="1351" y="3689"/>
                    <a:pt x="1358" y="3691"/>
                    <a:pt x="1365" y="3692"/>
                  </a:cubicBezTo>
                  <a:cubicBezTo>
                    <a:pt x="1369" y="3693"/>
                    <a:pt x="1371" y="3694"/>
                    <a:pt x="1370" y="3699"/>
                  </a:cubicBezTo>
                  <a:cubicBezTo>
                    <a:pt x="1368" y="3703"/>
                    <a:pt x="1368" y="3707"/>
                    <a:pt x="1368" y="3711"/>
                  </a:cubicBezTo>
                  <a:cubicBezTo>
                    <a:pt x="1368" y="3715"/>
                    <a:pt x="1368" y="3719"/>
                    <a:pt x="1370" y="3722"/>
                  </a:cubicBezTo>
                  <a:cubicBezTo>
                    <a:pt x="1374" y="3727"/>
                    <a:pt x="1373" y="3731"/>
                    <a:pt x="1372" y="3736"/>
                  </a:cubicBezTo>
                  <a:cubicBezTo>
                    <a:pt x="1370" y="3743"/>
                    <a:pt x="1369" y="3749"/>
                    <a:pt x="1367" y="3756"/>
                  </a:cubicBezTo>
                  <a:cubicBezTo>
                    <a:pt x="1367" y="3760"/>
                    <a:pt x="1365" y="3761"/>
                    <a:pt x="1362" y="3759"/>
                  </a:cubicBezTo>
                  <a:cubicBezTo>
                    <a:pt x="1352" y="3752"/>
                    <a:pt x="1341" y="3746"/>
                    <a:pt x="1331" y="3738"/>
                  </a:cubicBezTo>
                  <a:cubicBezTo>
                    <a:pt x="1325" y="3734"/>
                    <a:pt x="1319" y="3734"/>
                    <a:pt x="1312" y="3738"/>
                  </a:cubicBezTo>
                  <a:cubicBezTo>
                    <a:pt x="1304" y="3744"/>
                    <a:pt x="1297" y="3750"/>
                    <a:pt x="1291" y="3759"/>
                  </a:cubicBezTo>
                  <a:cubicBezTo>
                    <a:pt x="1280" y="3776"/>
                    <a:pt x="1271" y="3794"/>
                    <a:pt x="1263" y="3812"/>
                  </a:cubicBezTo>
                  <a:cubicBezTo>
                    <a:pt x="1260" y="3819"/>
                    <a:pt x="1255" y="3825"/>
                    <a:pt x="1251" y="3831"/>
                  </a:cubicBezTo>
                  <a:cubicBezTo>
                    <a:pt x="1239" y="3845"/>
                    <a:pt x="1228" y="3859"/>
                    <a:pt x="1219" y="3875"/>
                  </a:cubicBezTo>
                  <a:cubicBezTo>
                    <a:pt x="1217" y="3878"/>
                    <a:pt x="1213" y="3881"/>
                    <a:pt x="1209" y="3883"/>
                  </a:cubicBezTo>
                  <a:cubicBezTo>
                    <a:pt x="1203" y="3887"/>
                    <a:pt x="1201" y="3886"/>
                    <a:pt x="1199" y="3878"/>
                  </a:cubicBezTo>
                  <a:cubicBezTo>
                    <a:pt x="1197" y="3875"/>
                    <a:pt x="1196" y="3871"/>
                    <a:pt x="1196" y="3867"/>
                  </a:cubicBezTo>
                  <a:cubicBezTo>
                    <a:pt x="1195" y="3862"/>
                    <a:pt x="1192" y="3859"/>
                    <a:pt x="1187" y="3857"/>
                  </a:cubicBezTo>
                  <a:cubicBezTo>
                    <a:pt x="1175" y="3851"/>
                    <a:pt x="1164" y="3844"/>
                    <a:pt x="1152" y="3838"/>
                  </a:cubicBezTo>
                  <a:cubicBezTo>
                    <a:pt x="1150" y="3838"/>
                    <a:pt x="1147" y="3837"/>
                    <a:pt x="1146" y="3837"/>
                  </a:cubicBezTo>
                  <a:cubicBezTo>
                    <a:pt x="1137" y="3840"/>
                    <a:pt x="1129" y="3842"/>
                    <a:pt x="1121" y="3846"/>
                  </a:cubicBezTo>
                  <a:cubicBezTo>
                    <a:pt x="1117" y="3847"/>
                    <a:pt x="1114" y="3851"/>
                    <a:pt x="1111" y="3854"/>
                  </a:cubicBezTo>
                  <a:cubicBezTo>
                    <a:pt x="1106" y="3862"/>
                    <a:pt x="1101" y="3870"/>
                    <a:pt x="1095" y="3878"/>
                  </a:cubicBezTo>
                  <a:cubicBezTo>
                    <a:pt x="1092" y="3883"/>
                    <a:pt x="1089" y="3886"/>
                    <a:pt x="1086" y="3890"/>
                  </a:cubicBezTo>
                  <a:cubicBezTo>
                    <a:pt x="1083" y="3894"/>
                    <a:pt x="1081" y="3898"/>
                    <a:pt x="1079" y="3902"/>
                  </a:cubicBezTo>
                  <a:cubicBezTo>
                    <a:pt x="1077" y="3909"/>
                    <a:pt x="1074" y="3912"/>
                    <a:pt x="1068" y="3909"/>
                  </a:cubicBezTo>
                  <a:cubicBezTo>
                    <a:pt x="1059" y="3906"/>
                    <a:pt x="1051" y="3909"/>
                    <a:pt x="1043" y="3911"/>
                  </a:cubicBezTo>
                  <a:cubicBezTo>
                    <a:pt x="1034" y="3913"/>
                    <a:pt x="1026" y="3916"/>
                    <a:pt x="1018" y="3917"/>
                  </a:cubicBezTo>
                  <a:cubicBezTo>
                    <a:pt x="1012" y="3919"/>
                    <a:pt x="1006" y="3918"/>
                    <a:pt x="1000" y="3919"/>
                  </a:cubicBezTo>
                  <a:cubicBezTo>
                    <a:pt x="995" y="3920"/>
                    <a:pt x="991" y="3921"/>
                    <a:pt x="986" y="3922"/>
                  </a:cubicBezTo>
                  <a:cubicBezTo>
                    <a:pt x="982" y="3924"/>
                    <a:pt x="979" y="3927"/>
                    <a:pt x="975" y="3929"/>
                  </a:cubicBezTo>
                  <a:cubicBezTo>
                    <a:pt x="968" y="3932"/>
                    <a:pt x="964" y="3937"/>
                    <a:pt x="964" y="3946"/>
                  </a:cubicBezTo>
                  <a:cubicBezTo>
                    <a:pt x="963" y="3953"/>
                    <a:pt x="962" y="3953"/>
                    <a:pt x="955" y="3951"/>
                  </a:cubicBezTo>
                  <a:cubicBezTo>
                    <a:pt x="942" y="3948"/>
                    <a:pt x="929" y="3946"/>
                    <a:pt x="917" y="3942"/>
                  </a:cubicBezTo>
                  <a:cubicBezTo>
                    <a:pt x="916" y="3942"/>
                    <a:pt x="916" y="3942"/>
                    <a:pt x="916" y="3942"/>
                  </a:cubicBezTo>
                  <a:cubicBezTo>
                    <a:pt x="949" y="3750"/>
                    <a:pt x="949" y="3750"/>
                    <a:pt x="949" y="3750"/>
                  </a:cubicBezTo>
                  <a:cubicBezTo>
                    <a:pt x="994" y="3758"/>
                    <a:pt x="994" y="3758"/>
                    <a:pt x="994" y="3758"/>
                  </a:cubicBezTo>
                  <a:cubicBezTo>
                    <a:pt x="1006" y="3696"/>
                    <a:pt x="1006" y="3696"/>
                    <a:pt x="1006" y="3696"/>
                  </a:cubicBezTo>
                  <a:cubicBezTo>
                    <a:pt x="926" y="3680"/>
                    <a:pt x="926" y="3680"/>
                    <a:pt x="926" y="3680"/>
                  </a:cubicBezTo>
                  <a:cubicBezTo>
                    <a:pt x="926" y="3654"/>
                    <a:pt x="926" y="3654"/>
                    <a:pt x="926" y="3654"/>
                  </a:cubicBezTo>
                  <a:cubicBezTo>
                    <a:pt x="902" y="3650"/>
                    <a:pt x="902" y="3650"/>
                    <a:pt x="902" y="3650"/>
                  </a:cubicBezTo>
                  <a:cubicBezTo>
                    <a:pt x="900" y="3647"/>
                    <a:pt x="900" y="3647"/>
                    <a:pt x="900" y="3647"/>
                  </a:cubicBezTo>
                  <a:cubicBezTo>
                    <a:pt x="904" y="3616"/>
                    <a:pt x="904" y="3616"/>
                    <a:pt x="904" y="3616"/>
                  </a:cubicBezTo>
                  <a:cubicBezTo>
                    <a:pt x="912" y="3617"/>
                    <a:pt x="912" y="3617"/>
                    <a:pt x="912" y="3617"/>
                  </a:cubicBezTo>
                  <a:cubicBezTo>
                    <a:pt x="918" y="3589"/>
                    <a:pt x="918" y="3589"/>
                    <a:pt x="918" y="3589"/>
                  </a:cubicBezTo>
                  <a:cubicBezTo>
                    <a:pt x="975" y="3598"/>
                    <a:pt x="975" y="3598"/>
                    <a:pt x="975" y="3598"/>
                  </a:cubicBezTo>
                  <a:cubicBezTo>
                    <a:pt x="984" y="3584"/>
                    <a:pt x="984" y="3584"/>
                    <a:pt x="984" y="3584"/>
                  </a:cubicBezTo>
                  <a:cubicBezTo>
                    <a:pt x="982" y="3574"/>
                    <a:pt x="982" y="3574"/>
                    <a:pt x="982" y="3574"/>
                  </a:cubicBezTo>
                  <a:cubicBezTo>
                    <a:pt x="977" y="3568"/>
                    <a:pt x="977" y="3568"/>
                    <a:pt x="977" y="3568"/>
                  </a:cubicBezTo>
                  <a:cubicBezTo>
                    <a:pt x="1029" y="3577"/>
                    <a:pt x="1029" y="3577"/>
                    <a:pt x="1029" y="3577"/>
                  </a:cubicBezTo>
                  <a:cubicBezTo>
                    <a:pt x="1041" y="3524"/>
                    <a:pt x="1041" y="3524"/>
                    <a:pt x="1041" y="3524"/>
                  </a:cubicBezTo>
                  <a:cubicBezTo>
                    <a:pt x="1087" y="3532"/>
                    <a:pt x="1087" y="3532"/>
                    <a:pt x="1087" y="3532"/>
                  </a:cubicBezTo>
                  <a:cubicBezTo>
                    <a:pt x="1101" y="3472"/>
                    <a:pt x="1101" y="3472"/>
                    <a:pt x="1101" y="3472"/>
                  </a:cubicBezTo>
                  <a:cubicBezTo>
                    <a:pt x="1209" y="3494"/>
                    <a:pt x="1209" y="3494"/>
                    <a:pt x="1209" y="3494"/>
                  </a:cubicBezTo>
                  <a:cubicBezTo>
                    <a:pt x="1280" y="3509"/>
                    <a:pt x="1280" y="3509"/>
                    <a:pt x="1280" y="3509"/>
                  </a:cubicBezTo>
                  <a:cubicBezTo>
                    <a:pt x="1280" y="3510"/>
                    <a:pt x="1280" y="3511"/>
                    <a:pt x="1280" y="3511"/>
                  </a:cubicBezTo>
                  <a:cubicBezTo>
                    <a:pt x="1276" y="3533"/>
                    <a:pt x="1272" y="3555"/>
                    <a:pt x="1268" y="3576"/>
                  </a:cubicBezTo>
                  <a:close/>
                  <a:moveTo>
                    <a:pt x="1464" y="3473"/>
                  </a:moveTo>
                  <a:cubicBezTo>
                    <a:pt x="1464" y="3477"/>
                    <a:pt x="1463" y="3479"/>
                    <a:pt x="1458" y="3478"/>
                  </a:cubicBezTo>
                  <a:cubicBezTo>
                    <a:pt x="1439" y="3473"/>
                    <a:pt x="1419" y="3470"/>
                    <a:pt x="1400" y="3466"/>
                  </a:cubicBezTo>
                  <a:cubicBezTo>
                    <a:pt x="1391" y="3464"/>
                    <a:pt x="1389" y="3465"/>
                    <a:pt x="1386" y="3474"/>
                  </a:cubicBezTo>
                  <a:cubicBezTo>
                    <a:pt x="1383" y="3487"/>
                    <a:pt x="1381" y="3500"/>
                    <a:pt x="1377" y="3513"/>
                  </a:cubicBezTo>
                  <a:cubicBezTo>
                    <a:pt x="1375" y="3523"/>
                    <a:pt x="1375" y="3523"/>
                    <a:pt x="1366" y="3521"/>
                  </a:cubicBezTo>
                  <a:cubicBezTo>
                    <a:pt x="1344" y="3515"/>
                    <a:pt x="1322" y="3511"/>
                    <a:pt x="1300" y="3506"/>
                  </a:cubicBezTo>
                  <a:cubicBezTo>
                    <a:pt x="1296" y="3505"/>
                    <a:pt x="1293" y="3504"/>
                    <a:pt x="1289" y="3504"/>
                  </a:cubicBezTo>
                  <a:cubicBezTo>
                    <a:pt x="1287" y="3504"/>
                    <a:pt x="1285" y="3504"/>
                    <a:pt x="1283" y="3505"/>
                  </a:cubicBezTo>
                  <a:cubicBezTo>
                    <a:pt x="1212" y="3490"/>
                    <a:pt x="1212" y="3490"/>
                    <a:pt x="1212" y="3490"/>
                  </a:cubicBezTo>
                  <a:cubicBezTo>
                    <a:pt x="1222" y="3432"/>
                    <a:pt x="1222" y="3432"/>
                    <a:pt x="1222" y="3432"/>
                  </a:cubicBezTo>
                  <a:cubicBezTo>
                    <a:pt x="1193" y="3425"/>
                    <a:pt x="1193" y="3425"/>
                    <a:pt x="1193" y="3425"/>
                  </a:cubicBezTo>
                  <a:cubicBezTo>
                    <a:pt x="1209" y="3332"/>
                    <a:pt x="1209" y="3332"/>
                    <a:pt x="1209" y="3332"/>
                  </a:cubicBezTo>
                  <a:cubicBezTo>
                    <a:pt x="1182" y="3325"/>
                    <a:pt x="1182" y="3325"/>
                    <a:pt x="1182" y="3325"/>
                  </a:cubicBezTo>
                  <a:cubicBezTo>
                    <a:pt x="1186" y="3296"/>
                    <a:pt x="1186" y="3296"/>
                    <a:pt x="1186" y="3296"/>
                  </a:cubicBezTo>
                  <a:cubicBezTo>
                    <a:pt x="1125" y="3283"/>
                    <a:pt x="1125" y="3283"/>
                    <a:pt x="1125" y="3283"/>
                  </a:cubicBezTo>
                  <a:cubicBezTo>
                    <a:pt x="1129" y="3251"/>
                    <a:pt x="1129" y="3251"/>
                    <a:pt x="1129" y="3251"/>
                  </a:cubicBezTo>
                  <a:cubicBezTo>
                    <a:pt x="1116" y="3247"/>
                    <a:pt x="1116" y="3247"/>
                    <a:pt x="1116" y="3247"/>
                  </a:cubicBezTo>
                  <a:cubicBezTo>
                    <a:pt x="1120" y="3219"/>
                    <a:pt x="1120" y="3219"/>
                    <a:pt x="1120" y="3219"/>
                  </a:cubicBezTo>
                  <a:cubicBezTo>
                    <a:pt x="1152" y="3225"/>
                    <a:pt x="1152" y="3225"/>
                    <a:pt x="1152" y="3225"/>
                  </a:cubicBezTo>
                  <a:cubicBezTo>
                    <a:pt x="1162" y="3172"/>
                    <a:pt x="1162" y="3172"/>
                    <a:pt x="1162" y="3172"/>
                  </a:cubicBezTo>
                  <a:cubicBezTo>
                    <a:pt x="1145" y="3161"/>
                    <a:pt x="1145" y="3161"/>
                    <a:pt x="1145" y="3161"/>
                  </a:cubicBezTo>
                  <a:cubicBezTo>
                    <a:pt x="1146" y="3153"/>
                    <a:pt x="1146" y="3153"/>
                    <a:pt x="1146" y="3153"/>
                  </a:cubicBezTo>
                  <a:cubicBezTo>
                    <a:pt x="1155" y="3148"/>
                    <a:pt x="1155" y="3148"/>
                    <a:pt x="1155" y="3148"/>
                  </a:cubicBezTo>
                  <a:cubicBezTo>
                    <a:pt x="1157" y="3136"/>
                    <a:pt x="1157" y="3136"/>
                    <a:pt x="1157" y="3136"/>
                  </a:cubicBezTo>
                  <a:cubicBezTo>
                    <a:pt x="1167" y="3121"/>
                    <a:pt x="1167" y="3121"/>
                    <a:pt x="1167" y="3121"/>
                  </a:cubicBezTo>
                  <a:cubicBezTo>
                    <a:pt x="1170" y="3099"/>
                    <a:pt x="1170" y="3099"/>
                    <a:pt x="1170" y="3099"/>
                  </a:cubicBezTo>
                  <a:cubicBezTo>
                    <a:pt x="1118" y="3087"/>
                    <a:pt x="1118" y="3087"/>
                    <a:pt x="1118" y="3087"/>
                  </a:cubicBezTo>
                  <a:cubicBezTo>
                    <a:pt x="1118" y="3085"/>
                    <a:pt x="1118" y="3085"/>
                    <a:pt x="1118" y="3085"/>
                  </a:cubicBezTo>
                  <a:cubicBezTo>
                    <a:pt x="1139" y="2975"/>
                    <a:pt x="1139" y="2975"/>
                    <a:pt x="1139" y="2975"/>
                  </a:cubicBezTo>
                  <a:cubicBezTo>
                    <a:pt x="1143" y="2962"/>
                    <a:pt x="1143" y="2962"/>
                    <a:pt x="1143" y="2962"/>
                  </a:cubicBezTo>
                  <a:cubicBezTo>
                    <a:pt x="1139" y="2957"/>
                    <a:pt x="1139" y="2957"/>
                    <a:pt x="1139" y="2957"/>
                  </a:cubicBezTo>
                  <a:cubicBezTo>
                    <a:pt x="1148" y="2912"/>
                    <a:pt x="1148" y="2912"/>
                    <a:pt x="1148" y="2912"/>
                  </a:cubicBezTo>
                  <a:cubicBezTo>
                    <a:pt x="1156" y="2912"/>
                    <a:pt x="1156" y="2912"/>
                    <a:pt x="1156" y="2912"/>
                  </a:cubicBezTo>
                  <a:cubicBezTo>
                    <a:pt x="1169" y="2850"/>
                    <a:pt x="1169" y="2850"/>
                    <a:pt x="1169" y="2850"/>
                  </a:cubicBezTo>
                  <a:cubicBezTo>
                    <a:pt x="1154" y="2845"/>
                    <a:pt x="1154" y="2845"/>
                    <a:pt x="1154" y="2845"/>
                  </a:cubicBezTo>
                  <a:cubicBezTo>
                    <a:pt x="1168" y="2792"/>
                    <a:pt x="1168" y="2792"/>
                    <a:pt x="1168" y="2792"/>
                  </a:cubicBezTo>
                  <a:cubicBezTo>
                    <a:pt x="1185" y="2794"/>
                    <a:pt x="1185" y="2794"/>
                    <a:pt x="1185" y="2794"/>
                  </a:cubicBezTo>
                  <a:cubicBezTo>
                    <a:pt x="1191" y="2763"/>
                    <a:pt x="1191" y="2763"/>
                    <a:pt x="1191" y="2763"/>
                  </a:cubicBezTo>
                  <a:cubicBezTo>
                    <a:pt x="1254" y="2775"/>
                    <a:pt x="1254" y="2775"/>
                    <a:pt x="1254" y="2775"/>
                  </a:cubicBezTo>
                  <a:cubicBezTo>
                    <a:pt x="1257" y="2756"/>
                    <a:pt x="1257" y="2756"/>
                    <a:pt x="1257" y="2756"/>
                  </a:cubicBezTo>
                  <a:cubicBezTo>
                    <a:pt x="1260" y="2754"/>
                    <a:pt x="1260" y="2754"/>
                    <a:pt x="1260" y="2754"/>
                  </a:cubicBezTo>
                  <a:cubicBezTo>
                    <a:pt x="1396" y="2785"/>
                    <a:pt x="1396" y="2785"/>
                    <a:pt x="1396" y="2785"/>
                  </a:cubicBezTo>
                  <a:cubicBezTo>
                    <a:pt x="1415" y="2690"/>
                    <a:pt x="1415" y="2690"/>
                    <a:pt x="1415" y="2690"/>
                  </a:cubicBezTo>
                  <a:cubicBezTo>
                    <a:pt x="1542" y="2718"/>
                    <a:pt x="1542" y="2718"/>
                    <a:pt x="1542" y="2718"/>
                  </a:cubicBezTo>
                  <a:cubicBezTo>
                    <a:pt x="1602" y="2731"/>
                    <a:pt x="1602" y="2731"/>
                    <a:pt x="1602" y="2731"/>
                  </a:cubicBezTo>
                  <a:cubicBezTo>
                    <a:pt x="1589" y="2794"/>
                    <a:pt x="1589" y="2794"/>
                    <a:pt x="1589" y="2794"/>
                  </a:cubicBezTo>
                  <a:cubicBezTo>
                    <a:pt x="1606" y="2799"/>
                    <a:pt x="1606" y="2799"/>
                    <a:pt x="1606" y="2799"/>
                  </a:cubicBezTo>
                  <a:cubicBezTo>
                    <a:pt x="1594" y="2860"/>
                    <a:pt x="1594" y="2860"/>
                    <a:pt x="1594" y="2860"/>
                  </a:cubicBezTo>
                  <a:cubicBezTo>
                    <a:pt x="1609" y="2865"/>
                    <a:pt x="1609" y="2865"/>
                    <a:pt x="1609" y="2865"/>
                  </a:cubicBezTo>
                  <a:cubicBezTo>
                    <a:pt x="1597" y="2926"/>
                    <a:pt x="1597" y="2926"/>
                    <a:pt x="1597" y="2926"/>
                  </a:cubicBezTo>
                  <a:cubicBezTo>
                    <a:pt x="1612" y="2932"/>
                    <a:pt x="1612" y="2932"/>
                    <a:pt x="1612" y="2932"/>
                  </a:cubicBezTo>
                  <a:cubicBezTo>
                    <a:pt x="1607" y="2958"/>
                    <a:pt x="1607" y="2958"/>
                    <a:pt x="1607" y="2958"/>
                  </a:cubicBezTo>
                  <a:cubicBezTo>
                    <a:pt x="1591" y="2955"/>
                    <a:pt x="1591" y="2955"/>
                    <a:pt x="1591" y="2955"/>
                  </a:cubicBezTo>
                  <a:cubicBezTo>
                    <a:pt x="1585" y="2991"/>
                    <a:pt x="1585" y="2991"/>
                    <a:pt x="1585" y="2991"/>
                  </a:cubicBezTo>
                  <a:cubicBezTo>
                    <a:pt x="1599" y="2995"/>
                    <a:pt x="1599" y="2995"/>
                    <a:pt x="1599" y="2995"/>
                  </a:cubicBezTo>
                  <a:cubicBezTo>
                    <a:pt x="1593" y="3021"/>
                    <a:pt x="1593" y="3021"/>
                    <a:pt x="1593" y="3021"/>
                  </a:cubicBezTo>
                  <a:cubicBezTo>
                    <a:pt x="1586" y="3021"/>
                    <a:pt x="1586" y="3021"/>
                    <a:pt x="1586" y="3021"/>
                  </a:cubicBezTo>
                  <a:cubicBezTo>
                    <a:pt x="1580" y="3051"/>
                    <a:pt x="1580" y="3051"/>
                    <a:pt x="1580" y="3051"/>
                  </a:cubicBezTo>
                  <a:cubicBezTo>
                    <a:pt x="1571" y="3051"/>
                    <a:pt x="1571" y="3051"/>
                    <a:pt x="1571" y="3051"/>
                  </a:cubicBezTo>
                  <a:cubicBezTo>
                    <a:pt x="1567" y="3066"/>
                    <a:pt x="1567" y="3066"/>
                    <a:pt x="1567" y="3066"/>
                  </a:cubicBezTo>
                  <a:cubicBezTo>
                    <a:pt x="1552" y="3063"/>
                    <a:pt x="1552" y="3063"/>
                    <a:pt x="1552" y="3063"/>
                  </a:cubicBezTo>
                  <a:cubicBezTo>
                    <a:pt x="1549" y="3078"/>
                    <a:pt x="1549" y="3078"/>
                    <a:pt x="1549" y="3078"/>
                  </a:cubicBezTo>
                  <a:cubicBezTo>
                    <a:pt x="1526" y="3075"/>
                    <a:pt x="1526" y="3075"/>
                    <a:pt x="1526" y="3075"/>
                  </a:cubicBezTo>
                  <a:cubicBezTo>
                    <a:pt x="1520" y="3097"/>
                    <a:pt x="1520" y="3097"/>
                    <a:pt x="1520" y="3097"/>
                  </a:cubicBezTo>
                  <a:cubicBezTo>
                    <a:pt x="1493" y="3082"/>
                    <a:pt x="1493" y="3082"/>
                    <a:pt x="1493" y="3082"/>
                  </a:cubicBezTo>
                  <a:cubicBezTo>
                    <a:pt x="1474" y="3096"/>
                    <a:pt x="1474" y="3096"/>
                    <a:pt x="1474" y="3096"/>
                  </a:cubicBezTo>
                  <a:cubicBezTo>
                    <a:pt x="1486" y="3096"/>
                    <a:pt x="1486" y="3096"/>
                    <a:pt x="1486" y="3096"/>
                  </a:cubicBezTo>
                  <a:cubicBezTo>
                    <a:pt x="1486" y="3103"/>
                    <a:pt x="1486" y="3103"/>
                    <a:pt x="1486" y="3103"/>
                  </a:cubicBezTo>
                  <a:cubicBezTo>
                    <a:pt x="1499" y="3106"/>
                    <a:pt x="1499" y="3106"/>
                    <a:pt x="1499" y="3106"/>
                  </a:cubicBezTo>
                  <a:cubicBezTo>
                    <a:pt x="1503" y="3111"/>
                    <a:pt x="1503" y="3111"/>
                    <a:pt x="1503" y="3111"/>
                  </a:cubicBezTo>
                  <a:cubicBezTo>
                    <a:pt x="1495" y="3118"/>
                    <a:pt x="1495" y="3118"/>
                    <a:pt x="1495" y="3118"/>
                  </a:cubicBezTo>
                  <a:cubicBezTo>
                    <a:pt x="1506" y="3122"/>
                    <a:pt x="1506" y="3122"/>
                    <a:pt x="1506" y="3122"/>
                  </a:cubicBezTo>
                  <a:cubicBezTo>
                    <a:pt x="1504" y="3127"/>
                    <a:pt x="1504" y="3127"/>
                    <a:pt x="1504" y="3127"/>
                  </a:cubicBezTo>
                  <a:cubicBezTo>
                    <a:pt x="1496" y="3125"/>
                    <a:pt x="1496" y="3125"/>
                    <a:pt x="1496" y="3125"/>
                  </a:cubicBezTo>
                  <a:cubicBezTo>
                    <a:pt x="1495" y="3141"/>
                    <a:pt x="1495" y="3141"/>
                    <a:pt x="1495" y="3141"/>
                  </a:cubicBezTo>
                  <a:cubicBezTo>
                    <a:pt x="1501" y="3146"/>
                    <a:pt x="1501" y="3146"/>
                    <a:pt x="1501" y="3146"/>
                  </a:cubicBezTo>
                  <a:cubicBezTo>
                    <a:pt x="1498" y="3171"/>
                    <a:pt x="1498" y="3171"/>
                    <a:pt x="1498" y="3171"/>
                  </a:cubicBezTo>
                  <a:cubicBezTo>
                    <a:pt x="1510" y="3175"/>
                    <a:pt x="1510" y="3175"/>
                    <a:pt x="1510" y="3175"/>
                  </a:cubicBezTo>
                  <a:cubicBezTo>
                    <a:pt x="1499" y="3231"/>
                    <a:pt x="1499" y="3231"/>
                    <a:pt x="1499" y="3231"/>
                  </a:cubicBezTo>
                  <a:cubicBezTo>
                    <a:pt x="1424" y="3215"/>
                    <a:pt x="1424" y="3215"/>
                    <a:pt x="1424" y="3215"/>
                  </a:cubicBezTo>
                  <a:cubicBezTo>
                    <a:pt x="1411" y="3281"/>
                    <a:pt x="1411" y="3281"/>
                    <a:pt x="1411" y="3281"/>
                  </a:cubicBezTo>
                  <a:cubicBezTo>
                    <a:pt x="1454" y="3293"/>
                    <a:pt x="1454" y="3293"/>
                    <a:pt x="1454" y="3293"/>
                  </a:cubicBezTo>
                  <a:cubicBezTo>
                    <a:pt x="1450" y="3322"/>
                    <a:pt x="1450" y="3322"/>
                    <a:pt x="1450" y="3322"/>
                  </a:cubicBezTo>
                  <a:cubicBezTo>
                    <a:pt x="1465" y="3326"/>
                    <a:pt x="1465" y="3326"/>
                    <a:pt x="1465" y="3326"/>
                  </a:cubicBezTo>
                  <a:cubicBezTo>
                    <a:pt x="1450" y="3397"/>
                    <a:pt x="1450" y="3397"/>
                    <a:pt x="1450" y="3397"/>
                  </a:cubicBezTo>
                  <a:cubicBezTo>
                    <a:pt x="1447" y="3419"/>
                    <a:pt x="1447" y="3419"/>
                    <a:pt x="1447" y="3419"/>
                  </a:cubicBezTo>
                  <a:cubicBezTo>
                    <a:pt x="1474" y="3423"/>
                    <a:pt x="1474" y="3423"/>
                    <a:pt x="1474" y="3423"/>
                  </a:cubicBezTo>
                  <a:cubicBezTo>
                    <a:pt x="1473" y="3424"/>
                    <a:pt x="1473" y="3426"/>
                    <a:pt x="1472" y="3428"/>
                  </a:cubicBezTo>
                  <a:cubicBezTo>
                    <a:pt x="1469" y="3443"/>
                    <a:pt x="1467" y="3458"/>
                    <a:pt x="1464" y="3473"/>
                  </a:cubicBezTo>
                  <a:close/>
                  <a:moveTo>
                    <a:pt x="2150" y="3364"/>
                  </a:moveTo>
                  <a:cubicBezTo>
                    <a:pt x="2148" y="3374"/>
                    <a:pt x="2147" y="3375"/>
                    <a:pt x="2136" y="3373"/>
                  </a:cubicBezTo>
                  <a:cubicBezTo>
                    <a:pt x="2115" y="3368"/>
                    <a:pt x="2095" y="3362"/>
                    <a:pt x="2074" y="3357"/>
                  </a:cubicBezTo>
                  <a:cubicBezTo>
                    <a:pt x="2072" y="3356"/>
                    <a:pt x="2069" y="3356"/>
                    <a:pt x="2067" y="3355"/>
                  </a:cubicBezTo>
                  <a:cubicBezTo>
                    <a:pt x="2060" y="3354"/>
                    <a:pt x="2058" y="3354"/>
                    <a:pt x="2055" y="3361"/>
                  </a:cubicBezTo>
                  <a:cubicBezTo>
                    <a:pt x="2052" y="3373"/>
                    <a:pt x="2048" y="3385"/>
                    <a:pt x="2045" y="3397"/>
                  </a:cubicBezTo>
                  <a:cubicBezTo>
                    <a:pt x="2043" y="3403"/>
                    <a:pt x="2043" y="3410"/>
                    <a:pt x="2039" y="3413"/>
                  </a:cubicBezTo>
                  <a:cubicBezTo>
                    <a:pt x="2036" y="3415"/>
                    <a:pt x="2028" y="3412"/>
                    <a:pt x="2023" y="3411"/>
                  </a:cubicBezTo>
                  <a:cubicBezTo>
                    <a:pt x="2002" y="3406"/>
                    <a:pt x="1981" y="3401"/>
                    <a:pt x="1960" y="3396"/>
                  </a:cubicBezTo>
                  <a:cubicBezTo>
                    <a:pt x="1951" y="3394"/>
                    <a:pt x="1949" y="3395"/>
                    <a:pt x="1947" y="3404"/>
                  </a:cubicBezTo>
                  <a:cubicBezTo>
                    <a:pt x="1943" y="3419"/>
                    <a:pt x="1940" y="3434"/>
                    <a:pt x="1936" y="3449"/>
                  </a:cubicBezTo>
                  <a:cubicBezTo>
                    <a:pt x="1935" y="3455"/>
                    <a:pt x="1934" y="3456"/>
                    <a:pt x="1928" y="3455"/>
                  </a:cubicBezTo>
                  <a:cubicBezTo>
                    <a:pt x="1925" y="3454"/>
                    <a:pt x="1921" y="3454"/>
                    <a:pt x="1917" y="3453"/>
                  </a:cubicBezTo>
                  <a:cubicBezTo>
                    <a:pt x="1907" y="3451"/>
                    <a:pt x="1904" y="3453"/>
                    <a:pt x="1902" y="3462"/>
                  </a:cubicBezTo>
                  <a:cubicBezTo>
                    <a:pt x="1900" y="3472"/>
                    <a:pt x="1898" y="3482"/>
                    <a:pt x="1895" y="3492"/>
                  </a:cubicBezTo>
                  <a:cubicBezTo>
                    <a:pt x="1895" y="3495"/>
                    <a:pt x="1894" y="3498"/>
                    <a:pt x="1893" y="3502"/>
                  </a:cubicBezTo>
                  <a:cubicBezTo>
                    <a:pt x="1891" y="3510"/>
                    <a:pt x="1890" y="3511"/>
                    <a:pt x="1881" y="3509"/>
                  </a:cubicBezTo>
                  <a:cubicBezTo>
                    <a:pt x="1853" y="3502"/>
                    <a:pt x="1826" y="3496"/>
                    <a:pt x="1798" y="3489"/>
                  </a:cubicBezTo>
                  <a:cubicBezTo>
                    <a:pt x="1761" y="3481"/>
                    <a:pt x="1725" y="3473"/>
                    <a:pt x="1688" y="3464"/>
                  </a:cubicBezTo>
                  <a:cubicBezTo>
                    <a:pt x="1686" y="3464"/>
                    <a:pt x="1684" y="3464"/>
                    <a:pt x="1682" y="3463"/>
                  </a:cubicBezTo>
                  <a:cubicBezTo>
                    <a:pt x="1675" y="3463"/>
                    <a:pt x="1673" y="3464"/>
                    <a:pt x="1672" y="3471"/>
                  </a:cubicBezTo>
                  <a:cubicBezTo>
                    <a:pt x="1669" y="3485"/>
                    <a:pt x="1666" y="3499"/>
                    <a:pt x="1663" y="3514"/>
                  </a:cubicBezTo>
                  <a:cubicBezTo>
                    <a:pt x="1661" y="3522"/>
                    <a:pt x="1661" y="3522"/>
                    <a:pt x="1653" y="3521"/>
                  </a:cubicBezTo>
                  <a:cubicBezTo>
                    <a:pt x="1631" y="3516"/>
                    <a:pt x="1610" y="3510"/>
                    <a:pt x="1588" y="3506"/>
                  </a:cubicBezTo>
                  <a:cubicBezTo>
                    <a:pt x="1584" y="3505"/>
                    <a:pt x="1583" y="3503"/>
                    <a:pt x="1584" y="3499"/>
                  </a:cubicBezTo>
                  <a:cubicBezTo>
                    <a:pt x="1587" y="3485"/>
                    <a:pt x="1589" y="3470"/>
                    <a:pt x="1592" y="3456"/>
                  </a:cubicBezTo>
                  <a:cubicBezTo>
                    <a:pt x="1594" y="3445"/>
                    <a:pt x="1593" y="3443"/>
                    <a:pt x="1583" y="3440"/>
                  </a:cubicBezTo>
                  <a:cubicBezTo>
                    <a:pt x="1559" y="3435"/>
                    <a:pt x="1535" y="3430"/>
                    <a:pt x="1511" y="3425"/>
                  </a:cubicBezTo>
                  <a:cubicBezTo>
                    <a:pt x="1502" y="3423"/>
                    <a:pt x="1493" y="3421"/>
                    <a:pt x="1484" y="3419"/>
                  </a:cubicBezTo>
                  <a:cubicBezTo>
                    <a:pt x="1480" y="3419"/>
                    <a:pt x="1478" y="3419"/>
                    <a:pt x="1477" y="3419"/>
                  </a:cubicBezTo>
                  <a:cubicBezTo>
                    <a:pt x="1452" y="3415"/>
                    <a:pt x="1452" y="3415"/>
                    <a:pt x="1452" y="3415"/>
                  </a:cubicBezTo>
                  <a:cubicBezTo>
                    <a:pt x="1454" y="3398"/>
                    <a:pt x="1454" y="3398"/>
                    <a:pt x="1454" y="3398"/>
                  </a:cubicBezTo>
                  <a:cubicBezTo>
                    <a:pt x="1470" y="3323"/>
                    <a:pt x="1470" y="3323"/>
                    <a:pt x="1470" y="3323"/>
                  </a:cubicBezTo>
                  <a:cubicBezTo>
                    <a:pt x="1455" y="3319"/>
                    <a:pt x="1455" y="3319"/>
                    <a:pt x="1455" y="3319"/>
                  </a:cubicBezTo>
                  <a:cubicBezTo>
                    <a:pt x="1459" y="3290"/>
                    <a:pt x="1459" y="3290"/>
                    <a:pt x="1459" y="3290"/>
                  </a:cubicBezTo>
                  <a:cubicBezTo>
                    <a:pt x="1416" y="3278"/>
                    <a:pt x="1416" y="3278"/>
                    <a:pt x="1416" y="3278"/>
                  </a:cubicBezTo>
                  <a:cubicBezTo>
                    <a:pt x="1428" y="3220"/>
                    <a:pt x="1428" y="3220"/>
                    <a:pt x="1428" y="3220"/>
                  </a:cubicBezTo>
                  <a:cubicBezTo>
                    <a:pt x="1503" y="3236"/>
                    <a:pt x="1503" y="3236"/>
                    <a:pt x="1503" y="3236"/>
                  </a:cubicBezTo>
                  <a:cubicBezTo>
                    <a:pt x="1515" y="3172"/>
                    <a:pt x="1515" y="3172"/>
                    <a:pt x="1515" y="3172"/>
                  </a:cubicBezTo>
                  <a:cubicBezTo>
                    <a:pt x="1502" y="3168"/>
                    <a:pt x="1502" y="3168"/>
                    <a:pt x="1502" y="3168"/>
                  </a:cubicBezTo>
                  <a:cubicBezTo>
                    <a:pt x="1506" y="3144"/>
                    <a:pt x="1506" y="3144"/>
                    <a:pt x="1506" y="3144"/>
                  </a:cubicBezTo>
                  <a:cubicBezTo>
                    <a:pt x="1499" y="3139"/>
                    <a:pt x="1499" y="3139"/>
                    <a:pt x="1499" y="3139"/>
                  </a:cubicBezTo>
                  <a:cubicBezTo>
                    <a:pt x="1500" y="3130"/>
                    <a:pt x="1500" y="3130"/>
                    <a:pt x="1500" y="3130"/>
                  </a:cubicBezTo>
                  <a:cubicBezTo>
                    <a:pt x="1507" y="3131"/>
                    <a:pt x="1507" y="3131"/>
                    <a:pt x="1507" y="3131"/>
                  </a:cubicBezTo>
                  <a:cubicBezTo>
                    <a:pt x="1512" y="3119"/>
                    <a:pt x="1512" y="3119"/>
                    <a:pt x="1512" y="3119"/>
                  </a:cubicBezTo>
                  <a:cubicBezTo>
                    <a:pt x="1503" y="3117"/>
                    <a:pt x="1503" y="3117"/>
                    <a:pt x="1503" y="3117"/>
                  </a:cubicBezTo>
                  <a:cubicBezTo>
                    <a:pt x="1509" y="3112"/>
                    <a:pt x="1509" y="3112"/>
                    <a:pt x="1509" y="3112"/>
                  </a:cubicBezTo>
                  <a:cubicBezTo>
                    <a:pt x="1502" y="3102"/>
                    <a:pt x="1502" y="3102"/>
                    <a:pt x="1502" y="3102"/>
                  </a:cubicBezTo>
                  <a:cubicBezTo>
                    <a:pt x="1491" y="3099"/>
                    <a:pt x="1491" y="3099"/>
                    <a:pt x="1491" y="3099"/>
                  </a:cubicBezTo>
                  <a:cubicBezTo>
                    <a:pt x="1490" y="3091"/>
                    <a:pt x="1490" y="3091"/>
                    <a:pt x="1490" y="3091"/>
                  </a:cubicBezTo>
                  <a:cubicBezTo>
                    <a:pt x="1487" y="3091"/>
                    <a:pt x="1487" y="3091"/>
                    <a:pt x="1487" y="3091"/>
                  </a:cubicBezTo>
                  <a:cubicBezTo>
                    <a:pt x="1493" y="3087"/>
                    <a:pt x="1493" y="3087"/>
                    <a:pt x="1493" y="3087"/>
                  </a:cubicBezTo>
                  <a:cubicBezTo>
                    <a:pt x="1523" y="3103"/>
                    <a:pt x="1523" y="3103"/>
                    <a:pt x="1523" y="3103"/>
                  </a:cubicBezTo>
                  <a:cubicBezTo>
                    <a:pt x="1529" y="3080"/>
                    <a:pt x="1529" y="3080"/>
                    <a:pt x="1529" y="3080"/>
                  </a:cubicBezTo>
                  <a:cubicBezTo>
                    <a:pt x="1552" y="3083"/>
                    <a:pt x="1552" y="3083"/>
                    <a:pt x="1552" y="3083"/>
                  </a:cubicBezTo>
                  <a:cubicBezTo>
                    <a:pt x="1555" y="3068"/>
                    <a:pt x="1555" y="3068"/>
                    <a:pt x="1555" y="3068"/>
                  </a:cubicBezTo>
                  <a:cubicBezTo>
                    <a:pt x="1570" y="3071"/>
                    <a:pt x="1570" y="3071"/>
                    <a:pt x="1570" y="3071"/>
                  </a:cubicBezTo>
                  <a:cubicBezTo>
                    <a:pt x="1575" y="3055"/>
                    <a:pt x="1575" y="3055"/>
                    <a:pt x="1575" y="3055"/>
                  </a:cubicBezTo>
                  <a:cubicBezTo>
                    <a:pt x="1584" y="3055"/>
                    <a:pt x="1584" y="3055"/>
                    <a:pt x="1584" y="3055"/>
                  </a:cubicBezTo>
                  <a:cubicBezTo>
                    <a:pt x="1590" y="3026"/>
                    <a:pt x="1590" y="3026"/>
                    <a:pt x="1590" y="3026"/>
                  </a:cubicBezTo>
                  <a:cubicBezTo>
                    <a:pt x="1597" y="3026"/>
                    <a:pt x="1597" y="3026"/>
                    <a:pt x="1597" y="3026"/>
                  </a:cubicBezTo>
                  <a:cubicBezTo>
                    <a:pt x="1604" y="2992"/>
                    <a:pt x="1604" y="2992"/>
                    <a:pt x="1604" y="2992"/>
                  </a:cubicBezTo>
                  <a:cubicBezTo>
                    <a:pt x="1590" y="2988"/>
                    <a:pt x="1590" y="2988"/>
                    <a:pt x="1590" y="2988"/>
                  </a:cubicBezTo>
                  <a:cubicBezTo>
                    <a:pt x="1594" y="2960"/>
                    <a:pt x="1594" y="2960"/>
                    <a:pt x="1594" y="2960"/>
                  </a:cubicBezTo>
                  <a:cubicBezTo>
                    <a:pt x="1610" y="2963"/>
                    <a:pt x="1610" y="2963"/>
                    <a:pt x="1610" y="2963"/>
                  </a:cubicBezTo>
                  <a:cubicBezTo>
                    <a:pt x="1617" y="2929"/>
                    <a:pt x="1617" y="2929"/>
                    <a:pt x="1617" y="2929"/>
                  </a:cubicBezTo>
                  <a:cubicBezTo>
                    <a:pt x="1602" y="2924"/>
                    <a:pt x="1602" y="2924"/>
                    <a:pt x="1602" y="2924"/>
                  </a:cubicBezTo>
                  <a:cubicBezTo>
                    <a:pt x="1614" y="2862"/>
                    <a:pt x="1614" y="2862"/>
                    <a:pt x="1614" y="2862"/>
                  </a:cubicBezTo>
                  <a:cubicBezTo>
                    <a:pt x="1599" y="2857"/>
                    <a:pt x="1599" y="2857"/>
                    <a:pt x="1599" y="2857"/>
                  </a:cubicBezTo>
                  <a:cubicBezTo>
                    <a:pt x="1611" y="2795"/>
                    <a:pt x="1611" y="2795"/>
                    <a:pt x="1611" y="2795"/>
                  </a:cubicBezTo>
                  <a:cubicBezTo>
                    <a:pt x="1594" y="2791"/>
                    <a:pt x="1594" y="2791"/>
                    <a:pt x="1594" y="2791"/>
                  </a:cubicBezTo>
                  <a:cubicBezTo>
                    <a:pt x="1606" y="2732"/>
                    <a:pt x="1606" y="2732"/>
                    <a:pt x="1606" y="2732"/>
                  </a:cubicBezTo>
                  <a:cubicBezTo>
                    <a:pt x="1615" y="2730"/>
                    <a:pt x="1615" y="2730"/>
                    <a:pt x="1615" y="2730"/>
                  </a:cubicBezTo>
                  <a:cubicBezTo>
                    <a:pt x="1901" y="2800"/>
                    <a:pt x="1901" y="2800"/>
                    <a:pt x="1901" y="2800"/>
                  </a:cubicBezTo>
                  <a:cubicBezTo>
                    <a:pt x="1922" y="2803"/>
                    <a:pt x="1922" y="2803"/>
                    <a:pt x="1922" y="2803"/>
                  </a:cubicBezTo>
                  <a:cubicBezTo>
                    <a:pt x="1938" y="2803"/>
                    <a:pt x="1938" y="2803"/>
                    <a:pt x="1938" y="2803"/>
                  </a:cubicBezTo>
                  <a:cubicBezTo>
                    <a:pt x="1994" y="2813"/>
                    <a:pt x="1994" y="2813"/>
                    <a:pt x="1994" y="2813"/>
                  </a:cubicBezTo>
                  <a:cubicBezTo>
                    <a:pt x="1944" y="2939"/>
                    <a:pt x="1944" y="2939"/>
                    <a:pt x="1944" y="2939"/>
                  </a:cubicBezTo>
                  <a:cubicBezTo>
                    <a:pt x="2006" y="3023"/>
                    <a:pt x="2006" y="3023"/>
                    <a:pt x="2006" y="3023"/>
                  </a:cubicBezTo>
                  <a:cubicBezTo>
                    <a:pt x="1981" y="3062"/>
                    <a:pt x="1981" y="3062"/>
                    <a:pt x="1981" y="3062"/>
                  </a:cubicBezTo>
                  <a:cubicBezTo>
                    <a:pt x="2003" y="3100"/>
                    <a:pt x="2003" y="3100"/>
                    <a:pt x="2003" y="3100"/>
                  </a:cubicBezTo>
                  <a:cubicBezTo>
                    <a:pt x="2041" y="3076"/>
                    <a:pt x="2041" y="3076"/>
                    <a:pt x="2041" y="3076"/>
                  </a:cubicBezTo>
                  <a:cubicBezTo>
                    <a:pt x="2156" y="3179"/>
                    <a:pt x="2156" y="3179"/>
                    <a:pt x="2156" y="3179"/>
                  </a:cubicBezTo>
                  <a:cubicBezTo>
                    <a:pt x="2129" y="3289"/>
                    <a:pt x="2129" y="3289"/>
                    <a:pt x="2129" y="3289"/>
                  </a:cubicBezTo>
                  <a:cubicBezTo>
                    <a:pt x="2153" y="3333"/>
                    <a:pt x="2153" y="3333"/>
                    <a:pt x="2153" y="3333"/>
                  </a:cubicBezTo>
                  <a:cubicBezTo>
                    <a:pt x="2153" y="3334"/>
                    <a:pt x="2153" y="3335"/>
                    <a:pt x="2153" y="3336"/>
                  </a:cubicBezTo>
                  <a:cubicBezTo>
                    <a:pt x="2156" y="3346"/>
                    <a:pt x="2152" y="3355"/>
                    <a:pt x="2150" y="3364"/>
                  </a:cubicBezTo>
                  <a:close/>
                  <a:moveTo>
                    <a:pt x="2741" y="2645"/>
                  </a:moveTo>
                  <a:cubicBezTo>
                    <a:pt x="2744" y="2651"/>
                    <a:pt x="2749" y="2656"/>
                    <a:pt x="2758" y="2656"/>
                  </a:cubicBezTo>
                  <a:cubicBezTo>
                    <a:pt x="2761" y="2656"/>
                    <a:pt x="2765" y="2661"/>
                    <a:pt x="2769" y="2664"/>
                  </a:cubicBezTo>
                  <a:cubicBezTo>
                    <a:pt x="2774" y="2667"/>
                    <a:pt x="2771" y="2671"/>
                    <a:pt x="2770" y="2675"/>
                  </a:cubicBezTo>
                  <a:cubicBezTo>
                    <a:pt x="2769" y="2680"/>
                    <a:pt x="2769" y="2686"/>
                    <a:pt x="2768" y="2692"/>
                  </a:cubicBezTo>
                  <a:cubicBezTo>
                    <a:pt x="2768" y="2698"/>
                    <a:pt x="2768" y="2703"/>
                    <a:pt x="2767" y="2709"/>
                  </a:cubicBezTo>
                  <a:cubicBezTo>
                    <a:pt x="2767" y="2716"/>
                    <a:pt x="2766" y="2721"/>
                    <a:pt x="2759" y="2724"/>
                  </a:cubicBezTo>
                  <a:cubicBezTo>
                    <a:pt x="2753" y="2726"/>
                    <a:pt x="2753" y="2731"/>
                    <a:pt x="2756" y="2737"/>
                  </a:cubicBezTo>
                  <a:cubicBezTo>
                    <a:pt x="2759" y="2744"/>
                    <a:pt x="2760" y="2752"/>
                    <a:pt x="2762" y="2759"/>
                  </a:cubicBezTo>
                  <a:cubicBezTo>
                    <a:pt x="2763" y="2763"/>
                    <a:pt x="2763" y="2767"/>
                    <a:pt x="2764" y="2771"/>
                  </a:cubicBezTo>
                  <a:cubicBezTo>
                    <a:pt x="2765" y="2773"/>
                    <a:pt x="2765" y="2776"/>
                    <a:pt x="2766" y="2779"/>
                  </a:cubicBezTo>
                  <a:cubicBezTo>
                    <a:pt x="2767" y="2782"/>
                    <a:pt x="2767" y="2787"/>
                    <a:pt x="2769" y="2789"/>
                  </a:cubicBezTo>
                  <a:cubicBezTo>
                    <a:pt x="2774" y="2793"/>
                    <a:pt x="2773" y="2798"/>
                    <a:pt x="2771" y="2802"/>
                  </a:cubicBezTo>
                  <a:cubicBezTo>
                    <a:pt x="2768" y="2813"/>
                    <a:pt x="2770" y="2816"/>
                    <a:pt x="2780" y="2818"/>
                  </a:cubicBezTo>
                  <a:cubicBezTo>
                    <a:pt x="2784" y="2819"/>
                    <a:pt x="2787" y="2821"/>
                    <a:pt x="2790" y="2822"/>
                  </a:cubicBezTo>
                  <a:cubicBezTo>
                    <a:pt x="2792" y="2823"/>
                    <a:pt x="2793" y="2824"/>
                    <a:pt x="2795" y="2824"/>
                  </a:cubicBezTo>
                  <a:cubicBezTo>
                    <a:pt x="2798" y="2825"/>
                    <a:pt x="2803" y="2825"/>
                    <a:pt x="2803" y="2827"/>
                  </a:cubicBezTo>
                  <a:cubicBezTo>
                    <a:pt x="2805" y="2830"/>
                    <a:pt x="2803" y="2834"/>
                    <a:pt x="2803" y="2837"/>
                  </a:cubicBezTo>
                  <a:cubicBezTo>
                    <a:pt x="2803" y="2843"/>
                    <a:pt x="2802" y="2848"/>
                    <a:pt x="2802" y="2853"/>
                  </a:cubicBezTo>
                  <a:cubicBezTo>
                    <a:pt x="2801" y="2856"/>
                    <a:pt x="2801" y="2859"/>
                    <a:pt x="2800" y="2861"/>
                  </a:cubicBezTo>
                  <a:cubicBezTo>
                    <a:pt x="2797" y="2868"/>
                    <a:pt x="2796" y="2874"/>
                    <a:pt x="2801" y="2879"/>
                  </a:cubicBezTo>
                  <a:cubicBezTo>
                    <a:pt x="2805" y="2883"/>
                    <a:pt x="2804" y="2886"/>
                    <a:pt x="2801" y="2890"/>
                  </a:cubicBezTo>
                  <a:cubicBezTo>
                    <a:pt x="2798" y="2893"/>
                    <a:pt x="2797" y="2896"/>
                    <a:pt x="2795" y="2900"/>
                  </a:cubicBezTo>
                  <a:cubicBezTo>
                    <a:pt x="2794" y="2901"/>
                    <a:pt x="2793" y="2903"/>
                    <a:pt x="2792" y="2903"/>
                  </a:cubicBezTo>
                  <a:cubicBezTo>
                    <a:pt x="2783" y="2906"/>
                    <a:pt x="2784" y="2915"/>
                    <a:pt x="2779" y="2920"/>
                  </a:cubicBezTo>
                  <a:cubicBezTo>
                    <a:pt x="2783" y="2931"/>
                    <a:pt x="2778" y="2939"/>
                    <a:pt x="2772" y="2948"/>
                  </a:cubicBezTo>
                  <a:cubicBezTo>
                    <a:pt x="2769" y="2952"/>
                    <a:pt x="2770" y="2958"/>
                    <a:pt x="2768" y="2963"/>
                  </a:cubicBezTo>
                  <a:cubicBezTo>
                    <a:pt x="2767" y="2968"/>
                    <a:pt x="2764" y="2972"/>
                    <a:pt x="2762" y="2977"/>
                  </a:cubicBezTo>
                  <a:cubicBezTo>
                    <a:pt x="2761" y="2980"/>
                    <a:pt x="2761" y="2982"/>
                    <a:pt x="2760" y="2985"/>
                  </a:cubicBezTo>
                  <a:cubicBezTo>
                    <a:pt x="2760" y="2989"/>
                    <a:pt x="2761" y="2992"/>
                    <a:pt x="2760" y="2996"/>
                  </a:cubicBezTo>
                  <a:cubicBezTo>
                    <a:pt x="2760" y="3002"/>
                    <a:pt x="2760" y="3008"/>
                    <a:pt x="2764" y="3013"/>
                  </a:cubicBezTo>
                  <a:cubicBezTo>
                    <a:pt x="2766" y="3015"/>
                    <a:pt x="2766" y="3019"/>
                    <a:pt x="2767" y="3022"/>
                  </a:cubicBezTo>
                  <a:cubicBezTo>
                    <a:pt x="2768" y="3031"/>
                    <a:pt x="2768" y="3040"/>
                    <a:pt x="2769" y="3049"/>
                  </a:cubicBezTo>
                  <a:cubicBezTo>
                    <a:pt x="2769" y="3051"/>
                    <a:pt x="2770" y="3054"/>
                    <a:pt x="2772" y="3055"/>
                  </a:cubicBezTo>
                  <a:cubicBezTo>
                    <a:pt x="2777" y="3063"/>
                    <a:pt x="2777" y="3067"/>
                    <a:pt x="2771" y="3073"/>
                  </a:cubicBezTo>
                  <a:cubicBezTo>
                    <a:pt x="2766" y="3079"/>
                    <a:pt x="2759" y="3083"/>
                    <a:pt x="2759" y="3092"/>
                  </a:cubicBezTo>
                  <a:cubicBezTo>
                    <a:pt x="2759" y="3093"/>
                    <a:pt x="2757" y="3095"/>
                    <a:pt x="2756" y="3096"/>
                  </a:cubicBezTo>
                  <a:cubicBezTo>
                    <a:pt x="2746" y="3107"/>
                    <a:pt x="2744" y="3120"/>
                    <a:pt x="2745" y="3134"/>
                  </a:cubicBezTo>
                  <a:cubicBezTo>
                    <a:pt x="2745" y="3143"/>
                    <a:pt x="2751" y="3147"/>
                    <a:pt x="2757" y="3151"/>
                  </a:cubicBezTo>
                  <a:cubicBezTo>
                    <a:pt x="2762" y="3154"/>
                    <a:pt x="2762" y="3156"/>
                    <a:pt x="2759" y="3160"/>
                  </a:cubicBezTo>
                  <a:cubicBezTo>
                    <a:pt x="2754" y="3166"/>
                    <a:pt x="2750" y="3173"/>
                    <a:pt x="2749" y="3181"/>
                  </a:cubicBezTo>
                  <a:cubicBezTo>
                    <a:pt x="2749" y="3183"/>
                    <a:pt x="2748" y="3184"/>
                    <a:pt x="2747" y="3185"/>
                  </a:cubicBezTo>
                  <a:cubicBezTo>
                    <a:pt x="2744" y="3187"/>
                    <a:pt x="2742" y="3190"/>
                    <a:pt x="2739" y="3192"/>
                  </a:cubicBezTo>
                  <a:cubicBezTo>
                    <a:pt x="2738" y="3193"/>
                    <a:pt x="2735" y="3194"/>
                    <a:pt x="2734" y="3194"/>
                  </a:cubicBezTo>
                  <a:cubicBezTo>
                    <a:pt x="2727" y="3190"/>
                    <a:pt x="2721" y="3195"/>
                    <a:pt x="2716" y="3198"/>
                  </a:cubicBezTo>
                  <a:cubicBezTo>
                    <a:pt x="2711" y="3200"/>
                    <a:pt x="2709" y="3206"/>
                    <a:pt x="2706" y="3211"/>
                  </a:cubicBezTo>
                  <a:cubicBezTo>
                    <a:pt x="2700" y="3218"/>
                    <a:pt x="2696" y="3227"/>
                    <a:pt x="2690" y="3233"/>
                  </a:cubicBezTo>
                  <a:cubicBezTo>
                    <a:pt x="2687" y="3236"/>
                    <a:pt x="2681" y="3236"/>
                    <a:pt x="2677" y="3237"/>
                  </a:cubicBezTo>
                  <a:cubicBezTo>
                    <a:pt x="2671" y="3239"/>
                    <a:pt x="2664" y="3240"/>
                    <a:pt x="2658" y="3242"/>
                  </a:cubicBezTo>
                  <a:cubicBezTo>
                    <a:pt x="2656" y="3243"/>
                    <a:pt x="2654" y="3244"/>
                    <a:pt x="2653" y="3245"/>
                  </a:cubicBezTo>
                  <a:cubicBezTo>
                    <a:pt x="2651" y="3252"/>
                    <a:pt x="2646" y="3252"/>
                    <a:pt x="2640" y="3252"/>
                  </a:cubicBezTo>
                  <a:cubicBezTo>
                    <a:pt x="2629" y="3252"/>
                    <a:pt x="2618" y="3252"/>
                    <a:pt x="2607" y="3252"/>
                  </a:cubicBezTo>
                  <a:cubicBezTo>
                    <a:pt x="2537" y="3251"/>
                    <a:pt x="2467" y="3250"/>
                    <a:pt x="2397" y="3250"/>
                  </a:cubicBezTo>
                  <a:cubicBezTo>
                    <a:pt x="2371" y="3250"/>
                    <a:pt x="2345" y="3250"/>
                    <a:pt x="2319" y="3250"/>
                  </a:cubicBezTo>
                  <a:cubicBezTo>
                    <a:pt x="2314" y="3250"/>
                    <a:pt x="2308" y="3249"/>
                    <a:pt x="2305" y="3256"/>
                  </a:cubicBezTo>
                  <a:cubicBezTo>
                    <a:pt x="2304" y="3260"/>
                    <a:pt x="2300" y="3258"/>
                    <a:pt x="2297" y="3257"/>
                  </a:cubicBezTo>
                  <a:cubicBezTo>
                    <a:pt x="2276" y="3252"/>
                    <a:pt x="2256" y="3247"/>
                    <a:pt x="2235" y="3243"/>
                  </a:cubicBezTo>
                  <a:cubicBezTo>
                    <a:pt x="2232" y="3242"/>
                    <a:pt x="2229" y="3241"/>
                    <a:pt x="2226" y="3241"/>
                  </a:cubicBezTo>
                  <a:cubicBezTo>
                    <a:pt x="2225" y="3241"/>
                    <a:pt x="2222" y="3242"/>
                    <a:pt x="2222" y="3243"/>
                  </a:cubicBezTo>
                  <a:cubicBezTo>
                    <a:pt x="2218" y="3253"/>
                    <a:pt x="2205" y="3258"/>
                    <a:pt x="2205" y="3271"/>
                  </a:cubicBezTo>
                  <a:cubicBezTo>
                    <a:pt x="2205" y="3272"/>
                    <a:pt x="2205" y="3273"/>
                    <a:pt x="2205" y="3274"/>
                  </a:cubicBezTo>
                  <a:cubicBezTo>
                    <a:pt x="2204" y="3280"/>
                    <a:pt x="2202" y="3281"/>
                    <a:pt x="2196" y="3280"/>
                  </a:cubicBezTo>
                  <a:cubicBezTo>
                    <a:pt x="2190" y="3278"/>
                    <a:pt x="2184" y="3276"/>
                    <a:pt x="2177" y="3275"/>
                  </a:cubicBezTo>
                  <a:cubicBezTo>
                    <a:pt x="2170" y="3273"/>
                    <a:pt x="2168" y="3274"/>
                    <a:pt x="2165" y="3282"/>
                  </a:cubicBezTo>
                  <a:cubicBezTo>
                    <a:pt x="2161" y="3296"/>
                    <a:pt x="2157" y="3310"/>
                    <a:pt x="2154" y="3325"/>
                  </a:cubicBezTo>
                  <a:cubicBezTo>
                    <a:pt x="2153" y="3326"/>
                    <a:pt x="2153" y="3326"/>
                    <a:pt x="2153" y="3326"/>
                  </a:cubicBezTo>
                  <a:cubicBezTo>
                    <a:pt x="2133" y="3288"/>
                    <a:pt x="2133" y="3288"/>
                    <a:pt x="2133" y="3288"/>
                  </a:cubicBezTo>
                  <a:cubicBezTo>
                    <a:pt x="2161" y="3177"/>
                    <a:pt x="2161" y="3177"/>
                    <a:pt x="2161" y="3177"/>
                  </a:cubicBezTo>
                  <a:cubicBezTo>
                    <a:pt x="2042" y="3071"/>
                    <a:pt x="2042" y="3071"/>
                    <a:pt x="2042" y="3071"/>
                  </a:cubicBezTo>
                  <a:cubicBezTo>
                    <a:pt x="2041" y="3070"/>
                    <a:pt x="2041" y="3070"/>
                    <a:pt x="2041" y="3070"/>
                  </a:cubicBezTo>
                  <a:cubicBezTo>
                    <a:pt x="2005" y="3094"/>
                    <a:pt x="2005" y="3094"/>
                    <a:pt x="2005" y="3094"/>
                  </a:cubicBezTo>
                  <a:cubicBezTo>
                    <a:pt x="1986" y="3062"/>
                    <a:pt x="1986" y="3062"/>
                    <a:pt x="1986" y="3062"/>
                  </a:cubicBezTo>
                  <a:cubicBezTo>
                    <a:pt x="2011" y="3022"/>
                    <a:pt x="2011" y="3022"/>
                    <a:pt x="2011" y="3022"/>
                  </a:cubicBezTo>
                  <a:cubicBezTo>
                    <a:pt x="1949" y="2939"/>
                    <a:pt x="1949" y="2939"/>
                    <a:pt x="1949" y="2939"/>
                  </a:cubicBezTo>
                  <a:cubicBezTo>
                    <a:pt x="2000" y="2810"/>
                    <a:pt x="2000" y="2810"/>
                    <a:pt x="2000" y="2810"/>
                  </a:cubicBezTo>
                  <a:cubicBezTo>
                    <a:pt x="1938" y="2799"/>
                    <a:pt x="1938" y="2799"/>
                    <a:pt x="1938" y="2799"/>
                  </a:cubicBezTo>
                  <a:cubicBezTo>
                    <a:pt x="1926" y="2799"/>
                    <a:pt x="1926" y="2799"/>
                    <a:pt x="1926" y="2799"/>
                  </a:cubicBezTo>
                  <a:cubicBezTo>
                    <a:pt x="1929" y="2795"/>
                    <a:pt x="1929" y="2795"/>
                    <a:pt x="1929" y="2795"/>
                  </a:cubicBezTo>
                  <a:cubicBezTo>
                    <a:pt x="1934" y="2786"/>
                    <a:pt x="1934" y="2786"/>
                    <a:pt x="1934" y="2786"/>
                  </a:cubicBezTo>
                  <a:cubicBezTo>
                    <a:pt x="1938" y="2758"/>
                    <a:pt x="1938" y="2758"/>
                    <a:pt x="1938" y="2758"/>
                  </a:cubicBezTo>
                  <a:cubicBezTo>
                    <a:pt x="1947" y="2718"/>
                    <a:pt x="1947" y="2718"/>
                    <a:pt x="1947" y="2718"/>
                  </a:cubicBezTo>
                  <a:cubicBezTo>
                    <a:pt x="1950" y="2710"/>
                    <a:pt x="1950" y="2710"/>
                    <a:pt x="1950" y="2710"/>
                  </a:cubicBezTo>
                  <a:cubicBezTo>
                    <a:pt x="1958" y="2716"/>
                    <a:pt x="1958" y="2716"/>
                    <a:pt x="1958" y="2716"/>
                  </a:cubicBezTo>
                  <a:cubicBezTo>
                    <a:pt x="1976" y="2720"/>
                    <a:pt x="1976" y="2720"/>
                    <a:pt x="1976" y="2720"/>
                  </a:cubicBezTo>
                  <a:cubicBezTo>
                    <a:pt x="2002" y="2717"/>
                    <a:pt x="2002" y="2717"/>
                    <a:pt x="2002" y="2717"/>
                  </a:cubicBezTo>
                  <a:cubicBezTo>
                    <a:pt x="1987" y="2687"/>
                    <a:pt x="1987" y="2687"/>
                    <a:pt x="1987" y="2687"/>
                  </a:cubicBezTo>
                  <a:cubicBezTo>
                    <a:pt x="1970" y="2693"/>
                    <a:pt x="1970" y="2693"/>
                    <a:pt x="1970" y="2693"/>
                  </a:cubicBezTo>
                  <a:cubicBezTo>
                    <a:pt x="1964" y="2681"/>
                    <a:pt x="1964" y="2681"/>
                    <a:pt x="1964" y="2681"/>
                  </a:cubicBezTo>
                  <a:cubicBezTo>
                    <a:pt x="1957" y="2683"/>
                    <a:pt x="1957" y="2683"/>
                    <a:pt x="1957" y="2683"/>
                  </a:cubicBezTo>
                  <a:cubicBezTo>
                    <a:pt x="1956" y="2682"/>
                    <a:pt x="1956" y="2682"/>
                    <a:pt x="1956" y="2682"/>
                  </a:cubicBezTo>
                  <a:cubicBezTo>
                    <a:pt x="1975" y="2603"/>
                    <a:pt x="1975" y="2603"/>
                    <a:pt x="1975" y="2603"/>
                  </a:cubicBezTo>
                  <a:cubicBezTo>
                    <a:pt x="1989" y="2601"/>
                    <a:pt x="1989" y="2601"/>
                    <a:pt x="1989" y="2601"/>
                  </a:cubicBezTo>
                  <a:cubicBezTo>
                    <a:pt x="2016" y="2516"/>
                    <a:pt x="2016" y="2516"/>
                    <a:pt x="2016" y="2516"/>
                  </a:cubicBezTo>
                  <a:cubicBezTo>
                    <a:pt x="2014" y="2512"/>
                    <a:pt x="2014" y="2512"/>
                    <a:pt x="2014" y="2512"/>
                  </a:cubicBezTo>
                  <a:cubicBezTo>
                    <a:pt x="2034" y="2455"/>
                    <a:pt x="2034" y="2455"/>
                    <a:pt x="2034" y="2455"/>
                  </a:cubicBezTo>
                  <a:cubicBezTo>
                    <a:pt x="2064" y="2464"/>
                    <a:pt x="2064" y="2464"/>
                    <a:pt x="2064" y="2464"/>
                  </a:cubicBezTo>
                  <a:cubicBezTo>
                    <a:pt x="2070" y="2448"/>
                    <a:pt x="2070" y="2448"/>
                    <a:pt x="2070" y="2448"/>
                  </a:cubicBezTo>
                  <a:cubicBezTo>
                    <a:pt x="2108" y="2462"/>
                    <a:pt x="2108" y="2462"/>
                    <a:pt x="2108" y="2462"/>
                  </a:cubicBezTo>
                  <a:cubicBezTo>
                    <a:pt x="2103" y="2479"/>
                    <a:pt x="2103" y="2479"/>
                    <a:pt x="2103" y="2479"/>
                  </a:cubicBezTo>
                  <a:cubicBezTo>
                    <a:pt x="2122" y="2488"/>
                    <a:pt x="2122" y="2488"/>
                    <a:pt x="2122" y="2488"/>
                  </a:cubicBezTo>
                  <a:cubicBezTo>
                    <a:pt x="2129" y="2485"/>
                    <a:pt x="2129" y="2485"/>
                    <a:pt x="2129" y="2485"/>
                  </a:cubicBezTo>
                  <a:cubicBezTo>
                    <a:pt x="2155" y="2494"/>
                    <a:pt x="2155" y="2494"/>
                    <a:pt x="2155" y="2494"/>
                  </a:cubicBezTo>
                  <a:cubicBezTo>
                    <a:pt x="2158" y="2511"/>
                    <a:pt x="2158" y="2511"/>
                    <a:pt x="2158" y="2511"/>
                  </a:cubicBezTo>
                  <a:cubicBezTo>
                    <a:pt x="2155" y="2517"/>
                    <a:pt x="2155" y="2517"/>
                    <a:pt x="2155" y="2517"/>
                  </a:cubicBezTo>
                  <a:cubicBezTo>
                    <a:pt x="2155" y="2527"/>
                    <a:pt x="2155" y="2527"/>
                    <a:pt x="2155" y="2527"/>
                  </a:cubicBezTo>
                  <a:cubicBezTo>
                    <a:pt x="2231" y="2553"/>
                    <a:pt x="2231" y="2553"/>
                    <a:pt x="2231" y="2553"/>
                  </a:cubicBezTo>
                  <a:cubicBezTo>
                    <a:pt x="2238" y="2529"/>
                    <a:pt x="2238" y="2529"/>
                    <a:pt x="2238" y="2529"/>
                  </a:cubicBezTo>
                  <a:cubicBezTo>
                    <a:pt x="2249" y="2529"/>
                    <a:pt x="2249" y="2529"/>
                    <a:pt x="2249" y="2529"/>
                  </a:cubicBezTo>
                  <a:cubicBezTo>
                    <a:pt x="2251" y="2519"/>
                    <a:pt x="2251" y="2519"/>
                    <a:pt x="2251" y="2519"/>
                  </a:cubicBezTo>
                  <a:cubicBezTo>
                    <a:pt x="2388" y="2561"/>
                    <a:pt x="2388" y="2561"/>
                    <a:pt x="2388" y="2561"/>
                  </a:cubicBezTo>
                  <a:cubicBezTo>
                    <a:pt x="2411" y="2498"/>
                    <a:pt x="2411" y="2498"/>
                    <a:pt x="2411" y="2498"/>
                  </a:cubicBezTo>
                  <a:cubicBezTo>
                    <a:pt x="2427" y="2446"/>
                    <a:pt x="2427" y="2446"/>
                    <a:pt x="2427" y="2446"/>
                  </a:cubicBezTo>
                  <a:cubicBezTo>
                    <a:pt x="2428" y="2423"/>
                    <a:pt x="2428" y="2423"/>
                    <a:pt x="2428" y="2423"/>
                  </a:cubicBezTo>
                  <a:cubicBezTo>
                    <a:pt x="2435" y="2422"/>
                    <a:pt x="2435" y="2422"/>
                    <a:pt x="2435" y="2422"/>
                  </a:cubicBezTo>
                  <a:cubicBezTo>
                    <a:pt x="2462" y="2340"/>
                    <a:pt x="2462" y="2340"/>
                    <a:pt x="2462" y="2340"/>
                  </a:cubicBezTo>
                  <a:cubicBezTo>
                    <a:pt x="2467" y="2330"/>
                    <a:pt x="2467" y="2330"/>
                    <a:pt x="2467" y="2330"/>
                  </a:cubicBezTo>
                  <a:cubicBezTo>
                    <a:pt x="2476" y="2345"/>
                    <a:pt x="2476" y="2345"/>
                    <a:pt x="2476" y="2345"/>
                  </a:cubicBezTo>
                  <a:cubicBezTo>
                    <a:pt x="2476" y="2361"/>
                    <a:pt x="2476" y="2361"/>
                    <a:pt x="2476" y="2361"/>
                  </a:cubicBezTo>
                  <a:cubicBezTo>
                    <a:pt x="2483" y="2366"/>
                    <a:pt x="2483" y="2366"/>
                    <a:pt x="2483" y="2366"/>
                  </a:cubicBezTo>
                  <a:cubicBezTo>
                    <a:pt x="2483" y="2371"/>
                    <a:pt x="2483" y="2371"/>
                    <a:pt x="2483" y="2371"/>
                  </a:cubicBezTo>
                  <a:cubicBezTo>
                    <a:pt x="2491" y="2374"/>
                    <a:pt x="2491" y="2374"/>
                    <a:pt x="2491" y="2374"/>
                  </a:cubicBezTo>
                  <a:cubicBezTo>
                    <a:pt x="2500" y="2385"/>
                    <a:pt x="2500" y="2385"/>
                    <a:pt x="2500" y="2385"/>
                  </a:cubicBezTo>
                  <a:cubicBezTo>
                    <a:pt x="2511" y="2378"/>
                    <a:pt x="2511" y="2378"/>
                    <a:pt x="2511" y="2378"/>
                  </a:cubicBezTo>
                  <a:cubicBezTo>
                    <a:pt x="2515" y="2363"/>
                    <a:pt x="2515" y="2363"/>
                    <a:pt x="2515" y="2363"/>
                  </a:cubicBezTo>
                  <a:cubicBezTo>
                    <a:pt x="2516" y="2356"/>
                    <a:pt x="2516" y="2356"/>
                    <a:pt x="2516" y="2356"/>
                  </a:cubicBezTo>
                  <a:cubicBezTo>
                    <a:pt x="2528" y="2362"/>
                    <a:pt x="2528" y="2362"/>
                    <a:pt x="2528" y="2362"/>
                  </a:cubicBezTo>
                  <a:cubicBezTo>
                    <a:pt x="2536" y="2371"/>
                    <a:pt x="2536" y="2371"/>
                    <a:pt x="2536" y="2371"/>
                  </a:cubicBezTo>
                  <a:cubicBezTo>
                    <a:pt x="2546" y="2419"/>
                    <a:pt x="2546" y="2419"/>
                    <a:pt x="2546" y="2419"/>
                  </a:cubicBezTo>
                  <a:cubicBezTo>
                    <a:pt x="2555" y="2455"/>
                    <a:pt x="2555" y="2455"/>
                    <a:pt x="2555" y="2455"/>
                  </a:cubicBezTo>
                  <a:cubicBezTo>
                    <a:pt x="2557" y="2490"/>
                    <a:pt x="2557" y="2490"/>
                    <a:pt x="2557" y="2490"/>
                  </a:cubicBezTo>
                  <a:cubicBezTo>
                    <a:pt x="2582" y="2489"/>
                    <a:pt x="2582" y="2489"/>
                    <a:pt x="2582" y="2489"/>
                  </a:cubicBezTo>
                  <a:cubicBezTo>
                    <a:pt x="2612" y="2482"/>
                    <a:pt x="2612" y="2482"/>
                    <a:pt x="2612" y="2482"/>
                  </a:cubicBezTo>
                  <a:cubicBezTo>
                    <a:pt x="2629" y="2478"/>
                    <a:pt x="2629" y="2478"/>
                    <a:pt x="2629" y="2478"/>
                  </a:cubicBezTo>
                  <a:cubicBezTo>
                    <a:pt x="2651" y="2497"/>
                    <a:pt x="2651" y="2497"/>
                    <a:pt x="2651" y="2497"/>
                  </a:cubicBezTo>
                  <a:cubicBezTo>
                    <a:pt x="2666" y="2498"/>
                    <a:pt x="2666" y="2498"/>
                    <a:pt x="2666" y="2498"/>
                  </a:cubicBezTo>
                  <a:cubicBezTo>
                    <a:pt x="2679" y="2502"/>
                    <a:pt x="2679" y="2502"/>
                    <a:pt x="2679" y="2502"/>
                  </a:cubicBezTo>
                  <a:cubicBezTo>
                    <a:pt x="2694" y="2504"/>
                    <a:pt x="2694" y="2504"/>
                    <a:pt x="2694" y="2504"/>
                  </a:cubicBezTo>
                  <a:cubicBezTo>
                    <a:pt x="2697" y="2509"/>
                    <a:pt x="2697" y="2509"/>
                    <a:pt x="2697" y="2509"/>
                  </a:cubicBezTo>
                  <a:cubicBezTo>
                    <a:pt x="2697" y="2525"/>
                    <a:pt x="2697" y="2525"/>
                    <a:pt x="2697" y="2525"/>
                  </a:cubicBezTo>
                  <a:cubicBezTo>
                    <a:pt x="2703" y="2536"/>
                    <a:pt x="2703" y="2536"/>
                    <a:pt x="2703" y="2536"/>
                  </a:cubicBezTo>
                  <a:cubicBezTo>
                    <a:pt x="2709" y="2547"/>
                    <a:pt x="2709" y="2547"/>
                    <a:pt x="2709" y="2547"/>
                  </a:cubicBezTo>
                  <a:cubicBezTo>
                    <a:pt x="2709" y="2560"/>
                    <a:pt x="2709" y="2560"/>
                    <a:pt x="2709" y="2560"/>
                  </a:cubicBezTo>
                  <a:cubicBezTo>
                    <a:pt x="2712" y="2574"/>
                    <a:pt x="2712" y="2574"/>
                    <a:pt x="2712" y="2574"/>
                  </a:cubicBezTo>
                  <a:cubicBezTo>
                    <a:pt x="2729" y="2584"/>
                    <a:pt x="2729" y="2584"/>
                    <a:pt x="2729" y="2584"/>
                  </a:cubicBezTo>
                  <a:cubicBezTo>
                    <a:pt x="2728" y="2591"/>
                    <a:pt x="2728" y="2598"/>
                    <a:pt x="2724" y="2604"/>
                  </a:cubicBezTo>
                  <a:cubicBezTo>
                    <a:pt x="2722" y="2607"/>
                    <a:pt x="2722" y="2612"/>
                    <a:pt x="2723" y="2616"/>
                  </a:cubicBezTo>
                  <a:cubicBezTo>
                    <a:pt x="2723" y="2621"/>
                    <a:pt x="2724" y="2626"/>
                    <a:pt x="2725" y="2631"/>
                  </a:cubicBezTo>
                  <a:cubicBezTo>
                    <a:pt x="2725" y="2636"/>
                    <a:pt x="2728" y="2639"/>
                    <a:pt x="2732" y="2638"/>
                  </a:cubicBezTo>
                  <a:cubicBezTo>
                    <a:pt x="2737" y="2638"/>
                    <a:pt x="2739" y="2640"/>
                    <a:pt x="2741" y="2645"/>
                  </a:cubicBezTo>
                  <a:close/>
                  <a:moveTo>
                    <a:pt x="2773" y="1955"/>
                  </a:moveTo>
                  <a:cubicBezTo>
                    <a:pt x="2773" y="1959"/>
                    <a:pt x="2774" y="1962"/>
                    <a:pt x="2780" y="1963"/>
                  </a:cubicBezTo>
                  <a:cubicBezTo>
                    <a:pt x="2782" y="1963"/>
                    <a:pt x="2785" y="1965"/>
                    <a:pt x="2788" y="1965"/>
                  </a:cubicBezTo>
                  <a:cubicBezTo>
                    <a:pt x="2794" y="1964"/>
                    <a:pt x="2798" y="1966"/>
                    <a:pt x="2801" y="1972"/>
                  </a:cubicBezTo>
                  <a:cubicBezTo>
                    <a:pt x="2806" y="1979"/>
                    <a:pt x="2810" y="1983"/>
                    <a:pt x="2803" y="1990"/>
                  </a:cubicBezTo>
                  <a:cubicBezTo>
                    <a:pt x="2804" y="1996"/>
                    <a:pt x="2804" y="2003"/>
                    <a:pt x="2806" y="2009"/>
                  </a:cubicBezTo>
                  <a:cubicBezTo>
                    <a:pt x="2807" y="2013"/>
                    <a:pt x="2808" y="2017"/>
                    <a:pt x="2806" y="2020"/>
                  </a:cubicBezTo>
                  <a:cubicBezTo>
                    <a:pt x="2800" y="2030"/>
                    <a:pt x="2798" y="2041"/>
                    <a:pt x="2796" y="2052"/>
                  </a:cubicBezTo>
                  <a:cubicBezTo>
                    <a:pt x="2795" y="2055"/>
                    <a:pt x="2796" y="2058"/>
                    <a:pt x="2795" y="2061"/>
                  </a:cubicBezTo>
                  <a:cubicBezTo>
                    <a:pt x="2790" y="2071"/>
                    <a:pt x="2794" y="2079"/>
                    <a:pt x="2802" y="2085"/>
                  </a:cubicBezTo>
                  <a:cubicBezTo>
                    <a:pt x="2802" y="2086"/>
                    <a:pt x="2803" y="2086"/>
                    <a:pt x="2803" y="2087"/>
                  </a:cubicBezTo>
                  <a:cubicBezTo>
                    <a:pt x="2804" y="2096"/>
                    <a:pt x="2811" y="2102"/>
                    <a:pt x="2815" y="2109"/>
                  </a:cubicBezTo>
                  <a:cubicBezTo>
                    <a:pt x="2817" y="2113"/>
                    <a:pt x="2816" y="2119"/>
                    <a:pt x="2821" y="2121"/>
                  </a:cubicBezTo>
                  <a:cubicBezTo>
                    <a:pt x="2827" y="2122"/>
                    <a:pt x="2832" y="2123"/>
                    <a:pt x="2838" y="2125"/>
                  </a:cubicBezTo>
                  <a:cubicBezTo>
                    <a:pt x="2839" y="2125"/>
                    <a:pt x="2842" y="2125"/>
                    <a:pt x="2842" y="2126"/>
                  </a:cubicBezTo>
                  <a:cubicBezTo>
                    <a:pt x="2844" y="2135"/>
                    <a:pt x="2845" y="2145"/>
                    <a:pt x="2838" y="2153"/>
                  </a:cubicBezTo>
                  <a:cubicBezTo>
                    <a:pt x="2833" y="2159"/>
                    <a:pt x="2831" y="2167"/>
                    <a:pt x="2831" y="2175"/>
                  </a:cubicBezTo>
                  <a:cubicBezTo>
                    <a:pt x="2831" y="2179"/>
                    <a:pt x="2831" y="2183"/>
                    <a:pt x="2827" y="2186"/>
                  </a:cubicBezTo>
                  <a:cubicBezTo>
                    <a:pt x="2826" y="2187"/>
                    <a:pt x="2824" y="2188"/>
                    <a:pt x="2824" y="2189"/>
                  </a:cubicBezTo>
                  <a:cubicBezTo>
                    <a:pt x="2824" y="2200"/>
                    <a:pt x="2815" y="2202"/>
                    <a:pt x="2808" y="2205"/>
                  </a:cubicBezTo>
                  <a:cubicBezTo>
                    <a:pt x="2792" y="2210"/>
                    <a:pt x="2789" y="2223"/>
                    <a:pt x="2794" y="2237"/>
                  </a:cubicBezTo>
                  <a:cubicBezTo>
                    <a:pt x="2795" y="2241"/>
                    <a:pt x="2795" y="2245"/>
                    <a:pt x="2793" y="2247"/>
                  </a:cubicBezTo>
                  <a:cubicBezTo>
                    <a:pt x="2785" y="2260"/>
                    <a:pt x="2787" y="2274"/>
                    <a:pt x="2786" y="2288"/>
                  </a:cubicBezTo>
                  <a:cubicBezTo>
                    <a:pt x="2785" y="2297"/>
                    <a:pt x="2784" y="2305"/>
                    <a:pt x="2782" y="2313"/>
                  </a:cubicBezTo>
                  <a:cubicBezTo>
                    <a:pt x="2782" y="2317"/>
                    <a:pt x="2781" y="2320"/>
                    <a:pt x="2781" y="2324"/>
                  </a:cubicBezTo>
                  <a:cubicBezTo>
                    <a:pt x="2780" y="2326"/>
                    <a:pt x="2781" y="2328"/>
                    <a:pt x="2780" y="2329"/>
                  </a:cubicBezTo>
                  <a:cubicBezTo>
                    <a:pt x="2774" y="2342"/>
                    <a:pt x="2776" y="2355"/>
                    <a:pt x="2776" y="2369"/>
                  </a:cubicBezTo>
                  <a:cubicBezTo>
                    <a:pt x="2776" y="2374"/>
                    <a:pt x="2775" y="2378"/>
                    <a:pt x="2772" y="2383"/>
                  </a:cubicBezTo>
                  <a:cubicBezTo>
                    <a:pt x="2770" y="2385"/>
                    <a:pt x="2768" y="2387"/>
                    <a:pt x="2769" y="2389"/>
                  </a:cubicBezTo>
                  <a:cubicBezTo>
                    <a:pt x="2771" y="2402"/>
                    <a:pt x="2762" y="2412"/>
                    <a:pt x="2760" y="2423"/>
                  </a:cubicBezTo>
                  <a:cubicBezTo>
                    <a:pt x="2759" y="2429"/>
                    <a:pt x="2755" y="2434"/>
                    <a:pt x="2752" y="2439"/>
                  </a:cubicBezTo>
                  <a:cubicBezTo>
                    <a:pt x="2750" y="2443"/>
                    <a:pt x="2747" y="2446"/>
                    <a:pt x="2745" y="2449"/>
                  </a:cubicBezTo>
                  <a:cubicBezTo>
                    <a:pt x="2744" y="2452"/>
                    <a:pt x="2743" y="2457"/>
                    <a:pt x="2744" y="2458"/>
                  </a:cubicBezTo>
                  <a:cubicBezTo>
                    <a:pt x="2751" y="2463"/>
                    <a:pt x="2747" y="2468"/>
                    <a:pt x="2747" y="2473"/>
                  </a:cubicBezTo>
                  <a:cubicBezTo>
                    <a:pt x="2747" y="2480"/>
                    <a:pt x="2747" y="2488"/>
                    <a:pt x="2748" y="2494"/>
                  </a:cubicBezTo>
                  <a:cubicBezTo>
                    <a:pt x="2750" y="2505"/>
                    <a:pt x="2748" y="2514"/>
                    <a:pt x="2746" y="2523"/>
                  </a:cubicBezTo>
                  <a:cubicBezTo>
                    <a:pt x="2744" y="2527"/>
                    <a:pt x="2744" y="2531"/>
                    <a:pt x="2742" y="2535"/>
                  </a:cubicBezTo>
                  <a:cubicBezTo>
                    <a:pt x="2738" y="2545"/>
                    <a:pt x="2736" y="2554"/>
                    <a:pt x="2742" y="2565"/>
                  </a:cubicBezTo>
                  <a:cubicBezTo>
                    <a:pt x="2743" y="2567"/>
                    <a:pt x="2742" y="2570"/>
                    <a:pt x="2738" y="2571"/>
                  </a:cubicBezTo>
                  <a:cubicBezTo>
                    <a:pt x="2733" y="2572"/>
                    <a:pt x="2730" y="2575"/>
                    <a:pt x="2729" y="2580"/>
                  </a:cubicBezTo>
                  <a:cubicBezTo>
                    <a:pt x="2716" y="2571"/>
                    <a:pt x="2716" y="2571"/>
                    <a:pt x="2716" y="2571"/>
                  </a:cubicBezTo>
                  <a:cubicBezTo>
                    <a:pt x="2713" y="2560"/>
                    <a:pt x="2713" y="2560"/>
                    <a:pt x="2713" y="2560"/>
                  </a:cubicBezTo>
                  <a:cubicBezTo>
                    <a:pt x="2713" y="2546"/>
                    <a:pt x="2713" y="2546"/>
                    <a:pt x="2713" y="2546"/>
                  </a:cubicBezTo>
                  <a:cubicBezTo>
                    <a:pt x="2707" y="2534"/>
                    <a:pt x="2707" y="2534"/>
                    <a:pt x="2707" y="2534"/>
                  </a:cubicBezTo>
                  <a:cubicBezTo>
                    <a:pt x="2702" y="2524"/>
                    <a:pt x="2702" y="2524"/>
                    <a:pt x="2702" y="2524"/>
                  </a:cubicBezTo>
                  <a:cubicBezTo>
                    <a:pt x="2702" y="2507"/>
                    <a:pt x="2702" y="2507"/>
                    <a:pt x="2702" y="2507"/>
                  </a:cubicBezTo>
                  <a:cubicBezTo>
                    <a:pt x="2696" y="2500"/>
                    <a:pt x="2696" y="2500"/>
                    <a:pt x="2696" y="2500"/>
                  </a:cubicBezTo>
                  <a:cubicBezTo>
                    <a:pt x="2680" y="2498"/>
                    <a:pt x="2680" y="2498"/>
                    <a:pt x="2680" y="2498"/>
                  </a:cubicBezTo>
                  <a:cubicBezTo>
                    <a:pt x="2667" y="2494"/>
                    <a:pt x="2667" y="2494"/>
                    <a:pt x="2667" y="2494"/>
                  </a:cubicBezTo>
                  <a:cubicBezTo>
                    <a:pt x="2653" y="2493"/>
                    <a:pt x="2653" y="2493"/>
                    <a:pt x="2653" y="2493"/>
                  </a:cubicBezTo>
                  <a:cubicBezTo>
                    <a:pt x="2630" y="2473"/>
                    <a:pt x="2630" y="2473"/>
                    <a:pt x="2630" y="2473"/>
                  </a:cubicBezTo>
                  <a:cubicBezTo>
                    <a:pt x="2611" y="2478"/>
                    <a:pt x="2611" y="2478"/>
                    <a:pt x="2611" y="2478"/>
                  </a:cubicBezTo>
                  <a:cubicBezTo>
                    <a:pt x="2581" y="2484"/>
                    <a:pt x="2581" y="2484"/>
                    <a:pt x="2581" y="2484"/>
                  </a:cubicBezTo>
                  <a:cubicBezTo>
                    <a:pt x="2561" y="2486"/>
                    <a:pt x="2561" y="2486"/>
                    <a:pt x="2561" y="2486"/>
                  </a:cubicBezTo>
                  <a:cubicBezTo>
                    <a:pt x="2559" y="2455"/>
                    <a:pt x="2559" y="2455"/>
                    <a:pt x="2559" y="2455"/>
                  </a:cubicBezTo>
                  <a:cubicBezTo>
                    <a:pt x="2550" y="2418"/>
                    <a:pt x="2550" y="2418"/>
                    <a:pt x="2550" y="2418"/>
                  </a:cubicBezTo>
                  <a:cubicBezTo>
                    <a:pt x="2540" y="2369"/>
                    <a:pt x="2540" y="2369"/>
                    <a:pt x="2540" y="2369"/>
                  </a:cubicBezTo>
                  <a:cubicBezTo>
                    <a:pt x="2531" y="2359"/>
                    <a:pt x="2531" y="2359"/>
                    <a:pt x="2531" y="2359"/>
                  </a:cubicBezTo>
                  <a:cubicBezTo>
                    <a:pt x="2513" y="2349"/>
                    <a:pt x="2513" y="2349"/>
                    <a:pt x="2513" y="2349"/>
                  </a:cubicBezTo>
                  <a:cubicBezTo>
                    <a:pt x="2511" y="2363"/>
                    <a:pt x="2511" y="2363"/>
                    <a:pt x="2511" y="2363"/>
                  </a:cubicBezTo>
                  <a:cubicBezTo>
                    <a:pt x="2507" y="2375"/>
                    <a:pt x="2507" y="2375"/>
                    <a:pt x="2507" y="2375"/>
                  </a:cubicBezTo>
                  <a:cubicBezTo>
                    <a:pt x="2501" y="2379"/>
                    <a:pt x="2501" y="2379"/>
                    <a:pt x="2501" y="2379"/>
                  </a:cubicBezTo>
                  <a:cubicBezTo>
                    <a:pt x="2494" y="2370"/>
                    <a:pt x="2494" y="2370"/>
                    <a:pt x="2494" y="2370"/>
                  </a:cubicBezTo>
                  <a:cubicBezTo>
                    <a:pt x="2488" y="2368"/>
                    <a:pt x="2488" y="2368"/>
                    <a:pt x="2488" y="2368"/>
                  </a:cubicBezTo>
                  <a:cubicBezTo>
                    <a:pt x="2488" y="2364"/>
                    <a:pt x="2488" y="2364"/>
                    <a:pt x="2488" y="2364"/>
                  </a:cubicBezTo>
                  <a:cubicBezTo>
                    <a:pt x="2481" y="2358"/>
                    <a:pt x="2481" y="2358"/>
                    <a:pt x="2481" y="2358"/>
                  </a:cubicBezTo>
                  <a:cubicBezTo>
                    <a:pt x="2481" y="2344"/>
                    <a:pt x="2481" y="2344"/>
                    <a:pt x="2481" y="2344"/>
                  </a:cubicBezTo>
                  <a:cubicBezTo>
                    <a:pt x="2467" y="2321"/>
                    <a:pt x="2467" y="2321"/>
                    <a:pt x="2467" y="2321"/>
                  </a:cubicBezTo>
                  <a:cubicBezTo>
                    <a:pt x="2458" y="2338"/>
                    <a:pt x="2458" y="2338"/>
                    <a:pt x="2458" y="2338"/>
                  </a:cubicBezTo>
                  <a:cubicBezTo>
                    <a:pt x="2432" y="2418"/>
                    <a:pt x="2432" y="2418"/>
                    <a:pt x="2432" y="2418"/>
                  </a:cubicBezTo>
                  <a:cubicBezTo>
                    <a:pt x="2424" y="2419"/>
                    <a:pt x="2424" y="2419"/>
                    <a:pt x="2424" y="2419"/>
                  </a:cubicBezTo>
                  <a:cubicBezTo>
                    <a:pt x="2422" y="2445"/>
                    <a:pt x="2422" y="2445"/>
                    <a:pt x="2422" y="2445"/>
                  </a:cubicBezTo>
                  <a:cubicBezTo>
                    <a:pt x="2407" y="2497"/>
                    <a:pt x="2407" y="2497"/>
                    <a:pt x="2407" y="2497"/>
                  </a:cubicBezTo>
                  <a:cubicBezTo>
                    <a:pt x="2385" y="2556"/>
                    <a:pt x="2385" y="2556"/>
                    <a:pt x="2385" y="2556"/>
                  </a:cubicBezTo>
                  <a:cubicBezTo>
                    <a:pt x="2251" y="2514"/>
                    <a:pt x="2251" y="2514"/>
                    <a:pt x="2251" y="2514"/>
                  </a:cubicBezTo>
                  <a:cubicBezTo>
                    <a:pt x="2193" y="2489"/>
                    <a:pt x="2193" y="2489"/>
                    <a:pt x="2193" y="2489"/>
                  </a:cubicBezTo>
                  <a:cubicBezTo>
                    <a:pt x="2190" y="2468"/>
                    <a:pt x="2190" y="2468"/>
                    <a:pt x="2190" y="2468"/>
                  </a:cubicBezTo>
                  <a:cubicBezTo>
                    <a:pt x="2139" y="2449"/>
                    <a:pt x="2139" y="2449"/>
                    <a:pt x="2139" y="2449"/>
                  </a:cubicBezTo>
                  <a:cubicBezTo>
                    <a:pt x="2147" y="2420"/>
                    <a:pt x="2147" y="2420"/>
                    <a:pt x="2147" y="2420"/>
                  </a:cubicBezTo>
                  <a:cubicBezTo>
                    <a:pt x="2137" y="2414"/>
                    <a:pt x="2137" y="2414"/>
                    <a:pt x="2137" y="2414"/>
                  </a:cubicBezTo>
                  <a:cubicBezTo>
                    <a:pt x="2155" y="2345"/>
                    <a:pt x="2155" y="2345"/>
                    <a:pt x="2155" y="2345"/>
                  </a:cubicBezTo>
                  <a:cubicBezTo>
                    <a:pt x="2106" y="2328"/>
                    <a:pt x="2106" y="2328"/>
                    <a:pt x="2106" y="2328"/>
                  </a:cubicBezTo>
                  <a:cubicBezTo>
                    <a:pt x="2101" y="2335"/>
                    <a:pt x="2101" y="2335"/>
                    <a:pt x="2101" y="2335"/>
                  </a:cubicBezTo>
                  <a:cubicBezTo>
                    <a:pt x="2072" y="2324"/>
                    <a:pt x="2072" y="2324"/>
                    <a:pt x="2072" y="2324"/>
                  </a:cubicBezTo>
                  <a:cubicBezTo>
                    <a:pt x="2061" y="2318"/>
                    <a:pt x="2061" y="2318"/>
                    <a:pt x="2061" y="2318"/>
                  </a:cubicBezTo>
                  <a:cubicBezTo>
                    <a:pt x="2083" y="2248"/>
                    <a:pt x="2083" y="2248"/>
                    <a:pt x="2083" y="2248"/>
                  </a:cubicBezTo>
                  <a:cubicBezTo>
                    <a:pt x="2075" y="2243"/>
                    <a:pt x="2075" y="2243"/>
                    <a:pt x="2075" y="2243"/>
                  </a:cubicBezTo>
                  <a:cubicBezTo>
                    <a:pt x="2089" y="2199"/>
                    <a:pt x="2089" y="2199"/>
                    <a:pt x="2089" y="2199"/>
                  </a:cubicBezTo>
                  <a:cubicBezTo>
                    <a:pt x="2075" y="2191"/>
                    <a:pt x="2075" y="2191"/>
                    <a:pt x="2075" y="2191"/>
                  </a:cubicBezTo>
                  <a:cubicBezTo>
                    <a:pt x="2114" y="2078"/>
                    <a:pt x="2114" y="2078"/>
                    <a:pt x="2114" y="2078"/>
                  </a:cubicBezTo>
                  <a:cubicBezTo>
                    <a:pt x="2114" y="2078"/>
                    <a:pt x="2114" y="2078"/>
                    <a:pt x="2114" y="2078"/>
                  </a:cubicBezTo>
                  <a:cubicBezTo>
                    <a:pt x="2114" y="2071"/>
                    <a:pt x="2114" y="2071"/>
                    <a:pt x="2114" y="2071"/>
                  </a:cubicBezTo>
                  <a:cubicBezTo>
                    <a:pt x="2129" y="2021"/>
                    <a:pt x="2129" y="2021"/>
                    <a:pt x="2129" y="2021"/>
                  </a:cubicBezTo>
                  <a:cubicBezTo>
                    <a:pt x="2133" y="2017"/>
                    <a:pt x="2133" y="2017"/>
                    <a:pt x="2133" y="2017"/>
                  </a:cubicBezTo>
                  <a:cubicBezTo>
                    <a:pt x="2189" y="2044"/>
                    <a:pt x="2189" y="2044"/>
                    <a:pt x="2189" y="2044"/>
                  </a:cubicBezTo>
                  <a:cubicBezTo>
                    <a:pt x="2189" y="2059"/>
                    <a:pt x="2189" y="2059"/>
                    <a:pt x="2189" y="2059"/>
                  </a:cubicBezTo>
                  <a:cubicBezTo>
                    <a:pt x="2203" y="2066"/>
                    <a:pt x="2203" y="2066"/>
                    <a:pt x="2203" y="2066"/>
                  </a:cubicBezTo>
                  <a:cubicBezTo>
                    <a:pt x="2203" y="2074"/>
                    <a:pt x="2203" y="2074"/>
                    <a:pt x="2203" y="2074"/>
                  </a:cubicBezTo>
                  <a:cubicBezTo>
                    <a:pt x="2234" y="2086"/>
                    <a:pt x="2234" y="2086"/>
                    <a:pt x="2234" y="2086"/>
                  </a:cubicBezTo>
                  <a:cubicBezTo>
                    <a:pt x="2265" y="2012"/>
                    <a:pt x="2265" y="2012"/>
                    <a:pt x="2265" y="2012"/>
                  </a:cubicBezTo>
                  <a:cubicBezTo>
                    <a:pt x="2271" y="2014"/>
                    <a:pt x="2271" y="2014"/>
                    <a:pt x="2271" y="2014"/>
                  </a:cubicBezTo>
                  <a:cubicBezTo>
                    <a:pt x="2306" y="1918"/>
                    <a:pt x="2306" y="1918"/>
                    <a:pt x="2306" y="1918"/>
                  </a:cubicBezTo>
                  <a:cubicBezTo>
                    <a:pt x="2402" y="1950"/>
                    <a:pt x="2402" y="1950"/>
                    <a:pt x="2402" y="1950"/>
                  </a:cubicBezTo>
                  <a:cubicBezTo>
                    <a:pt x="2414" y="1944"/>
                    <a:pt x="2414" y="1944"/>
                    <a:pt x="2414" y="1944"/>
                  </a:cubicBezTo>
                  <a:cubicBezTo>
                    <a:pt x="2425" y="1964"/>
                    <a:pt x="2425" y="1964"/>
                    <a:pt x="2425" y="1964"/>
                  </a:cubicBezTo>
                  <a:cubicBezTo>
                    <a:pt x="2433" y="1954"/>
                    <a:pt x="2433" y="1954"/>
                    <a:pt x="2433" y="1954"/>
                  </a:cubicBezTo>
                  <a:cubicBezTo>
                    <a:pt x="2448" y="1962"/>
                    <a:pt x="2448" y="1962"/>
                    <a:pt x="2448" y="1962"/>
                  </a:cubicBezTo>
                  <a:cubicBezTo>
                    <a:pt x="2459" y="1954"/>
                    <a:pt x="2459" y="1954"/>
                    <a:pt x="2459" y="1954"/>
                  </a:cubicBezTo>
                  <a:cubicBezTo>
                    <a:pt x="2459" y="1945"/>
                    <a:pt x="2459" y="1945"/>
                    <a:pt x="2459" y="1945"/>
                  </a:cubicBezTo>
                  <a:cubicBezTo>
                    <a:pt x="2452" y="1927"/>
                    <a:pt x="2452" y="1927"/>
                    <a:pt x="2452" y="1927"/>
                  </a:cubicBezTo>
                  <a:cubicBezTo>
                    <a:pt x="2452" y="1914"/>
                    <a:pt x="2452" y="1914"/>
                    <a:pt x="2452" y="1914"/>
                  </a:cubicBezTo>
                  <a:cubicBezTo>
                    <a:pt x="2454" y="1909"/>
                    <a:pt x="2454" y="1909"/>
                    <a:pt x="2454" y="1909"/>
                  </a:cubicBezTo>
                  <a:cubicBezTo>
                    <a:pt x="2540" y="1932"/>
                    <a:pt x="2540" y="1932"/>
                    <a:pt x="2540" y="1932"/>
                  </a:cubicBezTo>
                  <a:cubicBezTo>
                    <a:pt x="2545" y="1929"/>
                    <a:pt x="2545" y="1929"/>
                    <a:pt x="2545" y="1929"/>
                  </a:cubicBezTo>
                  <a:cubicBezTo>
                    <a:pt x="2590" y="1945"/>
                    <a:pt x="2590" y="1945"/>
                    <a:pt x="2590" y="1945"/>
                  </a:cubicBezTo>
                  <a:cubicBezTo>
                    <a:pt x="2606" y="1935"/>
                    <a:pt x="2606" y="1935"/>
                    <a:pt x="2606" y="1935"/>
                  </a:cubicBezTo>
                  <a:cubicBezTo>
                    <a:pt x="2606" y="1926"/>
                    <a:pt x="2606" y="1926"/>
                    <a:pt x="2606" y="1926"/>
                  </a:cubicBezTo>
                  <a:cubicBezTo>
                    <a:pt x="2612" y="1916"/>
                    <a:pt x="2612" y="1916"/>
                    <a:pt x="2612" y="1916"/>
                  </a:cubicBezTo>
                  <a:cubicBezTo>
                    <a:pt x="2632" y="1914"/>
                    <a:pt x="2632" y="1914"/>
                    <a:pt x="2632" y="1914"/>
                  </a:cubicBezTo>
                  <a:cubicBezTo>
                    <a:pt x="2647" y="1923"/>
                    <a:pt x="2647" y="1923"/>
                    <a:pt x="2647" y="1923"/>
                  </a:cubicBezTo>
                  <a:cubicBezTo>
                    <a:pt x="2653" y="1923"/>
                    <a:pt x="2653" y="1923"/>
                    <a:pt x="2653" y="1923"/>
                  </a:cubicBezTo>
                  <a:cubicBezTo>
                    <a:pt x="2661" y="1926"/>
                    <a:pt x="2661" y="1926"/>
                    <a:pt x="2661" y="1926"/>
                  </a:cubicBezTo>
                  <a:cubicBezTo>
                    <a:pt x="2665" y="1913"/>
                    <a:pt x="2665" y="1913"/>
                    <a:pt x="2665" y="1913"/>
                  </a:cubicBezTo>
                  <a:cubicBezTo>
                    <a:pt x="2683" y="1899"/>
                    <a:pt x="2683" y="1899"/>
                    <a:pt x="2683" y="1899"/>
                  </a:cubicBezTo>
                  <a:cubicBezTo>
                    <a:pt x="2690" y="1901"/>
                    <a:pt x="2690" y="1901"/>
                    <a:pt x="2690" y="1901"/>
                  </a:cubicBezTo>
                  <a:cubicBezTo>
                    <a:pt x="2709" y="1886"/>
                    <a:pt x="2709" y="1886"/>
                    <a:pt x="2709" y="1886"/>
                  </a:cubicBezTo>
                  <a:cubicBezTo>
                    <a:pt x="2715" y="1891"/>
                    <a:pt x="2715" y="1891"/>
                    <a:pt x="2715" y="1891"/>
                  </a:cubicBezTo>
                  <a:cubicBezTo>
                    <a:pt x="2720" y="1888"/>
                    <a:pt x="2720" y="1888"/>
                    <a:pt x="2720" y="1888"/>
                  </a:cubicBezTo>
                  <a:cubicBezTo>
                    <a:pt x="2740" y="1888"/>
                    <a:pt x="2740" y="1888"/>
                    <a:pt x="2740" y="1888"/>
                  </a:cubicBezTo>
                  <a:cubicBezTo>
                    <a:pt x="2753" y="1880"/>
                    <a:pt x="2753" y="1880"/>
                    <a:pt x="2753" y="1880"/>
                  </a:cubicBezTo>
                  <a:cubicBezTo>
                    <a:pt x="2767" y="1880"/>
                    <a:pt x="2767" y="1880"/>
                    <a:pt x="2767" y="1880"/>
                  </a:cubicBezTo>
                  <a:cubicBezTo>
                    <a:pt x="2773" y="1885"/>
                    <a:pt x="2773" y="1885"/>
                    <a:pt x="2773" y="1885"/>
                  </a:cubicBezTo>
                  <a:cubicBezTo>
                    <a:pt x="2790" y="1892"/>
                    <a:pt x="2790" y="1892"/>
                    <a:pt x="2790" y="1892"/>
                  </a:cubicBezTo>
                  <a:cubicBezTo>
                    <a:pt x="2803" y="1892"/>
                    <a:pt x="2803" y="1892"/>
                    <a:pt x="2803" y="1892"/>
                  </a:cubicBezTo>
                  <a:cubicBezTo>
                    <a:pt x="2803" y="1897"/>
                    <a:pt x="2802" y="1901"/>
                    <a:pt x="2797" y="1904"/>
                  </a:cubicBezTo>
                  <a:cubicBezTo>
                    <a:pt x="2795" y="1906"/>
                    <a:pt x="2795" y="1909"/>
                    <a:pt x="2794" y="1912"/>
                  </a:cubicBezTo>
                  <a:cubicBezTo>
                    <a:pt x="2792" y="1918"/>
                    <a:pt x="2791" y="1925"/>
                    <a:pt x="2788" y="1930"/>
                  </a:cubicBezTo>
                  <a:cubicBezTo>
                    <a:pt x="2785" y="1935"/>
                    <a:pt x="2781" y="1940"/>
                    <a:pt x="2777" y="1943"/>
                  </a:cubicBezTo>
                  <a:cubicBezTo>
                    <a:pt x="2773" y="1947"/>
                    <a:pt x="2773" y="1951"/>
                    <a:pt x="2773" y="1955"/>
                  </a:cubicBezTo>
                  <a:close/>
                  <a:moveTo>
                    <a:pt x="2900" y="1697"/>
                  </a:moveTo>
                  <a:cubicBezTo>
                    <a:pt x="2899" y="1698"/>
                    <a:pt x="2897" y="1699"/>
                    <a:pt x="2896" y="1699"/>
                  </a:cubicBezTo>
                  <a:cubicBezTo>
                    <a:pt x="2885" y="1706"/>
                    <a:pt x="2883" y="1707"/>
                    <a:pt x="2886" y="1719"/>
                  </a:cubicBezTo>
                  <a:cubicBezTo>
                    <a:pt x="2887" y="1724"/>
                    <a:pt x="2886" y="1729"/>
                    <a:pt x="2885" y="1733"/>
                  </a:cubicBezTo>
                  <a:cubicBezTo>
                    <a:pt x="2883" y="1737"/>
                    <a:pt x="2881" y="1744"/>
                    <a:pt x="2873" y="1742"/>
                  </a:cubicBezTo>
                  <a:cubicBezTo>
                    <a:pt x="2872" y="1742"/>
                    <a:pt x="2870" y="1744"/>
                    <a:pt x="2868" y="1744"/>
                  </a:cubicBezTo>
                  <a:cubicBezTo>
                    <a:pt x="2858" y="1747"/>
                    <a:pt x="2855" y="1759"/>
                    <a:pt x="2844" y="1757"/>
                  </a:cubicBezTo>
                  <a:cubicBezTo>
                    <a:pt x="2839" y="1764"/>
                    <a:pt x="2833" y="1770"/>
                    <a:pt x="2829" y="1778"/>
                  </a:cubicBezTo>
                  <a:cubicBezTo>
                    <a:pt x="2826" y="1784"/>
                    <a:pt x="2824" y="1791"/>
                    <a:pt x="2822" y="1798"/>
                  </a:cubicBezTo>
                  <a:cubicBezTo>
                    <a:pt x="2821" y="1803"/>
                    <a:pt x="2819" y="1805"/>
                    <a:pt x="2813" y="1806"/>
                  </a:cubicBezTo>
                  <a:cubicBezTo>
                    <a:pt x="2807" y="1806"/>
                    <a:pt x="2805" y="1808"/>
                    <a:pt x="2805" y="1816"/>
                  </a:cubicBezTo>
                  <a:cubicBezTo>
                    <a:pt x="2805" y="1824"/>
                    <a:pt x="2805" y="1832"/>
                    <a:pt x="2805" y="1840"/>
                  </a:cubicBezTo>
                  <a:cubicBezTo>
                    <a:pt x="2805" y="1843"/>
                    <a:pt x="2805" y="1846"/>
                    <a:pt x="2805" y="1849"/>
                  </a:cubicBezTo>
                  <a:cubicBezTo>
                    <a:pt x="2805" y="1851"/>
                    <a:pt x="2806" y="1853"/>
                    <a:pt x="2807" y="1855"/>
                  </a:cubicBezTo>
                  <a:cubicBezTo>
                    <a:pt x="2812" y="1860"/>
                    <a:pt x="2814" y="1869"/>
                    <a:pt x="2823" y="1870"/>
                  </a:cubicBezTo>
                  <a:cubicBezTo>
                    <a:pt x="2825" y="1870"/>
                    <a:pt x="2826" y="1872"/>
                    <a:pt x="2827" y="1873"/>
                  </a:cubicBezTo>
                  <a:cubicBezTo>
                    <a:pt x="2825" y="1874"/>
                    <a:pt x="2824" y="1874"/>
                    <a:pt x="2822" y="1874"/>
                  </a:cubicBezTo>
                  <a:cubicBezTo>
                    <a:pt x="2821" y="1874"/>
                    <a:pt x="2819" y="1874"/>
                    <a:pt x="2818" y="1874"/>
                  </a:cubicBezTo>
                  <a:cubicBezTo>
                    <a:pt x="2808" y="1874"/>
                    <a:pt x="2803" y="1879"/>
                    <a:pt x="2803" y="1888"/>
                  </a:cubicBezTo>
                  <a:cubicBezTo>
                    <a:pt x="2791" y="1888"/>
                    <a:pt x="2791" y="1888"/>
                    <a:pt x="2791" y="1888"/>
                  </a:cubicBezTo>
                  <a:cubicBezTo>
                    <a:pt x="2775" y="1881"/>
                    <a:pt x="2775" y="1881"/>
                    <a:pt x="2775" y="1881"/>
                  </a:cubicBezTo>
                  <a:cubicBezTo>
                    <a:pt x="2769" y="1875"/>
                    <a:pt x="2769" y="1875"/>
                    <a:pt x="2769" y="1875"/>
                  </a:cubicBezTo>
                  <a:cubicBezTo>
                    <a:pt x="2751" y="1875"/>
                    <a:pt x="2751" y="1875"/>
                    <a:pt x="2751" y="1875"/>
                  </a:cubicBezTo>
                  <a:cubicBezTo>
                    <a:pt x="2738" y="1883"/>
                    <a:pt x="2738" y="1883"/>
                    <a:pt x="2738" y="1883"/>
                  </a:cubicBezTo>
                  <a:cubicBezTo>
                    <a:pt x="2718" y="1884"/>
                    <a:pt x="2718" y="1884"/>
                    <a:pt x="2718" y="1884"/>
                  </a:cubicBezTo>
                  <a:cubicBezTo>
                    <a:pt x="2715" y="1886"/>
                    <a:pt x="2715" y="1886"/>
                    <a:pt x="2715" y="1886"/>
                  </a:cubicBezTo>
                  <a:cubicBezTo>
                    <a:pt x="2708" y="1881"/>
                    <a:pt x="2708" y="1881"/>
                    <a:pt x="2708" y="1881"/>
                  </a:cubicBezTo>
                  <a:cubicBezTo>
                    <a:pt x="2689" y="1896"/>
                    <a:pt x="2689" y="1896"/>
                    <a:pt x="2689" y="1896"/>
                  </a:cubicBezTo>
                  <a:cubicBezTo>
                    <a:pt x="2682" y="1894"/>
                    <a:pt x="2682" y="1894"/>
                    <a:pt x="2682" y="1894"/>
                  </a:cubicBezTo>
                  <a:cubicBezTo>
                    <a:pt x="2661" y="1910"/>
                    <a:pt x="2661" y="1910"/>
                    <a:pt x="2661" y="1910"/>
                  </a:cubicBezTo>
                  <a:cubicBezTo>
                    <a:pt x="2658" y="1920"/>
                    <a:pt x="2658" y="1920"/>
                    <a:pt x="2658" y="1920"/>
                  </a:cubicBezTo>
                  <a:cubicBezTo>
                    <a:pt x="2654" y="1918"/>
                    <a:pt x="2654" y="1918"/>
                    <a:pt x="2654" y="1918"/>
                  </a:cubicBezTo>
                  <a:cubicBezTo>
                    <a:pt x="2648" y="1919"/>
                    <a:pt x="2648" y="1919"/>
                    <a:pt x="2648" y="1919"/>
                  </a:cubicBezTo>
                  <a:cubicBezTo>
                    <a:pt x="2633" y="1910"/>
                    <a:pt x="2633" y="1910"/>
                    <a:pt x="2633" y="1910"/>
                  </a:cubicBezTo>
                  <a:cubicBezTo>
                    <a:pt x="2609" y="1912"/>
                    <a:pt x="2609" y="1912"/>
                    <a:pt x="2609" y="1912"/>
                  </a:cubicBezTo>
                  <a:cubicBezTo>
                    <a:pt x="2602" y="1925"/>
                    <a:pt x="2602" y="1925"/>
                    <a:pt x="2602" y="1925"/>
                  </a:cubicBezTo>
                  <a:cubicBezTo>
                    <a:pt x="2602" y="1933"/>
                    <a:pt x="2602" y="1933"/>
                    <a:pt x="2602" y="1933"/>
                  </a:cubicBezTo>
                  <a:cubicBezTo>
                    <a:pt x="2590" y="1940"/>
                    <a:pt x="2590" y="1940"/>
                    <a:pt x="2590" y="1940"/>
                  </a:cubicBezTo>
                  <a:cubicBezTo>
                    <a:pt x="2545" y="1925"/>
                    <a:pt x="2545" y="1925"/>
                    <a:pt x="2545" y="1925"/>
                  </a:cubicBezTo>
                  <a:cubicBezTo>
                    <a:pt x="2539" y="1928"/>
                    <a:pt x="2539" y="1928"/>
                    <a:pt x="2539" y="1928"/>
                  </a:cubicBezTo>
                  <a:cubicBezTo>
                    <a:pt x="2452" y="1904"/>
                    <a:pt x="2452" y="1904"/>
                    <a:pt x="2452" y="1904"/>
                  </a:cubicBezTo>
                  <a:cubicBezTo>
                    <a:pt x="2447" y="1912"/>
                    <a:pt x="2447" y="1912"/>
                    <a:pt x="2447" y="1912"/>
                  </a:cubicBezTo>
                  <a:cubicBezTo>
                    <a:pt x="2447" y="1928"/>
                    <a:pt x="2447" y="1928"/>
                    <a:pt x="2447" y="1928"/>
                  </a:cubicBezTo>
                  <a:cubicBezTo>
                    <a:pt x="2455" y="1946"/>
                    <a:pt x="2455" y="1946"/>
                    <a:pt x="2455" y="1946"/>
                  </a:cubicBezTo>
                  <a:cubicBezTo>
                    <a:pt x="2455" y="1952"/>
                    <a:pt x="2455" y="1952"/>
                    <a:pt x="2455" y="1952"/>
                  </a:cubicBezTo>
                  <a:cubicBezTo>
                    <a:pt x="2447" y="1957"/>
                    <a:pt x="2447" y="1957"/>
                    <a:pt x="2447" y="1957"/>
                  </a:cubicBezTo>
                  <a:cubicBezTo>
                    <a:pt x="2432" y="1949"/>
                    <a:pt x="2432" y="1949"/>
                    <a:pt x="2432" y="1949"/>
                  </a:cubicBezTo>
                  <a:cubicBezTo>
                    <a:pt x="2426" y="1956"/>
                    <a:pt x="2426" y="1956"/>
                    <a:pt x="2426" y="1956"/>
                  </a:cubicBezTo>
                  <a:cubicBezTo>
                    <a:pt x="2415" y="1938"/>
                    <a:pt x="2415" y="1938"/>
                    <a:pt x="2415" y="1938"/>
                  </a:cubicBezTo>
                  <a:cubicBezTo>
                    <a:pt x="2401" y="1946"/>
                    <a:pt x="2401" y="1946"/>
                    <a:pt x="2401" y="1946"/>
                  </a:cubicBezTo>
                  <a:cubicBezTo>
                    <a:pt x="2303" y="1913"/>
                    <a:pt x="2303" y="1913"/>
                    <a:pt x="2303" y="1913"/>
                  </a:cubicBezTo>
                  <a:cubicBezTo>
                    <a:pt x="2269" y="2009"/>
                    <a:pt x="2269" y="2009"/>
                    <a:pt x="2269" y="2009"/>
                  </a:cubicBezTo>
                  <a:cubicBezTo>
                    <a:pt x="2262" y="2007"/>
                    <a:pt x="2262" y="2007"/>
                    <a:pt x="2262" y="2007"/>
                  </a:cubicBezTo>
                  <a:cubicBezTo>
                    <a:pt x="2232" y="2080"/>
                    <a:pt x="2232" y="2080"/>
                    <a:pt x="2232" y="2080"/>
                  </a:cubicBezTo>
                  <a:cubicBezTo>
                    <a:pt x="2207" y="2071"/>
                    <a:pt x="2207" y="2071"/>
                    <a:pt x="2207" y="2071"/>
                  </a:cubicBezTo>
                  <a:cubicBezTo>
                    <a:pt x="2207" y="2063"/>
                    <a:pt x="2207" y="2063"/>
                    <a:pt x="2207" y="2063"/>
                  </a:cubicBezTo>
                  <a:cubicBezTo>
                    <a:pt x="2193" y="2056"/>
                    <a:pt x="2193" y="2056"/>
                    <a:pt x="2193" y="2056"/>
                  </a:cubicBezTo>
                  <a:cubicBezTo>
                    <a:pt x="2193" y="2041"/>
                    <a:pt x="2193" y="2041"/>
                    <a:pt x="2193" y="2041"/>
                  </a:cubicBezTo>
                  <a:cubicBezTo>
                    <a:pt x="2132" y="2011"/>
                    <a:pt x="2132" y="2011"/>
                    <a:pt x="2132" y="2011"/>
                  </a:cubicBezTo>
                  <a:cubicBezTo>
                    <a:pt x="2127" y="2017"/>
                    <a:pt x="2127" y="2017"/>
                    <a:pt x="2127" y="2017"/>
                  </a:cubicBezTo>
                  <a:cubicBezTo>
                    <a:pt x="2097" y="2004"/>
                    <a:pt x="2097" y="2004"/>
                    <a:pt x="2097" y="2004"/>
                  </a:cubicBezTo>
                  <a:cubicBezTo>
                    <a:pt x="2090" y="2018"/>
                    <a:pt x="2090" y="2018"/>
                    <a:pt x="2090" y="2018"/>
                  </a:cubicBezTo>
                  <a:cubicBezTo>
                    <a:pt x="1990" y="1983"/>
                    <a:pt x="1990" y="1983"/>
                    <a:pt x="1990" y="1983"/>
                  </a:cubicBezTo>
                  <a:cubicBezTo>
                    <a:pt x="1984" y="1976"/>
                    <a:pt x="1984" y="1976"/>
                    <a:pt x="1984" y="1976"/>
                  </a:cubicBezTo>
                  <a:cubicBezTo>
                    <a:pt x="1944" y="1964"/>
                    <a:pt x="1944" y="1964"/>
                    <a:pt x="1944" y="1964"/>
                  </a:cubicBezTo>
                  <a:cubicBezTo>
                    <a:pt x="1851" y="2002"/>
                    <a:pt x="1851" y="2002"/>
                    <a:pt x="1851" y="2002"/>
                  </a:cubicBezTo>
                  <a:cubicBezTo>
                    <a:pt x="1808" y="1946"/>
                    <a:pt x="1808" y="1946"/>
                    <a:pt x="1808" y="1946"/>
                  </a:cubicBezTo>
                  <a:cubicBezTo>
                    <a:pt x="1857" y="1617"/>
                    <a:pt x="1857" y="1617"/>
                    <a:pt x="1857" y="1617"/>
                  </a:cubicBezTo>
                  <a:cubicBezTo>
                    <a:pt x="1900" y="1554"/>
                    <a:pt x="1900" y="1554"/>
                    <a:pt x="1900" y="1554"/>
                  </a:cubicBezTo>
                  <a:cubicBezTo>
                    <a:pt x="2116" y="1416"/>
                    <a:pt x="2116" y="1416"/>
                    <a:pt x="2116" y="1416"/>
                  </a:cubicBezTo>
                  <a:cubicBezTo>
                    <a:pt x="2165" y="1490"/>
                    <a:pt x="2165" y="1490"/>
                    <a:pt x="2165" y="1490"/>
                  </a:cubicBezTo>
                  <a:cubicBezTo>
                    <a:pt x="2260" y="1434"/>
                    <a:pt x="2260" y="1434"/>
                    <a:pt x="2260" y="1434"/>
                  </a:cubicBezTo>
                  <a:cubicBezTo>
                    <a:pt x="2271" y="1447"/>
                    <a:pt x="2271" y="1447"/>
                    <a:pt x="2271" y="1447"/>
                  </a:cubicBezTo>
                  <a:cubicBezTo>
                    <a:pt x="2278" y="1439"/>
                    <a:pt x="2278" y="1439"/>
                    <a:pt x="2278" y="1439"/>
                  </a:cubicBezTo>
                  <a:cubicBezTo>
                    <a:pt x="2295" y="1447"/>
                    <a:pt x="2295" y="1447"/>
                    <a:pt x="2295" y="1447"/>
                  </a:cubicBezTo>
                  <a:cubicBezTo>
                    <a:pt x="2303" y="1454"/>
                    <a:pt x="2303" y="1454"/>
                    <a:pt x="2303" y="1454"/>
                  </a:cubicBezTo>
                  <a:cubicBezTo>
                    <a:pt x="2354" y="1471"/>
                    <a:pt x="2354" y="1471"/>
                    <a:pt x="2354" y="1471"/>
                  </a:cubicBezTo>
                  <a:cubicBezTo>
                    <a:pt x="2362" y="1466"/>
                    <a:pt x="2362" y="1466"/>
                    <a:pt x="2362" y="1466"/>
                  </a:cubicBezTo>
                  <a:cubicBezTo>
                    <a:pt x="2359" y="1457"/>
                    <a:pt x="2359" y="1457"/>
                    <a:pt x="2359" y="1457"/>
                  </a:cubicBezTo>
                  <a:cubicBezTo>
                    <a:pt x="2360" y="1450"/>
                    <a:pt x="2360" y="1450"/>
                    <a:pt x="2360" y="1450"/>
                  </a:cubicBezTo>
                  <a:cubicBezTo>
                    <a:pt x="2392" y="1433"/>
                    <a:pt x="2392" y="1433"/>
                    <a:pt x="2392" y="1433"/>
                  </a:cubicBezTo>
                  <a:cubicBezTo>
                    <a:pt x="2398" y="1402"/>
                    <a:pt x="2398" y="1402"/>
                    <a:pt x="2398" y="1402"/>
                  </a:cubicBezTo>
                  <a:cubicBezTo>
                    <a:pt x="2399" y="1383"/>
                    <a:pt x="2399" y="1383"/>
                    <a:pt x="2399" y="1383"/>
                  </a:cubicBezTo>
                  <a:cubicBezTo>
                    <a:pt x="2408" y="1373"/>
                    <a:pt x="2408" y="1373"/>
                    <a:pt x="2408" y="1373"/>
                  </a:cubicBezTo>
                  <a:cubicBezTo>
                    <a:pt x="2420" y="1351"/>
                    <a:pt x="2420" y="1351"/>
                    <a:pt x="2420" y="1351"/>
                  </a:cubicBezTo>
                  <a:cubicBezTo>
                    <a:pt x="2427" y="1347"/>
                    <a:pt x="2427" y="1347"/>
                    <a:pt x="2427" y="1347"/>
                  </a:cubicBezTo>
                  <a:cubicBezTo>
                    <a:pt x="2430" y="1339"/>
                    <a:pt x="2430" y="1339"/>
                    <a:pt x="2430" y="1339"/>
                  </a:cubicBezTo>
                  <a:cubicBezTo>
                    <a:pt x="2435" y="1336"/>
                    <a:pt x="2435" y="1336"/>
                    <a:pt x="2435" y="1336"/>
                  </a:cubicBezTo>
                  <a:cubicBezTo>
                    <a:pt x="2447" y="1343"/>
                    <a:pt x="2447" y="1343"/>
                    <a:pt x="2447" y="1343"/>
                  </a:cubicBezTo>
                  <a:cubicBezTo>
                    <a:pt x="2463" y="1333"/>
                    <a:pt x="2463" y="1333"/>
                    <a:pt x="2463" y="1333"/>
                  </a:cubicBezTo>
                  <a:cubicBezTo>
                    <a:pt x="2487" y="1347"/>
                    <a:pt x="2487" y="1347"/>
                    <a:pt x="2487" y="1347"/>
                  </a:cubicBezTo>
                  <a:cubicBezTo>
                    <a:pt x="2499" y="1342"/>
                    <a:pt x="2499" y="1342"/>
                    <a:pt x="2499" y="1342"/>
                  </a:cubicBezTo>
                  <a:cubicBezTo>
                    <a:pt x="2508" y="1343"/>
                    <a:pt x="2508" y="1343"/>
                    <a:pt x="2508" y="1343"/>
                  </a:cubicBezTo>
                  <a:cubicBezTo>
                    <a:pt x="2517" y="1340"/>
                    <a:pt x="2517" y="1340"/>
                    <a:pt x="2517" y="1340"/>
                  </a:cubicBezTo>
                  <a:cubicBezTo>
                    <a:pt x="2523" y="1343"/>
                    <a:pt x="2523" y="1343"/>
                    <a:pt x="2523" y="1343"/>
                  </a:cubicBezTo>
                  <a:cubicBezTo>
                    <a:pt x="2527" y="1339"/>
                    <a:pt x="2527" y="1339"/>
                    <a:pt x="2527" y="1339"/>
                  </a:cubicBezTo>
                  <a:cubicBezTo>
                    <a:pt x="2535" y="1343"/>
                    <a:pt x="2535" y="1343"/>
                    <a:pt x="2535" y="1343"/>
                  </a:cubicBezTo>
                  <a:cubicBezTo>
                    <a:pt x="2551" y="1344"/>
                    <a:pt x="2551" y="1344"/>
                    <a:pt x="2551" y="1344"/>
                  </a:cubicBezTo>
                  <a:cubicBezTo>
                    <a:pt x="2565" y="1337"/>
                    <a:pt x="2565" y="1337"/>
                    <a:pt x="2565" y="1337"/>
                  </a:cubicBezTo>
                  <a:cubicBezTo>
                    <a:pt x="2601" y="1350"/>
                    <a:pt x="2601" y="1350"/>
                    <a:pt x="2601" y="1350"/>
                  </a:cubicBezTo>
                  <a:cubicBezTo>
                    <a:pt x="2607" y="1350"/>
                    <a:pt x="2607" y="1350"/>
                    <a:pt x="2607" y="1350"/>
                  </a:cubicBezTo>
                  <a:cubicBezTo>
                    <a:pt x="2616" y="1356"/>
                    <a:pt x="2616" y="1356"/>
                    <a:pt x="2616" y="1356"/>
                  </a:cubicBezTo>
                  <a:cubicBezTo>
                    <a:pt x="2628" y="1351"/>
                    <a:pt x="2628" y="1351"/>
                    <a:pt x="2628" y="1351"/>
                  </a:cubicBezTo>
                  <a:cubicBezTo>
                    <a:pt x="2635" y="1351"/>
                    <a:pt x="2635" y="1351"/>
                    <a:pt x="2635" y="1351"/>
                  </a:cubicBezTo>
                  <a:cubicBezTo>
                    <a:pt x="2646" y="1345"/>
                    <a:pt x="2646" y="1345"/>
                    <a:pt x="2646" y="1345"/>
                  </a:cubicBezTo>
                  <a:cubicBezTo>
                    <a:pt x="2655" y="1344"/>
                    <a:pt x="2655" y="1344"/>
                    <a:pt x="2655" y="1344"/>
                  </a:cubicBezTo>
                  <a:cubicBezTo>
                    <a:pt x="2668" y="1348"/>
                    <a:pt x="2668" y="1348"/>
                    <a:pt x="2668" y="1348"/>
                  </a:cubicBezTo>
                  <a:cubicBezTo>
                    <a:pt x="2668" y="1355"/>
                    <a:pt x="2668" y="1355"/>
                    <a:pt x="2668" y="1355"/>
                  </a:cubicBezTo>
                  <a:cubicBezTo>
                    <a:pt x="2674" y="1358"/>
                    <a:pt x="2674" y="1358"/>
                    <a:pt x="2674" y="1358"/>
                  </a:cubicBezTo>
                  <a:cubicBezTo>
                    <a:pt x="2674" y="1365"/>
                    <a:pt x="2674" y="1365"/>
                    <a:pt x="2674" y="1365"/>
                  </a:cubicBezTo>
                  <a:cubicBezTo>
                    <a:pt x="2686" y="1365"/>
                    <a:pt x="2686" y="1365"/>
                    <a:pt x="2686" y="1365"/>
                  </a:cubicBezTo>
                  <a:cubicBezTo>
                    <a:pt x="2688" y="1358"/>
                    <a:pt x="2688" y="1358"/>
                    <a:pt x="2688" y="1358"/>
                  </a:cubicBezTo>
                  <a:cubicBezTo>
                    <a:pt x="2696" y="1362"/>
                    <a:pt x="2696" y="1362"/>
                    <a:pt x="2696" y="1362"/>
                  </a:cubicBezTo>
                  <a:cubicBezTo>
                    <a:pt x="2712" y="1373"/>
                    <a:pt x="2712" y="1373"/>
                    <a:pt x="2712" y="1373"/>
                  </a:cubicBezTo>
                  <a:cubicBezTo>
                    <a:pt x="2715" y="1378"/>
                    <a:pt x="2715" y="1378"/>
                    <a:pt x="2715" y="1378"/>
                  </a:cubicBezTo>
                  <a:cubicBezTo>
                    <a:pt x="2712" y="1386"/>
                    <a:pt x="2712" y="1386"/>
                    <a:pt x="2712" y="1386"/>
                  </a:cubicBezTo>
                  <a:cubicBezTo>
                    <a:pt x="2704" y="1396"/>
                    <a:pt x="2704" y="1396"/>
                    <a:pt x="2704" y="1396"/>
                  </a:cubicBezTo>
                  <a:cubicBezTo>
                    <a:pt x="2698" y="1399"/>
                    <a:pt x="2698" y="1399"/>
                    <a:pt x="2698" y="1399"/>
                  </a:cubicBezTo>
                  <a:cubicBezTo>
                    <a:pt x="2695" y="1415"/>
                    <a:pt x="2695" y="1415"/>
                    <a:pt x="2695" y="1415"/>
                  </a:cubicBezTo>
                  <a:cubicBezTo>
                    <a:pt x="2689" y="1425"/>
                    <a:pt x="2689" y="1425"/>
                    <a:pt x="2689" y="1425"/>
                  </a:cubicBezTo>
                  <a:cubicBezTo>
                    <a:pt x="2690" y="1430"/>
                    <a:pt x="2690" y="1430"/>
                    <a:pt x="2690" y="1430"/>
                  </a:cubicBezTo>
                  <a:cubicBezTo>
                    <a:pt x="2679" y="1436"/>
                    <a:pt x="2679" y="1436"/>
                    <a:pt x="2679" y="1436"/>
                  </a:cubicBezTo>
                  <a:cubicBezTo>
                    <a:pt x="2683" y="1447"/>
                    <a:pt x="2683" y="1447"/>
                    <a:pt x="2683" y="1447"/>
                  </a:cubicBezTo>
                  <a:cubicBezTo>
                    <a:pt x="2673" y="1453"/>
                    <a:pt x="2673" y="1453"/>
                    <a:pt x="2673" y="1453"/>
                  </a:cubicBezTo>
                  <a:cubicBezTo>
                    <a:pt x="2667" y="1473"/>
                    <a:pt x="2667" y="1473"/>
                    <a:pt x="2667" y="1473"/>
                  </a:cubicBezTo>
                  <a:cubicBezTo>
                    <a:pt x="2669" y="1478"/>
                    <a:pt x="2669" y="1478"/>
                    <a:pt x="2669" y="1478"/>
                  </a:cubicBezTo>
                  <a:cubicBezTo>
                    <a:pt x="2667" y="1480"/>
                    <a:pt x="2667" y="1480"/>
                    <a:pt x="2667" y="1480"/>
                  </a:cubicBezTo>
                  <a:cubicBezTo>
                    <a:pt x="2665" y="1481"/>
                    <a:pt x="2662" y="1481"/>
                    <a:pt x="2661" y="1484"/>
                  </a:cubicBezTo>
                  <a:cubicBezTo>
                    <a:pt x="2659" y="1487"/>
                    <a:pt x="2657" y="1495"/>
                    <a:pt x="2656" y="1498"/>
                  </a:cubicBezTo>
                  <a:cubicBezTo>
                    <a:pt x="2647" y="1508"/>
                    <a:pt x="2647" y="1508"/>
                    <a:pt x="2647" y="1508"/>
                  </a:cubicBezTo>
                  <a:cubicBezTo>
                    <a:pt x="2641" y="1519"/>
                    <a:pt x="2641" y="1519"/>
                    <a:pt x="2641" y="1519"/>
                  </a:cubicBezTo>
                  <a:cubicBezTo>
                    <a:pt x="2641" y="1531"/>
                    <a:pt x="2641" y="1531"/>
                    <a:pt x="2641" y="1531"/>
                  </a:cubicBezTo>
                  <a:cubicBezTo>
                    <a:pt x="2651" y="1539"/>
                    <a:pt x="2651" y="1539"/>
                    <a:pt x="2651" y="1539"/>
                  </a:cubicBezTo>
                  <a:cubicBezTo>
                    <a:pt x="2656" y="1551"/>
                    <a:pt x="2656" y="1551"/>
                    <a:pt x="2656" y="1551"/>
                  </a:cubicBezTo>
                  <a:cubicBezTo>
                    <a:pt x="2666" y="1559"/>
                    <a:pt x="2666" y="1559"/>
                    <a:pt x="2666" y="1559"/>
                  </a:cubicBezTo>
                  <a:cubicBezTo>
                    <a:pt x="2679" y="1557"/>
                    <a:pt x="2679" y="1557"/>
                    <a:pt x="2679" y="1557"/>
                  </a:cubicBezTo>
                  <a:cubicBezTo>
                    <a:pt x="2682" y="1564"/>
                    <a:pt x="2682" y="1564"/>
                    <a:pt x="2682" y="1564"/>
                  </a:cubicBezTo>
                  <a:cubicBezTo>
                    <a:pt x="2695" y="1572"/>
                    <a:pt x="2695" y="1572"/>
                    <a:pt x="2695" y="1572"/>
                  </a:cubicBezTo>
                  <a:cubicBezTo>
                    <a:pt x="2699" y="1579"/>
                    <a:pt x="2699" y="1579"/>
                    <a:pt x="2699" y="1579"/>
                  </a:cubicBezTo>
                  <a:cubicBezTo>
                    <a:pt x="2698" y="1588"/>
                    <a:pt x="2698" y="1588"/>
                    <a:pt x="2698" y="1588"/>
                  </a:cubicBezTo>
                  <a:cubicBezTo>
                    <a:pt x="2710" y="1588"/>
                    <a:pt x="2710" y="1588"/>
                    <a:pt x="2710" y="1588"/>
                  </a:cubicBezTo>
                  <a:cubicBezTo>
                    <a:pt x="2716" y="1595"/>
                    <a:pt x="2716" y="1595"/>
                    <a:pt x="2716" y="1595"/>
                  </a:cubicBezTo>
                  <a:cubicBezTo>
                    <a:pt x="2729" y="1595"/>
                    <a:pt x="2729" y="1595"/>
                    <a:pt x="2729" y="1595"/>
                  </a:cubicBezTo>
                  <a:cubicBezTo>
                    <a:pt x="2745" y="1586"/>
                    <a:pt x="2745" y="1586"/>
                    <a:pt x="2745" y="1586"/>
                  </a:cubicBezTo>
                  <a:cubicBezTo>
                    <a:pt x="2754" y="1587"/>
                    <a:pt x="2754" y="1587"/>
                    <a:pt x="2754" y="1587"/>
                  </a:cubicBezTo>
                  <a:cubicBezTo>
                    <a:pt x="2765" y="1596"/>
                    <a:pt x="2765" y="1596"/>
                    <a:pt x="2765" y="1596"/>
                  </a:cubicBezTo>
                  <a:cubicBezTo>
                    <a:pt x="2774" y="1599"/>
                    <a:pt x="2774" y="1599"/>
                    <a:pt x="2774" y="1599"/>
                  </a:cubicBezTo>
                  <a:cubicBezTo>
                    <a:pt x="2779" y="1603"/>
                    <a:pt x="2779" y="1603"/>
                    <a:pt x="2779" y="1603"/>
                  </a:cubicBezTo>
                  <a:cubicBezTo>
                    <a:pt x="2779" y="1615"/>
                    <a:pt x="2779" y="1615"/>
                    <a:pt x="2779" y="1615"/>
                  </a:cubicBezTo>
                  <a:cubicBezTo>
                    <a:pt x="2787" y="1617"/>
                    <a:pt x="2787" y="1617"/>
                    <a:pt x="2787" y="1617"/>
                  </a:cubicBezTo>
                  <a:cubicBezTo>
                    <a:pt x="2814" y="1608"/>
                    <a:pt x="2814" y="1608"/>
                    <a:pt x="2814" y="1608"/>
                  </a:cubicBezTo>
                  <a:cubicBezTo>
                    <a:pt x="2841" y="1599"/>
                    <a:pt x="2841" y="1599"/>
                    <a:pt x="2841" y="1599"/>
                  </a:cubicBezTo>
                  <a:cubicBezTo>
                    <a:pt x="2857" y="1598"/>
                    <a:pt x="2857" y="1598"/>
                    <a:pt x="2857" y="1598"/>
                  </a:cubicBezTo>
                  <a:cubicBezTo>
                    <a:pt x="2898" y="1656"/>
                    <a:pt x="2898" y="1656"/>
                    <a:pt x="2898" y="1656"/>
                  </a:cubicBezTo>
                  <a:cubicBezTo>
                    <a:pt x="2900" y="1670"/>
                    <a:pt x="2900" y="1670"/>
                    <a:pt x="2900" y="1670"/>
                  </a:cubicBezTo>
                  <a:cubicBezTo>
                    <a:pt x="2920" y="1685"/>
                    <a:pt x="2920" y="1685"/>
                    <a:pt x="2920" y="1685"/>
                  </a:cubicBezTo>
                  <a:cubicBezTo>
                    <a:pt x="2913" y="1689"/>
                    <a:pt x="2904" y="1689"/>
                    <a:pt x="2900" y="1697"/>
                  </a:cubicBezTo>
                  <a:close/>
                  <a:moveTo>
                    <a:pt x="3484" y="1141"/>
                  </a:moveTo>
                  <a:cubicBezTo>
                    <a:pt x="3482" y="1140"/>
                    <a:pt x="3479" y="1141"/>
                    <a:pt x="3479" y="1142"/>
                  </a:cubicBezTo>
                  <a:cubicBezTo>
                    <a:pt x="3476" y="1150"/>
                    <a:pt x="3467" y="1155"/>
                    <a:pt x="3468" y="1165"/>
                  </a:cubicBezTo>
                  <a:cubicBezTo>
                    <a:pt x="3468" y="1170"/>
                    <a:pt x="3466" y="1175"/>
                    <a:pt x="3464" y="1180"/>
                  </a:cubicBezTo>
                  <a:cubicBezTo>
                    <a:pt x="3461" y="1185"/>
                    <a:pt x="3456" y="1190"/>
                    <a:pt x="3458" y="1197"/>
                  </a:cubicBezTo>
                  <a:cubicBezTo>
                    <a:pt x="3458" y="1198"/>
                    <a:pt x="3455" y="1200"/>
                    <a:pt x="3454" y="1202"/>
                  </a:cubicBezTo>
                  <a:cubicBezTo>
                    <a:pt x="3448" y="1209"/>
                    <a:pt x="3440" y="1216"/>
                    <a:pt x="3442" y="1227"/>
                  </a:cubicBezTo>
                  <a:cubicBezTo>
                    <a:pt x="3443" y="1230"/>
                    <a:pt x="3439" y="1233"/>
                    <a:pt x="3436" y="1235"/>
                  </a:cubicBezTo>
                  <a:cubicBezTo>
                    <a:pt x="3429" y="1240"/>
                    <a:pt x="3428" y="1247"/>
                    <a:pt x="3433" y="1254"/>
                  </a:cubicBezTo>
                  <a:cubicBezTo>
                    <a:pt x="3435" y="1257"/>
                    <a:pt x="3438" y="1256"/>
                    <a:pt x="3440" y="1257"/>
                  </a:cubicBezTo>
                  <a:cubicBezTo>
                    <a:pt x="3443" y="1258"/>
                    <a:pt x="3444" y="1260"/>
                    <a:pt x="3442" y="1264"/>
                  </a:cubicBezTo>
                  <a:cubicBezTo>
                    <a:pt x="3436" y="1272"/>
                    <a:pt x="3431" y="1281"/>
                    <a:pt x="3427" y="1290"/>
                  </a:cubicBezTo>
                  <a:cubicBezTo>
                    <a:pt x="3425" y="1292"/>
                    <a:pt x="3425" y="1297"/>
                    <a:pt x="3427" y="1298"/>
                  </a:cubicBezTo>
                  <a:cubicBezTo>
                    <a:pt x="3432" y="1303"/>
                    <a:pt x="3428" y="1304"/>
                    <a:pt x="3424" y="1305"/>
                  </a:cubicBezTo>
                  <a:cubicBezTo>
                    <a:pt x="3420" y="1307"/>
                    <a:pt x="3415" y="1310"/>
                    <a:pt x="3410" y="1310"/>
                  </a:cubicBezTo>
                  <a:cubicBezTo>
                    <a:pt x="3399" y="1310"/>
                    <a:pt x="3388" y="1313"/>
                    <a:pt x="3376" y="1314"/>
                  </a:cubicBezTo>
                  <a:cubicBezTo>
                    <a:pt x="3372" y="1315"/>
                    <a:pt x="3370" y="1317"/>
                    <a:pt x="3369" y="1321"/>
                  </a:cubicBezTo>
                  <a:cubicBezTo>
                    <a:pt x="3366" y="1328"/>
                    <a:pt x="3361" y="1330"/>
                    <a:pt x="3355" y="1331"/>
                  </a:cubicBezTo>
                  <a:cubicBezTo>
                    <a:pt x="3353" y="1332"/>
                    <a:pt x="3351" y="1331"/>
                    <a:pt x="3350" y="1332"/>
                  </a:cubicBezTo>
                  <a:cubicBezTo>
                    <a:pt x="3341" y="1340"/>
                    <a:pt x="3329" y="1343"/>
                    <a:pt x="3323" y="1352"/>
                  </a:cubicBezTo>
                  <a:cubicBezTo>
                    <a:pt x="3320" y="1357"/>
                    <a:pt x="3315" y="1360"/>
                    <a:pt x="3309" y="1359"/>
                  </a:cubicBezTo>
                  <a:cubicBezTo>
                    <a:pt x="3304" y="1359"/>
                    <a:pt x="3300" y="1361"/>
                    <a:pt x="3296" y="1364"/>
                  </a:cubicBezTo>
                  <a:cubicBezTo>
                    <a:pt x="3292" y="1367"/>
                    <a:pt x="3286" y="1370"/>
                    <a:pt x="3281" y="1373"/>
                  </a:cubicBezTo>
                  <a:cubicBezTo>
                    <a:pt x="3277" y="1376"/>
                    <a:pt x="3272" y="1379"/>
                    <a:pt x="3269" y="1382"/>
                  </a:cubicBezTo>
                  <a:cubicBezTo>
                    <a:pt x="3264" y="1387"/>
                    <a:pt x="3259" y="1390"/>
                    <a:pt x="3252" y="1390"/>
                  </a:cubicBezTo>
                  <a:cubicBezTo>
                    <a:pt x="3250" y="1390"/>
                    <a:pt x="3246" y="1392"/>
                    <a:pt x="3246" y="1393"/>
                  </a:cubicBezTo>
                  <a:cubicBezTo>
                    <a:pt x="3246" y="1402"/>
                    <a:pt x="3234" y="1405"/>
                    <a:pt x="3236" y="1415"/>
                  </a:cubicBezTo>
                  <a:cubicBezTo>
                    <a:pt x="3236" y="1417"/>
                    <a:pt x="3234" y="1419"/>
                    <a:pt x="3232" y="1420"/>
                  </a:cubicBezTo>
                  <a:cubicBezTo>
                    <a:pt x="3228" y="1423"/>
                    <a:pt x="3225" y="1425"/>
                    <a:pt x="3221" y="1427"/>
                  </a:cubicBezTo>
                  <a:cubicBezTo>
                    <a:pt x="3216" y="1430"/>
                    <a:pt x="3214" y="1435"/>
                    <a:pt x="3214" y="1440"/>
                  </a:cubicBezTo>
                  <a:cubicBezTo>
                    <a:pt x="3216" y="1446"/>
                    <a:pt x="3212" y="1449"/>
                    <a:pt x="3207" y="1450"/>
                  </a:cubicBezTo>
                  <a:cubicBezTo>
                    <a:pt x="3201" y="1452"/>
                    <a:pt x="3198" y="1456"/>
                    <a:pt x="3195" y="1461"/>
                  </a:cubicBezTo>
                  <a:cubicBezTo>
                    <a:pt x="3192" y="1467"/>
                    <a:pt x="3188" y="1472"/>
                    <a:pt x="3184" y="1478"/>
                  </a:cubicBezTo>
                  <a:cubicBezTo>
                    <a:pt x="3182" y="1482"/>
                    <a:pt x="3180" y="1486"/>
                    <a:pt x="3179" y="1490"/>
                  </a:cubicBezTo>
                  <a:cubicBezTo>
                    <a:pt x="3176" y="1495"/>
                    <a:pt x="3174" y="1501"/>
                    <a:pt x="3170" y="1506"/>
                  </a:cubicBezTo>
                  <a:cubicBezTo>
                    <a:pt x="3166" y="1511"/>
                    <a:pt x="3164" y="1519"/>
                    <a:pt x="3162" y="1525"/>
                  </a:cubicBezTo>
                  <a:cubicBezTo>
                    <a:pt x="3160" y="1535"/>
                    <a:pt x="3155" y="1542"/>
                    <a:pt x="3147" y="1548"/>
                  </a:cubicBezTo>
                  <a:cubicBezTo>
                    <a:pt x="3141" y="1554"/>
                    <a:pt x="3136" y="1563"/>
                    <a:pt x="3133" y="1572"/>
                  </a:cubicBezTo>
                  <a:cubicBezTo>
                    <a:pt x="3131" y="1579"/>
                    <a:pt x="3134" y="1587"/>
                    <a:pt x="3135" y="1595"/>
                  </a:cubicBezTo>
                  <a:cubicBezTo>
                    <a:pt x="3135" y="1596"/>
                    <a:pt x="3137" y="1598"/>
                    <a:pt x="3138" y="1599"/>
                  </a:cubicBezTo>
                  <a:cubicBezTo>
                    <a:pt x="3140" y="1600"/>
                    <a:pt x="3145" y="1598"/>
                    <a:pt x="3145" y="1602"/>
                  </a:cubicBezTo>
                  <a:cubicBezTo>
                    <a:pt x="3145" y="1607"/>
                    <a:pt x="3143" y="1611"/>
                    <a:pt x="3138" y="1612"/>
                  </a:cubicBezTo>
                  <a:cubicBezTo>
                    <a:pt x="3131" y="1615"/>
                    <a:pt x="3130" y="1620"/>
                    <a:pt x="3132" y="1626"/>
                  </a:cubicBezTo>
                  <a:cubicBezTo>
                    <a:pt x="3132" y="1628"/>
                    <a:pt x="3132" y="1629"/>
                    <a:pt x="3133" y="1631"/>
                  </a:cubicBezTo>
                  <a:cubicBezTo>
                    <a:pt x="3134" y="1635"/>
                    <a:pt x="3132" y="1635"/>
                    <a:pt x="3129" y="1634"/>
                  </a:cubicBezTo>
                  <a:cubicBezTo>
                    <a:pt x="3125" y="1634"/>
                    <a:pt x="3121" y="1633"/>
                    <a:pt x="3117" y="1633"/>
                  </a:cubicBezTo>
                  <a:cubicBezTo>
                    <a:pt x="3104" y="1633"/>
                    <a:pt x="3095" y="1641"/>
                    <a:pt x="3093" y="1656"/>
                  </a:cubicBezTo>
                  <a:cubicBezTo>
                    <a:pt x="3093" y="1660"/>
                    <a:pt x="3093" y="1665"/>
                    <a:pt x="3093" y="1669"/>
                  </a:cubicBezTo>
                  <a:cubicBezTo>
                    <a:pt x="3092" y="1676"/>
                    <a:pt x="3090" y="1681"/>
                    <a:pt x="3083" y="1682"/>
                  </a:cubicBezTo>
                  <a:cubicBezTo>
                    <a:pt x="3077" y="1684"/>
                    <a:pt x="3075" y="1687"/>
                    <a:pt x="3074" y="1693"/>
                  </a:cubicBezTo>
                  <a:cubicBezTo>
                    <a:pt x="3072" y="1704"/>
                    <a:pt x="3068" y="1705"/>
                    <a:pt x="3057" y="1704"/>
                  </a:cubicBezTo>
                  <a:cubicBezTo>
                    <a:pt x="3052" y="1703"/>
                    <a:pt x="3046" y="1704"/>
                    <a:pt x="3040" y="1705"/>
                  </a:cubicBezTo>
                  <a:cubicBezTo>
                    <a:pt x="3039" y="1705"/>
                    <a:pt x="3038" y="1706"/>
                    <a:pt x="3038" y="1708"/>
                  </a:cubicBezTo>
                  <a:cubicBezTo>
                    <a:pt x="3034" y="1714"/>
                    <a:pt x="3031" y="1721"/>
                    <a:pt x="3028" y="1728"/>
                  </a:cubicBezTo>
                  <a:cubicBezTo>
                    <a:pt x="3027" y="1732"/>
                    <a:pt x="3027" y="1738"/>
                    <a:pt x="3027" y="1743"/>
                  </a:cubicBezTo>
                  <a:cubicBezTo>
                    <a:pt x="3028" y="1748"/>
                    <a:pt x="3026" y="1749"/>
                    <a:pt x="3022" y="1749"/>
                  </a:cubicBezTo>
                  <a:cubicBezTo>
                    <a:pt x="3016" y="1750"/>
                    <a:pt x="3010" y="1750"/>
                    <a:pt x="3006" y="1743"/>
                  </a:cubicBezTo>
                  <a:cubicBezTo>
                    <a:pt x="3003" y="1739"/>
                    <a:pt x="2998" y="1736"/>
                    <a:pt x="2994" y="1733"/>
                  </a:cubicBezTo>
                  <a:cubicBezTo>
                    <a:pt x="2993" y="1732"/>
                    <a:pt x="2991" y="1731"/>
                    <a:pt x="2990" y="1729"/>
                  </a:cubicBezTo>
                  <a:cubicBezTo>
                    <a:pt x="2990" y="1728"/>
                    <a:pt x="2990" y="1727"/>
                    <a:pt x="2990" y="1726"/>
                  </a:cubicBezTo>
                  <a:cubicBezTo>
                    <a:pt x="2986" y="1722"/>
                    <a:pt x="2980" y="1718"/>
                    <a:pt x="2979" y="1714"/>
                  </a:cubicBezTo>
                  <a:cubicBezTo>
                    <a:pt x="2978" y="1709"/>
                    <a:pt x="2981" y="1703"/>
                    <a:pt x="2980" y="1697"/>
                  </a:cubicBezTo>
                  <a:cubicBezTo>
                    <a:pt x="2978" y="1691"/>
                    <a:pt x="2976" y="1687"/>
                    <a:pt x="2969" y="1684"/>
                  </a:cubicBezTo>
                  <a:cubicBezTo>
                    <a:pt x="2964" y="1682"/>
                    <a:pt x="2959" y="1679"/>
                    <a:pt x="2953" y="1682"/>
                  </a:cubicBezTo>
                  <a:cubicBezTo>
                    <a:pt x="2952" y="1683"/>
                    <a:pt x="2950" y="1682"/>
                    <a:pt x="2948" y="1681"/>
                  </a:cubicBezTo>
                  <a:cubicBezTo>
                    <a:pt x="2943" y="1677"/>
                    <a:pt x="2936" y="1678"/>
                    <a:pt x="2930" y="1678"/>
                  </a:cubicBezTo>
                  <a:cubicBezTo>
                    <a:pt x="2929" y="1678"/>
                    <a:pt x="2927" y="1678"/>
                    <a:pt x="2927" y="1678"/>
                  </a:cubicBezTo>
                  <a:cubicBezTo>
                    <a:pt x="2926" y="1680"/>
                    <a:pt x="2925" y="1681"/>
                    <a:pt x="2924" y="1682"/>
                  </a:cubicBezTo>
                  <a:cubicBezTo>
                    <a:pt x="2904" y="1667"/>
                    <a:pt x="2904" y="1667"/>
                    <a:pt x="2904" y="1667"/>
                  </a:cubicBezTo>
                  <a:cubicBezTo>
                    <a:pt x="2902" y="1654"/>
                    <a:pt x="2902" y="1654"/>
                    <a:pt x="2902" y="1654"/>
                  </a:cubicBezTo>
                  <a:cubicBezTo>
                    <a:pt x="2859" y="1594"/>
                    <a:pt x="2859" y="1594"/>
                    <a:pt x="2859" y="1594"/>
                  </a:cubicBezTo>
                  <a:cubicBezTo>
                    <a:pt x="2841" y="1595"/>
                    <a:pt x="2841" y="1595"/>
                    <a:pt x="2841" y="1595"/>
                  </a:cubicBezTo>
                  <a:cubicBezTo>
                    <a:pt x="2813" y="1604"/>
                    <a:pt x="2813" y="1604"/>
                    <a:pt x="2813" y="1604"/>
                  </a:cubicBezTo>
                  <a:cubicBezTo>
                    <a:pt x="2787" y="1613"/>
                    <a:pt x="2787" y="1613"/>
                    <a:pt x="2787" y="1613"/>
                  </a:cubicBezTo>
                  <a:cubicBezTo>
                    <a:pt x="2783" y="1612"/>
                    <a:pt x="2783" y="1612"/>
                    <a:pt x="2783" y="1612"/>
                  </a:cubicBezTo>
                  <a:cubicBezTo>
                    <a:pt x="2783" y="1601"/>
                    <a:pt x="2783" y="1601"/>
                    <a:pt x="2783" y="1601"/>
                  </a:cubicBezTo>
                  <a:cubicBezTo>
                    <a:pt x="2776" y="1595"/>
                    <a:pt x="2776" y="1595"/>
                    <a:pt x="2776" y="1595"/>
                  </a:cubicBezTo>
                  <a:cubicBezTo>
                    <a:pt x="2767" y="1592"/>
                    <a:pt x="2767" y="1592"/>
                    <a:pt x="2767" y="1592"/>
                  </a:cubicBezTo>
                  <a:cubicBezTo>
                    <a:pt x="2756" y="1583"/>
                    <a:pt x="2756" y="1583"/>
                    <a:pt x="2756" y="1583"/>
                  </a:cubicBezTo>
                  <a:cubicBezTo>
                    <a:pt x="2744" y="1581"/>
                    <a:pt x="2744" y="1581"/>
                    <a:pt x="2744" y="1581"/>
                  </a:cubicBezTo>
                  <a:cubicBezTo>
                    <a:pt x="2728" y="1590"/>
                    <a:pt x="2728" y="1590"/>
                    <a:pt x="2728" y="1590"/>
                  </a:cubicBezTo>
                  <a:cubicBezTo>
                    <a:pt x="2718" y="1590"/>
                    <a:pt x="2718" y="1590"/>
                    <a:pt x="2718" y="1590"/>
                  </a:cubicBezTo>
                  <a:cubicBezTo>
                    <a:pt x="2712" y="1583"/>
                    <a:pt x="2712" y="1583"/>
                    <a:pt x="2712" y="1583"/>
                  </a:cubicBezTo>
                  <a:cubicBezTo>
                    <a:pt x="2703" y="1583"/>
                    <a:pt x="2703" y="1583"/>
                    <a:pt x="2703" y="1583"/>
                  </a:cubicBezTo>
                  <a:cubicBezTo>
                    <a:pt x="2704" y="1578"/>
                    <a:pt x="2704" y="1578"/>
                    <a:pt x="2704" y="1578"/>
                  </a:cubicBezTo>
                  <a:cubicBezTo>
                    <a:pt x="2698" y="1569"/>
                    <a:pt x="2698" y="1569"/>
                    <a:pt x="2698" y="1569"/>
                  </a:cubicBezTo>
                  <a:cubicBezTo>
                    <a:pt x="2685" y="1561"/>
                    <a:pt x="2685" y="1561"/>
                    <a:pt x="2685" y="1561"/>
                  </a:cubicBezTo>
                  <a:cubicBezTo>
                    <a:pt x="2681" y="1552"/>
                    <a:pt x="2681" y="1552"/>
                    <a:pt x="2681" y="1552"/>
                  </a:cubicBezTo>
                  <a:cubicBezTo>
                    <a:pt x="2667" y="1554"/>
                    <a:pt x="2667" y="1554"/>
                    <a:pt x="2667" y="1554"/>
                  </a:cubicBezTo>
                  <a:cubicBezTo>
                    <a:pt x="2659" y="1548"/>
                    <a:pt x="2659" y="1548"/>
                    <a:pt x="2659" y="1548"/>
                  </a:cubicBezTo>
                  <a:cubicBezTo>
                    <a:pt x="2655" y="1536"/>
                    <a:pt x="2655" y="1536"/>
                    <a:pt x="2655" y="1536"/>
                  </a:cubicBezTo>
                  <a:cubicBezTo>
                    <a:pt x="2645" y="1529"/>
                    <a:pt x="2645" y="1529"/>
                    <a:pt x="2645" y="1529"/>
                  </a:cubicBezTo>
                  <a:cubicBezTo>
                    <a:pt x="2645" y="1520"/>
                    <a:pt x="2645" y="1520"/>
                    <a:pt x="2645" y="1520"/>
                  </a:cubicBezTo>
                  <a:cubicBezTo>
                    <a:pt x="2650" y="1511"/>
                    <a:pt x="2650" y="1511"/>
                    <a:pt x="2650" y="1511"/>
                  </a:cubicBezTo>
                  <a:cubicBezTo>
                    <a:pt x="2660" y="1500"/>
                    <a:pt x="2660" y="1500"/>
                    <a:pt x="2660" y="1500"/>
                  </a:cubicBezTo>
                  <a:cubicBezTo>
                    <a:pt x="2661" y="1500"/>
                    <a:pt x="2661" y="1500"/>
                    <a:pt x="2661" y="1500"/>
                  </a:cubicBezTo>
                  <a:cubicBezTo>
                    <a:pt x="2662" y="1495"/>
                    <a:pt x="2663" y="1488"/>
                    <a:pt x="2664" y="1486"/>
                  </a:cubicBezTo>
                  <a:cubicBezTo>
                    <a:pt x="2665" y="1485"/>
                    <a:pt x="2667" y="1485"/>
                    <a:pt x="2668" y="1484"/>
                  </a:cubicBezTo>
                  <a:cubicBezTo>
                    <a:pt x="2669" y="1484"/>
                    <a:pt x="2669" y="1484"/>
                    <a:pt x="2669" y="1484"/>
                  </a:cubicBezTo>
                  <a:cubicBezTo>
                    <a:pt x="2674" y="1479"/>
                    <a:pt x="2674" y="1479"/>
                    <a:pt x="2674" y="1479"/>
                  </a:cubicBezTo>
                  <a:cubicBezTo>
                    <a:pt x="2671" y="1473"/>
                    <a:pt x="2671" y="1473"/>
                    <a:pt x="2671" y="1473"/>
                  </a:cubicBezTo>
                  <a:cubicBezTo>
                    <a:pt x="2676" y="1456"/>
                    <a:pt x="2676" y="1456"/>
                    <a:pt x="2676" y="1456"/>
                  </a:cubicBezTo>
                  <a:cubicBezTo>
                    <a:pt x="2688" y="1449"/>
                    <a:pt x="2688" y="1449"/>
                    <a:pt x="2688" y="1449"/>
                  </a:cubicBezTo>
                  <a:cubicBezTo>
                    <a:pt x="2685" y="1438"/>
                    <a:pt x="2685" y="1438"/>
                    <a:pt x="2685" y="1438"/>
                  </a:cubicBezTo>
                  <a:cubicBezTo>
                    <a:pt x="2695" y="1432"/>
                    <a:pt x="2695" y="1432"/>
                    <a:pt x="2695" y="1432"/>
                  </a:cubicBezTo>
                  <a:cubicBezTo>
                    <a:pt x="2694" y="1426"/>
                    <a:pt x="2694" y="1426"/>
                    <a:pt x="2694" y="1426"/>
                  </a:cubicBezTo>
                  <a:cubicBezTo>
                    <a:pt x="2699" y="1417"/>
                    <a:pt x="2699" y="1417"/>
                    <a:pt x="2699" y="1417"/>
                  </a:cubicBezTo>
                  <a:cubicBezTo>
                    <a:pt x="2702" y="1402"/>
                    <a:pt x="2702" y="1402"/>
                    <a:pt x="2702" y="1402"/>
                  </a:cubicBezTo>
                  <a:cubicBezTo>
                    <a:pt x="2707" y="1400"/>
                    <a:pt x="2707" y="1400"/>
                    <a:pt x="2707" y="1400"/>
                  </a:cubicBezTo>
                  <a:cubicBezTo>
                    <a:pt x="2715" y="1389"/>
                    <a:pt x="2715" y="1389"/>
                    <a:pt x="2715" y="1389"/>
                  </a:cubicBezTo>
                  <a:cubicBezTo>
                    <a:pt x="2719" y="1378"/>
                    <a:pt x="2719" y="1378"/>
                    <a:pt x="2719" y="1378"/>
                  </a:cubicBezTo>
                  <a:cubicBezTo>
                    <a:pt x="2716" y="1370"/>
                    <a:pt x="2716" y="1370"/>
                    <a:pt x="2716" y="1370"/>
                  </a:cubicBezTo>
                  <a:cubicBezTo>
                    <a:pt x="2699" y="1359"/>
                    <a:pt x="2699" y="1359"/>
                    <a:pt x="2699" y="1359"/>
                  </a:cubicBezTo>
                  <a:cubicBezTo>
                    <a:pt x="2685" y="1352"/>
                    <a:pt x="2685" y="1352"/>
                    <a:pt x="2685" y="1352"/>
                  </a:cubicBezTo>
                  <a:cubicBezTo>
                    <a:pt x="2683" y="1360"/>
                    <a:pt x="2683" y="1360"/>
                    <a:pt x="2683" y="1360"/>
                  </a:cubicBezTo>
                  <a:cubicBezTo>
                    <a:pt x="2679" y="1360"/>
                    <a:pt x="2679" y="1360"/>
                    <a:pt x="2679" y="1360"/>
                  </a:cubicBezTo>
                  <a:cubicBezTo>
                    <a:pt x="2679" y="1355"/>
                    <a:pt x="2679" y="1355"/>
                    <a:pt x="2679" y="1355"/>
                  </a:cubicBezTo>
                  <a:cubicBezTo>
                    <a:pt x="2672" y="1352"/>
                    <a:pt x="2672" y="1352"/>
                    <a:pt x="2672" y="1352"/>
                  </a:cubicBezTo>
                  <a:cubicBezTo>
                    <a:pt x="2672" y="1345"/>
                    <a:pt x="2672" y="1345"/>
                    <a:pt x="2672" y="1345"/>
                  </a:cubicBezTo>
                  <a:cubicBezTo>
                    <a:pt x="2658" y="1340"/>
                    <a:pt x="2658" y="1340"/>
                    <a:pt x="2658" y="1340"/>
                  </a:cubicBezTo>
                  <a:cubicBezTo>
                    <a:pt x="2652" y="759"/>
                    <a:pt x="2652" y="759"/>
                    <a:pt x="2652" y="759"/>
                  </a:cubicBezTo>
                  <a:cubicBezTo>
                    <a:pt x="2718" y="759"/>
                    <a:pt x="2784" y="759"/>
                    <a:pt x="2850" y="759"/>
                  </a:cubicBezTo>
                  <a:cubicBezTo>
                    <a:pt x="2851" y="759"/>
                    <a:pt x="2853" y="759"/>
                    <a:pt x="2855" y="759"/>
                  </a:cubicBezTo>
                  <a:cubicBezTo>
                    <a:pt x="2861" y="759"/>
                    <a:pt x="2861" y="759"/>
                    <a:pt x="2860" y="765"/>
                  </a:cubicBezTo>
                  <a:cubicBezTo>
                    <a:pt x="2858" y="775"/>
                    <a:pt x="2862" y="781"/>
                    <a:pt x="2872" y="781"/>
                  </a:cubicBezTo>
                  <a:cubicBezTo>
                    <a:pt x="2880" y="780"/>
                    <a:pt x="2889" y="779"/>
                    <a:pt x="2896" y="776"/>
                  </a:cubicBezTo>
                  <a:cubicBezTo>
                    <a:pt x="2901" y="775"/>
                    <a:pt x="2904" y="769"/>
                    <a:pt x="2907" y="765"/>
                  </a:cubicBezTo>
                  <a:cubicBezTo>
                    <a:pt x="2910" y="761"/>
                    <a:pt x="2912" y="758"/>
                    <a:pt x="2918" y="758"/>
                  </a:cubicBezTo>
                  <a:cubicBezTo>
                    <a:pt x="2990" y="759"/>
                    <a:pt x="3063" y="759"/>
                    <a:pt x="3135" y="759"/>
                  </a:cubicBezTo>
                  <a:cubicBezTo>
                    <a:pt x="3138" y="759"/>
                    <a:pt x="3141" y="758"/>
                    <a:pt x="3143" y="759"/>
                  </a:cubicBezTo>
                  <a:cubicBezTo>
                    <a:pt x="3147" y="759"/>
                    <a:pt x="3150" y="761"/>
                    <a:pt x="3152" y="765"/>
                  </a:cubicBezTo>
                  <a:cubicBezTo>
                    <a:pt x="3155" y="775"/>
                    <a:pt x="3160" y="776"/>
                    <a:pt x="3169" y="771"/>
                  </a:cubicBezTo>
                  <a:cubicBezTo>
                    <a:pt x="3171" y="769"/>
                    <a:pt x="3172" y="768"/>
                    <a:pt x="3174" y="767"/>
                  </a:cubicBezTo>
                  <a:cubicBezTo>
                    <a:pt x="3178" y="765"/>
                    <a:pt x="3178" y="758"/>
                    <a:pt x="3185" y="761"/>
                  </a:cubicBezTo>
                  <a:cubicBezTo>
                    <a:pt x="3189" y="762"/>
                    <a:pt x="3194" y="759"/>
                    <a:pt x="3199" y="761"/>
                  </a:cubicBezTo>
                  <a:cubicBezTo>
                    <a:pt x="3204" y="763"/>
                    <a:pt x="3207" y="758"/>
                    <a:pt x="3208" y="753"/>
                  </a:cubicBezTo>
                  <a:cubicBezTo>
                    <a:pt x="3211" y="754"/>
                    <a:pt x="3215" y="755"/>
                    <a:pt x="3218" y="754"/>
                  </a:cubicBezTo>
                  <a:cubicBezTo>
                    <a:pt x="3230" y="754"/>
                    <a:pt x="3230" y="754"/>
                    <a:pt x="3230" y="754"/>
                  </a:cubicBezTo>
                  <a:cubicBezTo>
                    <a:pt x="3235" y="757"/>
                    <a:pt x="3235" y="757"/>
                    <a:pt x="3235" y="757"/>
                  </a:cubicBezTo>
                  <a:cubicBezTo>
                    <a:pt x="3250" y="757"/>
                    <a:pt x="3250" y="757"/>
                    <a:pt x="3250" y="757"/>
                  </a:cubicBezTo>
                  <a:cubicBezTo>
                    <a:pt x="3257" y="754"/>
                    <a:pt x="3257" y="754"/>
                    <a:pt x="3257" y="754"/>
                  </a:cubicBezTo>
                  <a:cubicBezTo>
                    <a:pt x="3265" y="763"/>
                    <a:pt x="3265" y="763"/>
                    <a:pt x="3265" y="763"/>
                  </a:cubicBezTo>
                  <a:cubicBezTo>
                    <a:pt x="3275" y="756"/>
                    <a:pt x="3275" y="756"/>
                    <a:pt x="3275" y="756"/>
                  </a:cubicBezTo>
                  <a:cubicBezTo>
                    <a:pt x="3278" y="758"/>
                    <a:pt x="3278" y="758"/>
                    <a:pt x="3278" y="758"/>
                  </a:cubicBezTo>
                  <a:cubicBezTo>
                    <a:pt x="3275" y="838"/>
                    <a:pt x="3275" y="838"/>
                    <a:pt x="3275" y="838"/>
                  </a:cubicBezTo>
                  <a:cubicBezTo>
                    <a:pt x="3268" y="848"/>
                    <a:pt x="3268" y="848"/>
                    <a:pt x="3268" y="848"/>
                  </a:cubicBezTo>
                  <a:cubicBezTo>
                    <a:pt x="3268" y="849"/>
                    <a:pt x="3268" y="849"/>
                    <a:pt x="3268" y="849"/>
                  </a:cubicBezTo>
                  <a:cubicBezTo>
                    <a:pt x="3268" y="849"/>
                    <a:pt x="3266" y="862"/>
                    <a:pt x="3264" y="871"/>
                  </a:cubicBezTo>
                  <a:cubicBezTo>
                    <a:pt x="3262" y="880"/>
                    <a:pt x="3255" y="902"/>
                    <a:pt x="3255" y="902"/>
                  </a:cubicBezTo>
                  <a:cubicBezTo>
                    <a:pt x="3255" y="904"/>
                    <a:pt x="3255" y="904"/>
                    <a:pt x="3255" y="904"/>
                  </a:cubicBezTo>
                  <a:cubicBezTo>
                    <a:pt x="3330" y="951"/>
                    <a:pt x="3330" y="951"/>
                    <a:pt x="3330" y="951"/>
                  </a:cubicBezTo>
                  <a:cubicBezTo>
                    <a:pt x="3338" y="954"/>
                    <a:pt x="3338" y="954"/>
                    <a:pt x="3338" y="954"/>
                  </a:cubicBezTo>
                  <a:cubicBezTo>
                    <a:pt x="3341" y="961"/>
                    <a:pt x="3341" y="961"/>
                    <a:pt x="3341" y="961"/>
                  </a:cubicBezTo>
                  <a:cubicBezTo>
                    <a:pt x="3380" y="996"/>
                    <a:pt x="3380" y="996"/>
                    <a:pt x="3380" y="996"/>
                  </a:cubicBezTo>
                  <a:cubicBezTo>
                    <a:pt x="3383" y="1005"/>
                    <a:pt x="3383" y="1005"/>
                    <a:pt x="3383" y="1005"/>
                  </a:cubicBezTo>
                  <a:cubicBezTo>
                    <a:pt x="3389" y="1005"/>
                    <a:pt x="3389" y="1005"/>
                    <a:pt x="3389" y="1005"/>
                  </a:cubicBezTo>
                  <a:cubicBezTo>
                    <a:pt x="3391" y="1006"/>
                    <a:pt x="3399" y="1011"/>
                    <a:pt x="3404" y="1017"/>
                  </a:cubicBezTo>
                  <a:cubicBezTo>
                    <a:pt x="3411" y="1024"/>
                    <a:pt x="3423" y="1038"/>
                    <a:pt x="3423" y="1038"/>
                  </a:cubicBezTo>
                  <a:cubicBezTo>
                    <a:pt x="3441" y="1058"/>
                    <a:pt x="3441" y="1058"/>
                    <a:pt x="3441" y="1058"/>
                  </a:cubicBezTo>
                  <a:cubicBezTo>
                    <a:pt x="3458" y="1073"/>
                    <a:pt x="3458" y="1073"/>
                    <a:pt x="3458" y="1073"/>
                  </a:cubicBezTo>
                  <a:cubicBezTo>
                    <a:pt x="3458" y="1078"/>
                    <a:pt x="3458" y="1078"/>
                    <a:pt x="3458" y="1078"/>
                  </a:cubicBezTo>
                  <a:cubicBezTo>
                    <a:pt x="3475" y="1106"/>
                    <a:pt x="3475" y="1106"/>
                    <a:pt x="3475" y="1106"/>
                  </a:cubicBezTo>
                  <a:cubicBezTo>
                    <a:pt x="3485" y="1122"/>
                    <a:pt x="3485" y="1122"/>
                    <a:pt x="3485" y="1122"/>
                  </a:cubicBezTo>
                  <a:cubicBezTo>
                    <a:pt x="3485" y="1141"/>
                    <a:pt x="3485" y="1141"/>
                    <a:pt x="3485" y="1141"/>
                  </a:cubicBezTo>
                  <a:cubicBezTo>
                    <a:pt x="3485" y="1141"/>
                    <a:pt x="3484" y="1141"/>
                    <a:pt x="3484" y="1141"/>
                  </a:cubicBezTo>
                  <a:close/>
                  <a:moveTo>
                    <a:pt x="4108" y="378"/>
                  </a:moveTo>
                  <a:cubicBezTo>
                    <a:pt x="4107" y="382"/>
                    <a:pt x="4106" y="387"/>
                    <a:pt x="4106" y="392"/>
                  </a:cubicBezTo>
                  <a:cubicBezTo>
                    <a:pt x="4106" y="401"/>
                    <a:pt x="4099" y="404"/>
                    <a:pt x="4094" y="410"/>
                  </a:cubicBezTo>
                  <a:cubicBezTo>
                    <a:pt x="4094" y="411"/>
                    <a:pt x="4091" y="410"/>
                    <a:pt x="4090" y="408"/>
                  </a:cubicBezTo>
                  <a:cubicBezTo>
                    <a:pt x="4085" y="401"/>
                    <a:pt x="4078" y="397"/>
                    <a:pt x="4069" y="398"/>
                  </a:cubicBezTo>
                  <a:cubicBezTo>
                    <a:pt x="4067" y="398"/>
                    <a:pt x="4065" y="398"/>
                    <a:pt x="4064" y="399"/>
                  </a:cubicBezTo>
                  <a:cubicBezTo>
                    <a:pt x="4057" y="405"/>
                    <a:pt x="4049" y="404"/>
                    <a:pt x="4041" y="403"/>
                  </a:cubicBezTo>
                  <a:cubicBezTo>
                    <a:pt x="4039" y="403"/>
                    <a:pt x="4036" y="404"/>
                    <a:pt x="4034" y="406"/>
                  </a:cubicBezTo>
                  <a:cubicBezTo>
                    <a:pt x="4030" y="408"/>
                    <a:pt x="4028" y="411"/>
                    <a:pt x="4025" y="414"/>
                  </a:cubicBezTo>
                  <a:cubicBezTo>
                    <a:pt x="4017" y="424"/>
                    <a:pt x="4017" y="425"/>
                    <a:pt x="4024" y="437"/>
                  </a:cubicBezTo>
                  <a:cubicBezTo>
                    <a:pt x="4027" y="443"/>
                    <a:pt x="4027" y="448"/>
                    <a:pt x="4023" y="452"/>
                  </a:cubicBezTo>
                  <a:cubicBezTo>
                    <a:pt x="4017" y="457"/>
                    <a:pt x="4018" y="462"/>
                    <a:pt x="4021" y="468"/>
                  </a:cubicBezTo>
                  <a:cubicBezTo>
                    <a:pt x="4022" y="470"/>
                    <a:pt x="4023" y="471"/>
                    <a:pt x="4023" y="473"/>
                  </a:cubicBezTo>
                  <a:cubicBezTo>
                    <a:pt x="4028" y="486"/>
                    <a:pt x="4039" y="489"/>
                    <a:pt x="4050" y="479"/>
                  </a:cubicBezTo>
                  <a:cubicBezTo>
                    <a:pt x="4053" y="476"/>
                    <a:pt x="4057" y="476"/>
                    <a:pt x="4062" y="475"/>
                  </a:cubicBezTo>
                  <a:cubicBezTo>
                    <a:pt x="4065" y="474"/>
                    <a:pt x="4069" y="471"/>
                    <a:pt x="4071" y="472"/>
                  </a:cubicBezTo>
                  <a:cubicBezTo>
                    <a:pt x="4073" y="474"/>
                    <a:pt x="4073" y="479"/>
                    <a:pt x="4075" y="482"/>
                  </a:cubicBezTo>
                  <a:cubicBezTo>
                    <a:pt x="4080" y="492"/>
                    <a:pt x="4080" y="503"/>
                    <a:pt x="4075" y="513"/>
                  </a:cubicBezTo>
                  <a:cubicBezTo>
                    <a:pt x="4072" y="521"/>
                    <a:pt x="4068" y="529"/>
                    <a:pt x="4065" y="537"/>
                  </a:cubicBezTo>
                  <a:cubicBezTo>
                    <a:pt x="4064" y="539"/>
                    <a:pt x="4061" y="540"/>
                    <a:pt x="4059" y="540"/>
                  </a:cubicBezTo>
                  <a:cubicBezTo>
                    <a:pt x="4050" y="540"/>
                    <a:pt x="4042" y="541"/>
                    <a:pt x="4035" y="545"/>
                  </a:cubicBezTo>
                  <a:cubicBezTo>
                    <a:pt x="4033" y="547"/>
                    <a:pt x="4030" y="546"/>
                    <a:pt x="4028" y="547"/>
                  </a:cubicBezTo>
                  <a:cubicBezTo>
                    <a:pt x="4022" y="548"/>
                    <a:pt x="4016" y="548"/>
                    <a:pt x="4011" y="550"/>
                  </a:cubicBezTo>
                  <a:cubicBezTo>
                    <a:pt x="4001" y="554"/>
                    <a:pt x="3997" y="562"/>
                    <a:pt x="4003" y="573"/>
                  </a:cubicBezTo>
                  <a:cubicBezTo>
                    <a:pt x="4005" y="577"/>
                    <a:pt x="4005" y="580"/>
                    <a:pt x="4000" y="581"/>
                  </a:cubicBezTo>
                  <a:cubicBezTo>
                    <a:pt x="3999" y="581"/>
                    <a:pt x="3998" y="582"/>
                    <a:pt x="3998" y="582"/>
                  </a:cubicBezTo>
                  <a:cubicBezTo>
                    <a:pt x="3996" y="589"/>
                    <a:pt x="3991" y="592"/>
                    <a:pt x="3986" y="596"/>
                  </a:cubicBezTo>
                  <a:cubicBezTo>
                    <a:pt x="3981" y="600"/>
                    <a:pt x="3979" y="607"/>
                    <a:pt x="3976" y="613"/>
                  </a:cubicBezTo>
                  <a:cubicBezTo>
                    <a:pt x="3975" y="615"/>
                    <a:pt x="3973" y="616"/>
                    <a:pt x="3971" y="618"/>
                  </a:cubicBezTo>
                  <a:cubicBezTo>
                    <a:pt x="3967" y="622"/>
                    <a:pt x="3963" y="625"/>
                    <a:pt x="3960" y="630"/>
                  </a:cubicBezTo>
                  <a:cubicBezTo>
                    <a:pt x="3957" y="633"/>
                    <a:pt x="3955" y="634"/>
                    <a:pt x="3950" y="635"/>
                  </a:cubicBezTo>
                  <a:cubicBezTo>
                    <a:pt x="3939" y="636"/>
                    <a:pt x="3930" y="640"/>
                    <a:pt x="3926" y="651"/>
                  </a:cubicBezTo>
                  <a:cubicBezTo>
                    <a:pt x="3924" y="656"/>
                    <a:pt x="3919" y="659"/>
                    <a:pt x="3915" y="663"/>
                  </a:cubicBezTo>
                  <a:cubicBezTo>
                    <a:pt x="3911" y="666"/>
                    <a:pt x="3907" y="668"/>
                    <a:pt x="3904" y="670"/>
                  </a:cubicBezTo>
                  <a:cubicBezTo>
                    <a:pt x="3898" y="674"/>
                    <a:pt x="3897" y="680"/>
                    <a:pt x="3902" y="685"/>
                  </a:cubicBezTo>
                  <a:cubicBezTo>
                    <a:pt x="3905" y="688"/>
                    <a:pt x="3906" y="690"/>
                    <a:pt x="3905" y="694"/>
                  </a:cubicBezTo>
                  <a:cubicBezTo>
                    <a:pt x="3905" y="697"/>
                    <a:pt x="3906" y="700"/>
                    <a:pt x="3908" y="703"/>
                  </a:cubicBezTo>
                  <a:cubicBezTo>
                    <a:pt x="3910" y="710"/>
                    <a:pt x="3910" y="713"/>
                    <a:pt x="3902" y="713"/>
                  </a:cubicBezTo>
                  <a:cubicBezTo>
                    <a:pt x="3893" y="714"/>
                    <a:pt x="3888" y="720"/>
                    <a:pt x="3883" y="727"/>
                  </a:cubicBezTo>
                  <a:cubicBezTo>
                    <a:pt x="3882" y="729"/>
                    <a:pt x="3881" y="733"/>
                    <a:pt x="3881" y="736"/>
                  </a:cubicBezTo>
                  <a:cubicBezTo>
                    <a:pt x="3885" y="748"/>
                    <a:pt x="3889" y="760"/>
                    <a:pt x="3888" y="773"/>
                  </a:cubicBezTo>
                  <a:cubicBezTo>
                    <a:pt x="3888" y="777"/>
                    <a:pt x="3890" y="781"/>
                    <a:pt x="3891" y="785"/>
                  </a:cubicBezTo>
                  <a:cubicBezTo>
                    <a:pt x="3893" y="790"/>
                    <a:pt x="3893" y="794"/>
                    <a:pt x="3887" y="798"/>
                  </a:cubicBezTo>
                  <a:cubicBezTo>
                    <a:pt x="3880" y="801"/>
                    <a:pt x="3876" y="809"/>
                    <a:pt x="3868" y="811"/>
                  </a:cubicBezTo>
                  <a:cubicBezTo>
                    <a:pt x="3866" y="812"/>
                    <a:pt x="3864" y="814"/>
                    <a:pt x="3862" y="814"/>
                  </a:cubicBezTo>
                  <a:cubicBezTo>
                    <a:pt x="3857" y="814"/>
                    <a:pt x="3853" y="817"/>
                    <a:pt x="3850" y="821"/>
                  </a:cubicBezTo>
                  <a:cubicBezTo>
                    <a:pt x="3847" y="826"/>
                    <a:pt x="3843" y="828"/>
                    <a:pt x="3837" y="828"/>
                  </a:cubicBezTo>
                  <a:cubicBezTo>
                    <a:pt x="3829" y="828"/>
                    <a:pt x="3820" y="829"/>
                    <a:pt x="3812" y="831"/>
                  </a:cubicBezTo>
                  <a:cubicBezTo>
                    <a:pt x="3808" y="831"/>
                    <a:pt x="3806" y="835"/>
                    <a:pt x="3806" y="839"/>
                  </a:cubicBezTo>
                  <a:cubicBezTo>
                    <a:pt x="3805" y="842"/>
                    <a:pt x="3804" y="843"/>
                    <a:pt x="3801" y="843"/>
                  </a:cubicBezTo>
                  <a:cubicBezTo>
                    <a:pt x="3794" y="844"/>
                    <a:pt x="3787" y="846"/>
                    <a:pt x="3780" y="848"/>
                  </a:cubicBezTo>
                  <a:cubicBezTo>
                    <a:pt x="3776" y="849"/>
                    <a:pt x="3775" y="853"/>
                    <a:pt x="3776" y="857"/>
                  </a:cubicBezTo>
                  <a:cubicBezTo>
                    <a:pt x="3777" y="862"/>
                    <a:pt x="3776" y="866"/>
                    <a:pt x="3772" y="869"/>
                  </a:cubicBezTo>
                  <a:cubicBezTo>
                    <a:pt x="3769" y="871"/>
                    <a:pt x="3768" y="876"/>
                    <a:pt x="3768" y="880"/>
                  </a:cubicBezTo>
                  <a:cubicBezTo>
                    <a:pt x="3767" y="884"/>
                    <a:pt x="3765" y="886"/>
                    <a:pt x="3761" y="885"/>
                  </a:cubicBezTo>
                  <a:cubicBezTo>
                    <a:pt x="3760" y="885"/>
                    <a:pt x="3759" y="885"/>
                    <a:pt x="3758" y="885"/>
                  </a:cubicBezTo>
                  <a:cubicBezTo>
                    <a:pt x="3745" y="885"/>
                    <a:pt x="3736" y="892"/>
                    <a:pt x="3732" y="905"/>
                  </a:cubicBezTo>
                  <a:cubicBezTo>
                    <a:pt x="3730" y="916"/>
                    <a:pt x="3724" y="919"/>
                    <a:pt x="3714" y="920"/>
                  </a:cubicBezTo>
                  <a:cubicBezTo>
                    <a:pt x="3703" y="921"/>
                    <a:pt x="3693" y="924"/>
                    <a:pt x="3683" y="926"/>
                  </a:cubicBezTo>
                  <a:cubicBezTo>
                    <a:pt x="3680" y="927"/>
                    <a:pt x="3676" y="927"/>
                    <a:pt x="3673" y="926"/>
                  </a:cubicBezTo>
                  <a:cubicBezTo>
                    <a:pt x="3668" y="926"/>
                    <a:pt x="3664" y="927"/>
                    <a:pt x="3663" y="933"/>
                  </a:cubicBezTo>
                  <a:cubicBezTo>
                    <a:pt x="3660" y="944"/>
                    <a:pt x="3654" y="952"/>
                    <a:pt x="3643" y="957"/>
                  </a:cubicBezTo>
                  <a:cubicBezTo>
                    <a:pt x="3639" y="959"/>
                    <a:pt x="3638" y="963"/>
                    <a:pt x="3637" y="968"/>
                  </a:cubicBezTo>
                  <a:cubicBezTo>
                    <a:pt x="3637" y="974"/>
                    <a:pt x="3634" y="979"/>
                    <a:pt x="3626" y="978"/>
                  </a:cubicBezTo>
                  <a:cubicBezTo>
                    <a:pt x="3625" y="978"/>
                    <a:pt x="3622" y="979"/>
                    <a:pt x="3621" y="981"/>
                  </a:cubicBezTo>
                  <a:cubicBezTo>
                    <a:pt x="3616" y="986"/>
                    <a:pt x="3610" y="987"/>
                    <a:pt x="3603" y="986"/>
                  </a:cubicBezTo>
                  <a:cubicBezTo>
                    <a:pt x="3600" y="986"/>
                    <a:pt x="3597" y="988"/>
                    <a:pt x="3595" y="990"/>
                  </a:cubicBezTo>
                  <a:cubicBezTo>
                    <a:pt x="3589" y="996"/>
                    <a:pt x="3585" y="1002"/>
                    <a:pt x="3580" y="1009"/>
                  </a:cubicBezTo>
                  <a:cubicBezTo>
                    <a:pt x="3577" y="1012"/>
                    <a:pt x="3574" y="1013"/>
                    <a:pt x="3569" y="1012"/>
                  </a:cubicBezTo>
                  <a:cubicBezTo>
                    <a:pt x="3561" y="1010"/>
                    <a:pt x="3555" y="1013"/>
                    <a:pt x="3550" y="1021"/>
                  </a:cubicBezTo>
                  <a:cubicBezTo>
                    <a:pt x="3546" y="1027"/>
                    <a:pt x="3544" y="1033"/>
                    <a:pt x="3537" y="1036"/>
                  </a:cubicBezTo>
                  <a:cubicBezTo>
                    <a:pt x="3536" y="1037"/>
                    <a:pt x="3535" y="1040"/>
                    <a:pt x="3534" y="1042"/>
                  </a:cubicBezTo>
                  <a:cubicBezTo>
                    <a:pt x="3532" y="1052"/>
                    <a:pt x="3529" y="1062"/>
                    <a:pt x="3527" y="1071"/>
                  </a:cubicBezTo>
                  <a:cubicBezTo>
                    <a:pt x="3526" y="1076"/>
                    <a:pt x="3525" y="1080"/>
                    <a:pt x="3521" y="1082"/>
                  </a:cubicBezTo>
                  <a:cubicBezTo>
                    <a:pt x="3517" y="1084"/>
                    <a:pt x="3516" y="1086"/>
                    <a:pt x="3516" y="1091"/>
                  </a:cubicBezTo>
                  <a:cubicBezTo>
                    <a:pt x="3517" y="1097"/>
                    <a:pt x="3516" y="1104"/>
                    <a:pt x="3521" y="1110"/>
                  </a:cubicBezTo>
                  <a:cubicBezTo>
                    <a:pt x="3523" y="1113"/>
                    <a:pt x="3523" y="1117"/>
                    <a:pt x="3524" y="1121"/>
                  </a:cubicBezTo>
                  <a:cubicBezTo>
                    <a:pt x="3524" y="1121"/>
                    <a:pt x="3524" y="1123"/>
                    <a:pt x="3523" y="1123"/>
                  </a:cubicBezTo>
                  <a:cubicBezTo>
                    <a:pt x="3522" y="1124"/>
                    <a:pt x="3521" y="1123"/>
                    <a:pt x="3520" y="1123"/>
                  </a:cubicBezTo>
                  <a:cubicBezTo>
                    <a:pt x="3518" y="1122"/>
                    <a:pt x="3517" y="1120"/>
                    <a:pt x="3515" y="1119"/>
                  </a:cubicBezTo>
                  <a:cubicBezTo>
                    <a:pt x="3503" y="1111"/>
                    <a:pt x="3493" y="1116"/>
                    <a:pt x="3491" y="1130"/>
                  </a:cubicBezTo>
                  <a:cubicBezTo>
                    <a:pt x="3491" y="1132"/>
                    <a:pt x="3490" y="1135"/>
                    <a:pt x="3490" y="1137"/>
                  </a:cubicBezTo>
                  <a:cubicBezTo>
                    <a:pt x="3490" y="1138"/>
                    <a:pt x="3490" y="1139"/>
                    <a:pt x="3489" y="1139"/>
                  </a:cubicBezTo>
                  <a:cubicBezTo>
                    <a:pt x="3489" y="1121"/>
                    <a:pt x="3489" y="1121"/>
                    <a:pt x="3489" y="1121"/>
                  </a:cubicBezTo>
                  <a:cubicBezTo>
                    <a:pt x="3479" y="1104"/>
                    <a:pt x="3479" y="1104"/>
                    <a:pt x="3479" y="1104"/>
                  </a:cubicBezTo>
                  <a:cubicBezTo>
                    <a:pt x="3462" y="1077"/>
                    <a:pt x="3462" y="1077"/>
                    <a:pt x="3462" y="1077"/>
                  </a:cubicBezTo>
                  <a:cubicBezTo>
                    <a:pt x="3462" y="1071"/>
                    <a:pt x="3462" y="1071"/>
                    <a:pt x="3462" y="1071"/>
                  </a:cubicBezTo>
                  <a:cubicBezTo>
                    <a:pt x="3444" y="1055"/>
                    <a:pt x="3444" y="1055"/>
                    <a:pt x="3444" y="1055"/>
                  </a:cubicBezTo>
                  <a:cubicBezTo>
                    <a:pt x="3426" y="1035"/>
                    <a:pt x="3426" y="1035"/>
                    <a:pt x="3426" y="1035"/>
                  </a:cubicBezTo>
                  <a:cubicBezTo>
                    <a:pt x="3426" y="1035"/>
                    <a:pt x="3415" y="1021"/>
                    <a:pt x="3408" y="1014"/>
                  </a:cubicBezTo>
                  <a:cubicBezTo>
                    <a:pt x="3400" y="1007"/>
                    <a:pt x="3391" y="1001"/>
                    <a:pt x="3391" y="1001"/>
                  </a:cubicBezTo>
                  <a:cubicBezTo>
                    <a:pt x="3390" y="1001"/>
                    <a:pt x="3390" y="1001"/>
                    <a:pt x="3390" y="1001"/>
                  </a:cubicBezTo>
                  <a:cubicBezTo>
                    <a:pt x="3386" y="1001"/>
                    <a:pt x="3386" y="1001"/>
                    <a:pt x="3386" y="1001"/>
                  </a:cubicBezTo>
                  <a:cubicBezTo>
                    <a:pt x="3383" y="994"/>
                    <a:pt x="3383" y="994"/>
                    <a:pt x="3383" y="994"/>
                  </a:cubicBezTo>
                  <a:cubicBezTo>
                    <a:pt x="3344" y="959"/>
                    <a:pt x="3344" y="959"/>
                    <a:pt x="3344" y="959"/>
                  </a:cubicBezTo>
                  <a:cubicBezTo>
                    <a:pt x="3341" y="950"/>
                    <a:pt x="3341" y="950"/>
                    <a:pt x="3341" y="950"/>
                  </a:cubicBezTo>
                  <a:cubicBezTo>
                    <a:pt x="3332" y="947"/>
                    <a:pt x="3332" y="947"/>
                    <a:pt x="3332" y="947"/>
                  </a:cubicBezTo>
                  <a:cubicBezTo>
                    <a:pt x="3260" y="902"/>
                    <a:pt x="3260" y="902"/>
                    <a:pt x="3260" y="902"/>
                  </a:cubicBezTo>
                  <a:cubicBezTo>
                    <a:pt x="3261" y="897"/>
                    <a:pt x="3267" y="880"/>
                    <a:pt x="3268" y="872"/>
                  </a:cubicBezTo>
                  <a:cubicBezTo>
                    <a:pt x="3270" y="864"/>
                    <a:pt x="3272" y="853"/>
                    <a:pt x="3272" y="850"/>
                  </a:cubicBezTo>
                  <a:cubicBezTo>
                    <a:pt x="3279" y="839"/>
                    <a:pt x="3279" y="839"/>
                    <a:pt x="3279" y="839"/>
                  </a:cubicBezTo>
                  <a:cubicBezTo>
                    <a:pt x="3282" y="755"/>
                    <a:pt x="3282" y="755"/>
                    <a:pt x="3282" y="755"/>
                  </a:cubicBezTo>
                  <a:cubicBezTo>
                    <a:pt x="3275" y="751"/>
                    <a:pt x="3275" y="751"/>
                    <a:pt x="3275" y="751"/>
                  </a:cubicBezTo>
                  <a:cubicBezTo>
                    <a:pt x="3266" y="757"/>
                    <a:pt x="3266" y="757"/>
                    <a:pt x="3266" y="757"/>
                  </a:cubicBezTo>
                  <a:cubicBezTo>
                    <a:pt x="3258" y="749"/>
                    <a:pt x="3258" y="749"/>
                    <a:pt x="3258" y="749"/>
                  </a:cubicBezTo>
                  <a:cubicBezTo>
                    <a:pt x="3249" y="752"/>
                    <a:pt x="3249" y="752"/>
                    <a:pt x="3249" y="752"/>
                  </a:cubicBezTo>
                  <a:cubicBezTo>
                    <a:pt x="3237" y="753"/>
                    <a:pt x="3237" y="753"/>
                    <a:pt x="3237" y="753"/>
                  </a:cubicBezTo>
                  <a:cubicBezTo>
                    <a:pt x="3232" y="750"/>
                    <a:pt x="3232" y="750"/>
                    <a:pt x="3232" y="750"/>
                  </a:cubicBezTo>
                  <a:cubicBezTo>
                    <a:pt x="3221" y="750"/>
                    <a:pt x="3221" y="750"/>
                    <a:pt x="3221" y="750"/>
                  </a:cubicBezTo>
                  <a:cubicBezTo>
                    <a:pt x="3224" y="743"/>
                    <a:pt x="3231" y="739"/>
                    <a:pt x="3229" y="731"/>
                  </a:cubicBezTo>
                  <a:cubicBezTo>
                    <a:pt x="3229" y="729"/>
                    <a:pt x="3231" y="726"/>
                    <a:pt x="3232" y="724"/>
                  </a:cubicBezTo>
                  <a:cubicBezTo>
                    <a:pt x="3233" y="722"/>
                    <a:pt x="3235" y="720"/>
                    <a:pt x="3235" y="719"/>
                  </a:cubicBezTo>
                  <a:cubicBezTo>
                    <a:pt x="3234" y="711"/>
                    <a:pt x="3240" y="707"/>
                    <a:pt x="3245" y="703"/>
                  </a:cubicBezTo>
                  <a:cubicBezTo>
                    <a:pt x="3253" y="697"/>
                    <a:pt x="3261" y="691"/>
                    <a:pt x="3269" y="685"/>
                  </a:cubicBezTo>
                  <a:cubicBezTo>
                    <a:pt x="3307" y="661"/>
                    <a:pt x="3345" y="637"/>
                    <a:pt x="3383" y="613"/>
                  </a:cubicBezTo>
                  <a:cubicBezTo>
                    <a:pt x="3404" y="600"/>
                    <a:pt x="3425" y="587"/>
                    <a:pt x="3446" y="575"/>
                  </a:cubicBezTo>
                  <a:cubicBezTo>
                    <a:pt x="3451" y="572"/>
                    <a:pt x="3454" y="569"/>
                    <a:pt x="3454" y="563"/>
                  </a:cubicBezTo>
                  <a:cubicBezTo>
                    <a:pt x="3453" y="560"/>
                    <a:pt x="3455" y="558"/>
                    <a:pt x="3458" y="555"/>
                  </a:cubicBezTo>
                  <a:cubicBezTo>
                    <a:pt x="3460" y="554"/>
                    <a:pt x="3462" y="552"/>
                    <a:pt x="3462" y="550"/>
                  </a:cubicBezTo>
                  <a:cubicBezTo>
                    <a:pt x="3463" y="533"/>
                    <a:pt x="3467" y="515"/>
                    <a:pt x="3454" y="501"/>
                  </a:cubicBezTo>
                  <a:cubicBezTo>
                    <a:pt x="3451" y="496"/>
                    <a:pt x="3452" y="494"/>
                    <a:pt x="3456" y="491"/>
                  </a:cubicBezTo>
                  <a:cubicBezTo>
                    <a:pt x="3462" y="484"/>
                    <a:pt x="3467" y="477"/>
                    <a:pt x="3464" y="466"/>
                  </a:cubicBezTo>
                  <a:cubicBezTo>
                    <a:pt x="3463" y="462"/>
                    <a:pt x="3464" y="457"/>
                    <a:pt x="3468" y="454"/>
                  </a:cubicBezTo>
                  <a:cubicBezTo>
                    <a:pt x="3470" y="452"/>
                    <a:pt x="3471" y="449"/>
                    <a:pt x="3473" y="447"/>
                  </a:cubicBezTo>
                  <a:cubicBezTo>
                    <a:pt x="3476" y="445"/>
                    <a:pt x="3479" y="441"/>
                    <a:pt x="3483" y="441"/>
                  </a:cubicBezTo>
                  <a:cubicBezTo>
                    <a:pt x="3498" y="438"/>
                    <a:pt x="3504" y="428"/>
                    <a:pt x="3508" y="416"/>
                  </a:cubicBezTo>
                  <a:cubicBezTo>
                    <a:pt x="3508" y="414"/>
                    <a:pt x="3508" y="411"/>
                    <a:pt x="3509" y="409"/>
                  </a:cubicBezTo>
                  <a:cubicBezTo>
                    <a:pt x="3510" y="408"/>
                    <a:pt x="3512" y="404"/>
                    <a:pt x="3513" y="405"/>
                  </a:cubicBezTo>
                  <a:cubicBezTo>
                    <a:pt x="3522" y="406"/>
                    <a:pt x="3527" y="397"/>
                    <a:pt x="3534" y="396"/>
                  </a:cubicBezTo>
                  <a:cubicBezTo>
                    <a:pt x="3539" y="395"/>
                    <a:pt x="3542" y="392"/>
                    <a:pt x="3543" y="387"/>
                  </a:cubicBezTo>
                  <a:cubicBezTo>
                    <a:pt x="3543" y="380"/>
                    <a:pt x="3547" y="377"/>
                    <a:pt x="3553" y="374"/>
                  </a:cubicBezTo>
                  <a:cubicBezTo>
                    <a:pt x="3556" y="373"/>
                    <a:pt x="3560" y="368"/>
                    <a:pt x="3563" y="368"/>
                  </a:cubicBezTo>
                  <a:cubicBezTo>
                    <a:pt x="3566" y="369"/>
                    <a:pt x="3567" y="375"/>
                    <a:pt x="3570" y="378"/>
                  </a:cubicBezTo>
                  <a:cubicBezTo>
                    <a:pt x="3575" y="381"/>
                    <a:pt x="3580" y="384"/>
                    <a:pt x="3586" y="385"/>
                  </a:cubicBezTo>
                  <a:cubicBezTo>
                    <a:pt x="3594" y="386"/>
                    <a:pt x="3602" y="385"/>
                    <a:pt x="3610" y="385"/>
                  </a:cubicBezTo>
                  <a:cubicBezTo>
                    <a:pt x="3613" y="386"/>
                    <a:pt x="3615" y="387"/>
                    <a:pt x="3618" y="388"/>
                  </a:cubicBezTo>
                  <a:cubicBezTo>
                    <a:pt x="3625" y="393"/>
                    <a:pt x="3631" y="390"/>
                    <a:pt x="3632" y="381"/>
                  </a:cubicBezTo>
                  <a:cubicBezTo>
                    <a:pt x="3632" y="375"/>
                    <a:pt x="3632" y="368"/>
                    <a:pt x="3626" y="363"/>
                  </a:cubicBezTo>
                  <a:cubicBezTo>
                    <a:pt x="3621" y="358"/>
                    <a:pt x="3622" y="356"/>
                    <a:pt x="3628" y="351"/>
                  </a:cubicBezTo>
                  <a:cubicBezTo>
                    <a:pt x="3631" y="347"/>
                    <a:pt x="3632" y="341"/>
                    <a:pt x="3635" y="339"/>
                  </a:cubicBezTo>
                  <a:cubicBezTo>
                    <a:pt x="3639" y="336"/>
                    <a:pt x="3645" y="338"/>
                    <a:pt x="3649" y="336"/>
                  </a:cubicBezTo>
                  <a:cubicBezTo>
                    <a:pt x="3653" y="334"/>
                    <a:pt x="3657" y="330"/>
                    <a:pt x="3660" y="327"/>
                  </a:cubicBezTo>
                  <a:cubicBezTo>
                    <a:pt x="3662" y="324"/>
                    <a:pt x="3664" y="321"/>
                    <a:pt x="3664" y="318"/>
                  </a:cubicBezTo>
                  <a:cubicBezTo>
                    <a:pt x="3664" y="311"/>
                    <a:pt x="3667" y="306"/>
                    <a:pt x="3672" y="303"/>
                  </a:cubicBezTo>
                  <a:cubicBezTo>
                    <a:pt x="3679" y="298"/>
                    <a:pt x="3680" y="290"/>
                    <a:pt x="3673" y="285"/>
                  </a:cubicBezTo>
                  <a:cubicBezTo>
                    <a:pt x="3668" y="280"/>
                    <a:pt x="3665" y="277"/>
                    <a:pt x="3668" y="269"/>
                  </a:cubicBezTo>
                  <a:cubicBezTo>
                    <a:pt x="3669" y="265"/>
                    <a:pt x="3668" y="257"/>
                    <a:pt x="3666" y="254"/>
                  </a:cubicBezTo>
                  <a:cubicBezTo>
                    <a:pt x="3659" y="245"/>
                    <a:pt x="3663" y="234"/>
                    <a:pt x="3658" y="225"/>
                  </a:cubicBezTo>
                  <a:cubicBezTo>
                    <a:pt x="3656" y="221"/>
                    <a:pt x="3660" y="220"/>
                    <a:pt x="3663" y="218"/>
                  </a:cubicBezTo>
                  <a:cubicBezTo>
                    <a:pt x="3674" y="213"/>
                    <a:pt x="3685" y="211"/>
                    <a:pt x="3693" y="202"/>
                  </a:cubicBezTo>
                  <a:cubicBezTo>
                    <a:pt x="3695" y="201"/>
                    <a:pt x="3696" y="200"/>
                    <a:pt x="3697" y="199"/>
                  </a:cubicBezTo>
                  <a:cubicBezTo>
                    <a:pt x="3699" y="194"/>
                    <a:pt x="3702" y="191"/>
                    <a:pt x="3707" y="191"/>
                  </a:cubicBezTo>
                  <a:cubicBezTo>
                    <a:pt x="3708" y="191"/>
                    <a:pt x="3710" y="190"/>
                    <a:pt x="3710" y="189"/>
                  </a:cubicBezTo>
                  <a:cubicBezTo>
                    <a:pt x="3717" y="182"/>
                    <a:pt x="3726" y="181"/>
                    <a:pt x="3734" y="179"/>
                  </a:cubicBezTo>
                  <a:cubicBezTo>
                    <a:pt x="3737" y="178"/>
                    <a:pt x="3739" y="176"/>
                    <a:pt x="3742" y="175"/>
                  </a:cubicBezTo>
                  <a:cubicBezTo>
                    <a:pt x="3755" y="172"/>
                    <a:pt x="3757" y="161"/>
                    <a:pt x="3757" y="151"/>
                  </a:cubicBezTo>
                  <a:cubicBezTo>
                    <a:pt x="3757" y="144"/>
                    <a:pt x="3762" y="142"/>
                    <a:pt x="3766" y="138"/>
                  </a:cubicBezTo>
                  <a:cubicBezTo>
                    <a:pt x="3766" y="137"/>
                    <a:pt x="3769" y="137"/>
                    <a:pt x="3770" y="138"/>
                  </a:cubicBezTo>
                  <a:cubicBezTo>
                    <a:pt x="3777" y="145"/>
                    <a:pt x="3784" y="138"/>
                    <a:pt x="3790" y="136"/>
                  </a:cubicBezTo>
                  <a:cubicBezTo>
                    <a:pt x="3792" y="136"/>
                    <a:pt x="3794" y="131"/>
                    <a:pt x="3794" y="128"/>
                  </a:cubicBezTo>
                  <a:cubicBezTo>
                    <a:pt x="3794" y="118"/>
                    <a:pt x="3795" y="107"/>
                    <a:pt x="3794" y="96"/>
                  </a:cubicBezTo>
                  <a:cubicBezTo>
                    <a:pt x="3793" y="92"/>
                    <a:pt x="3791" y="88"/>
                    <a:pt x="3789" y="85"/>
                  </a:cubicBezTo>
                  <a:cubicBezTo>
                    <a:pt x="3784" y="78"/>
                    <a:pt x="3784" y="66"/>
                    <a:pt x="3789" y="60"/>
                  </a:cubicBezTo>
                  <a:cubicBezTo>
                    <a:pt x="3794" y="54"/>
                    <a:pt x="3796" y="46"/>
                    <a:pt x="3806" y="45"/>
                  </a:cubicBezTo>
                  <a:cubicBezTo>
                    <a:pt x="3808" y="44"/>
                    <a:pt x="3810" y="40"/>
                    <a:pt x="3810" y="37"/>
                  </a:cubicBezTo>
                  <a:cubicBezTo>
                    <a:pt x="3812" y="33"/>
                    <a:pt x="3814" y="32"/>
                    <a:pt x="3817" y="33"/>
                  </a:cubicBezTo>
                  <a:cubicBezTo>
                    <a:pt x="3824" y="36"/>
                    <a:pt x="3829" y="34"/>
                    <a:pt x="3832" y="28"/>
                  </a:cubicBezTo>
                  <a:cubicBezTo>
                    <a:pt x="3834" y="25"/>
                    <a:pt x="3835" y="25"/>
                    <a:pt x="3837" y="27"/>
                  </a:cubicBezTo>
                  <a:cubicBezTo>
                    <a:pt x="3838" y="28"/>
                    <a:pt x="3840" y="28"/>
                    <a:pt x="3841" y="29"/>
                  </a:cubicBezTo>
                  <a:cubicBezTo>
                    <a:pt x="3845" y="35"/>
                    <a:pt x="3851" y="34"/>
                    <a:pt x="3856" y="31"/>
                  </a:cubicBezTo>
                  <a:cubicBezTo>
                    <a:pt x="3860" y="29"/>
                    <a:pt x="3861" y="30"/>
                    <a:pt x="3865" y="33"/>
                  </a:cubicBezTo>
                  <a:cubicBezTo>
                    <a:pt x="3873" y="40"/>
                    <a:pt x="3884" y="40"/>
                    <a:pt x="3891" y="27"/>
                  </a:cubicBezTo>
                  <a:cubicBezTo>
                    <a:pt x="3893" y="23"/>
                    <a:pt x="3894" y="23"/>
                    <a:pt x="3899" y="24"/>
                  </a:cubicBezTo>
                  <a:cubicBezTo>
                    <a:pt x="3909" y="27"/>
                    <a:pt x="3919" y="30"/>
                    <a:pt x="3930" y="30"/>
                  </a:cubicBezTo>
                  <a:cubicBezTo>
                    <a:pt x="3935" y="29"/>
                    <a:pt x="3939" y="29"/>
                    <a:pt x="3943" y="25"/>
                  </a:cubicBezTo>
                  <a:cubicBezTo>
                    <a:pt x="3945" y="24"/>
                    <a:pt x="3947" y="23"/>
                    <a:pt x="3949" y="22"/>
                  </a:cubicBezTo>
                  <a:cubicBezTo>
                    <a:pt x="3951" y="21"/>
                    <a:pt x="3953" y="21"/>
                    <a:pt x="3952" y="25"/>
                  </a:cubicBezTo>
                  <a:cubicBezTo>
                    <a:pt x="3948" y="39"/>
                    <a:pt x="3945" y="54"/>
                    <a:pt x="3940" y="68"/>
                  </a:cubicBezTo>
                  <a:cubicBezTo>
                    <a:pt x="3936" y="81"/>
                    <a:pt x="3928" y="92"/>
                    <a:pt x="3923" y="104"/>
                  </a:cubicBezTo>
                  <a:cubicBezTo>
                    <a:pt x="3919" y="115"/>
                    <a:pt x="3919" y="125"/>
                    <a:pt x="3924" y="135"/>
                  </a:cubicBezTo>
                  <a:cubicBezTo>
                    <a:pt x="3925" y="138"/>
                    <a:pt x="3926" y="141"/>
                    <a:pt x="3925" y="144"/>
                  </a:cubicBezTo>
                  <a:cubicBezTo>
                    <a:pt x="3924" y="149"/>
                    <a:pt x="3925" y="155"/>
                    <a:pt x="3926" y="160"/>
                  </a:cubicBezTo>
                  <a:cubicBezTo>
                    <a:pt x="3928" y="172"/>
                    <a:pt x="3933" y="183"/>
                    <a:pt x="3933" y="194"/>
                  </a:cubicBezTo>
                  <a:cubicBezTo>
                    <a:pt x="3933" y="202"/>
                    <a:pt x="3932" y="210"/>
                    <a:pt x="3930" y="218"/>
                  </a:cubicBezTo>
                  <a:cubicBezTo>
                    <a:pt x="3926" y="235"/>
                    <a:pt x="3931" y="250"/>
                    <a:pt x="3936" y="265"/>
                  </a:cubicBezTo>
                  <a:cubicBezTo>
                    <a:pt x="3939" y="273"/>
                    <a:pt x="3942" y="281"/>
                    <a:pt x="3948" y="288"/>
                  </a:cubicBezTo>
                  <a:cubicBezTo>
                    <a:pt x="3953" y="292"/>
                    <a:pt x="3957" y="294"/>
                    <a:pt x="3962" y="291"/>
                  </a:cubicBezTo>
                  <a:cubicBezTo>
                    <a:pt x="3979" y="279"/>
                    <a:pt x="3996" y="281"/>
                    <a:pt x="4014" y="288"/>
                  </a:cubicBezTo>
                  <a:cubicBezTo>
                    <a:pt x="4020" y="291"/>
                    <a:pt x="4021" y="290"/>
                    <a:pt x="4026" y="284"/>
                  </a:cubicBezTo>
                  <a:cubicBezTo>
                    <a:pt x="4032" y="278"/>
                    <a:pt x="4039" y="273"/>
                    <a:pt x="4045" y="267"/>
                  </a:cubicBezTo>
                  <a:cubicBezTo>
                    <a:pt x="4047" y="266"/>
                    <a:pt x="4050" y="266"/>
                    <a:pt x="4051" y="266"/>
                  </a:cubicBezTo>
                  <a:cubicBezTo>
                    <a:pt x="4055" y="268"/>
                    <a:pt x="4059" y="270"/>
                    <a:pt x="4062" y="273"/>
                  </a:cubicBezTo>
                  <a:cubicBezTo>
                    <a:pt x="4067" y="279"/>
                    <a:pt x="4073" y="282"/>
                    <a:pt x="4081" y="279"/>
                  </a:cubicBezTo>
                  <a:cubicBezTo>
                    <a:pt x="4082" y="279"/>
                    <a:pt x="4085" y="281"/>
                    <a:pt x="4085" y="281"/>
                  </a:cubicBezTo>
                  <a:cubicBezTo>
                    <a:pt x="4085" y="284"/>
                    <a:pt x="4084" y="288"/>
                    <a:pt x="4082" y="290"/>
                  </a:cubicBezTo>
                  <a:cubicBezTo>
                    <a:pt x="4079" y="294"/>
                    <a:pt x="4075" y="296"/>
                    <a:pt x="4071" y="300"/>
                  </a:cubicBezTo>
                  <a:cubicBezTo>
                    <a:pt x="4067" y="304"/>
                    <a:pt x="4066" y="309"/>
                    <a:pt x="4070" y="313"/>
                  </a:cubicBezTo>
                  <a:cubicBezTo>
                    <a:pt x="4074" y="318"/>
                    <a:pt x="4073" y="322"/>
                    <a:pt x="4071" y="326"/>
                  </a:cubicBezTo>
                  <a:cubicBezTo>
                    <a:pt x="4066" y="335"/>
                    <a:pt x="4069" y="344"/>
                    <a:pt x="4072" y="353"/>
                  </a:cubicBezTo>
                  <a:cubicBezTo>
                    <a:pt x="4075" y="359"/>
                    <a:pt x="4082" y="360"/>
                    <a:pt x="4088" y="360"/>
                  </a:cubicBezTo>
                  <a:cubicBezTo>
                    <a:pt x="4091" y="359"/>
                    <a:pt x="4093" y="359"/>
                    <a:pt x="4095" y="363"/>
                  </a:cubicBezTo>
                  <a:cubicBezTo>
                    <a:pt x="4097" y="366"/>
                    <a:pt x="4101" y="368"/>
                    <a:pt x="4105" y="370"/>
                  </a:cubicBezTo>
                  <a:cubicBezTo>
                    <a:pt x="4109" y="372"/>
                    <a:pt x="4110" y="374"/>
                    <a:pt x="4108" y="37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>
              <a:solidFill>
                <a:srgbClr val="00796B"/>
              </a:solidFill>
              <a:round/>
              <a:headEnd/>
              <a:tailEnd/>
            </a:ln>
          </p:spPr>
          <p:txBody>
            <a:bodyPr vert="horz" wrap="square" lIns="91313" tIns="45656" rIns="91313" bIns="45656" numCol="1" anchor="t" anchorCtr="0" compatLnSpc="1">
              <a:prstTxWarp prst="textNoShape">
                <a:avLst/>
              </a:prstTxWarp>
            </a:bodyPr>
            <a:lstStyle/>
            <a:p>
              <a:endParaRPr lang="ru-RU" sz="1794" dirty="0"/>
            </a:p>
          </p:txBody>
        </p:sp>
      </p:grpSp>
    </p:spTree>
    <p:extLst>
      <p:ext uri="{BB962C8B-B14F-4D97-AF65-F5344CB8AC3E}">
        <p14:creationId xmlns:p14="http://schemas.microsoft.com/office/powerpoint/2010/main" val="308087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16835C4-5164-4441-B7F5-15F376304E25}"/>
              </a:ext>
            </a:extLst>
          </p:cNvPr>
          <p:cNvSpPr/>
          <p:nvPr userDrawn="1"/>
        </p:nvSpPr>
        <p:spPr>
          <a:xfrm>
            <a:off x="514350" y="-580"/>
            <a:ext cx="11677649" cy="873705"/>
          </a:xfrm>
          <a:prstGeom prst="rect">
            <a:avLst/>
          </a:prstGeom>
          <a:gradFill flip="none" rotWithShape="1">
            <a:gsLst>
              <a:gs pos="85000">
                <a:srgbClr val="DFEFEE"/>
              </a:gs>
              <a:gs pos="42000">
                <a:srgbClr val="ECF5F4"/>
              </a:gs>
              <a:gs pos="100000">
                <a:srgbClr val="DAECEB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D56C16-3057-43BD-8466-022DF4B54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A9B6773-DE6A-4976-8941-B832E36B21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86ED7CF-4773-49F2-9EEF-DDCE6581C8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E97BCA1-6096-4975-ACB2-64E85E37B898}" type="datetime1">
              <a:rPr lang="ru-RU" smtClean="0"/>
              <a:pPr/>
              <a:t>25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AC2D6A5-6BB2-4E8B-8592-793A97635C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0AD9D71-AE8C-483F-B6B3-35F5862F4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2A500-833D-4D3A-986F-AD9DA69007F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97861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7EE5695-DFE1-4069-9807-434580A3F472}"/>
              </a:ext>
            </a:extLst>
          </p:cNvPr>
          <p:cNvSpPr/>
          <p:nvPr userDrawn="1"/>
        </p:nvSpPr>
        <p:spPr>
          <a:xfrm>
            <a:off x="514350" y="-580"/>
            <a:ext cx="11677649" cy="873705"/>
          </a:xfrm>
          <a:prstGeom prst="rect">
            <a:avLst/>
          </a:prstGeom>
          <a:gradFill flip="none" rotWithShape="1">
            <a:gsLst>
              <a:gs pos="85000">
                <a:srgbClr val="DFEFEE"/>
              </a:gs>
              <a:gs pos="42000">
                <a:srgbClr val="ECF5F4"/>
              </a:gs>
              <a:gs pos="100000">
                <a:srgbClr val="DAECEB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A88EF81-42E9-4041-8F8A-76181694C3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450BFF0-341F-4FC0-80A3-226A10E083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B2BD4B3-2880-4622-A714-5B222D6E4D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46D934F-49AB-43C0-B5B0-5EC2B4B1A023}" type="datetime1">
              <a:rPr lang="ru-RU" smtClean="0"/>
              <a:pPr/>
              <a:t>25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032ADB9-36C2-46B5-B1A7-4106BEB3B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235D218-5DC1-4B17-822A-ABF437146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2A500-833D-4D3A-986F-AD9DA69007F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03065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hoto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465052" y="970044"/>
            <a:ext cx="2229644" cy="223043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845913" y="970043"/>
            <a:ext cx="2229644" cy="2230438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226774" y="970044"/>
            <a:ext cx="2229644" cy="2230438"/>
          </a:xfrm>
        </p:spPr>
        <p:txBody>
          <a:bodyPr/>
          <a:lstStyle/>
          <a:p>
            <a:endParaRPr lang="en-US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607635" y="970043"/>
            <a:ext cx="2229644" cy="223043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465052" y="3350905"/>
            <a:ext cx="2229644" cy="2230438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845913" y="3350904"/>
            <a:ext cx="2229644" cy="223043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226774" y="3350905"/>
            <a:ext cx="2229644" cy="2230438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8607635" y="3350904"/>
            <a:ext cx="2229644" cy="2230438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Shape 11"/>
          <p:cNvSpPr>
            <a:spLocks/>
          </p:cNvSpPr>
          <p:nvPr userDrawn="1"/>
        </p:nvSpPr>
        <p:spPr bwMode="auto">
          <a:xfrm rot="16200000">
            <a:off x="11398612" y="6391276"/>
            <a:ext cx="501649" cy="431800"/>
          </a:xfrm>
          <a:custGeom>
            <a:avLst/>
            <a:gdLst>
              <a:gd name="T0" fmla="*/ 40359887 w 21600"/>
              <a:gd name="T1" fmla="*/ 17273559 h 21600"/>
              <a:gd name="T2" fmla="*/ 40359887 w 21600"/>
              <a:gd name="T3" fmla="*/ 17273559 h 21600"/>
              <a:gd name="T4" fmla="*/ 40359887 w 21600"/>
              <a:gd name="T5" fmla="*/ 17273559 h 21600"/>
              <a:gd name="T6" fmla="*/ 40359887 w 21600"/>
              <a:gd name="T7" fmla="*/ 17273559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4531" y="0"/>
                </a:lnTo>
                <a:cubicBezTo>
                  <a:pt x="18435" y="0"/>
                  <a:pt x="21600" y="4835"/>
                  <a:pt x="21600" y="10800"/>
                </a:cubicBezTo>
                <a:cubicBezTo>
                  <a:pt x="21600" y="13782"/>
                  <a:pt x="20809" y="16482"/>
                  <a:pt x="19529" y="18437"/>
                </a:cubicBezTo>
                <a:cubicBezTo>
                  <a:pt x="18250" y="20391"/>
                  <a:pt x="16483" y="21600"/>
                  <a:pt x="14531" y="21600"/>
                </a:cubicBez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1A78B9"/>
          </a:solidFill>
          <a:ln>
            <a:noFill/>
          </a:ln>
        </p:spPr>
        <p:txBody>
          <a:bodyPr lIns="0" tIns="25400" rIns="0" bIns="254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30000" y="6448973"/>
            <a:ext cx="434714" cy="33855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545564-29EB-4F47-9416-4D93BDECD4AB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89503633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3275084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08163" y="1757522"/>
            <a:ext cx="1453357" cy="1453356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581083" y="1757522"/>
            <a:ext cx="1453357" cy="1453356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354003" y="1757522"/>
            <a:ext cx="1453357" cy="1453356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126923" y="1757522"/>
            <a:ext cx="1453357" cy="1453356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99843" y="1757522"/>
            <a:ext cx="1453357" cy="1453356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808163" y="3530442"/>
            <a:ext cx="1453357" cy="1453356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581083" y="3530442"/>
            <a:ext cx="1453357" cy="1453356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5354003" y="3530442"/>
            <a:ext cx="1453357" cy="1453356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7126923" y="3530442"/>
            <a:ext cx="1453357" cy="1453356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899843" y="3530442"/>
            <a:ext cx="1453357" cy="1453356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651039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3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130138" y="2237261"/>
            <a:ext cx="1196975" cy="119697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519573" y="2237261"/>
            <a:ext cx="1196975" cy="119697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909007" y="2235670"/>
            <a:ext cx="1196975" cy="1196975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298442" y="2235670"/>
            <a:ext cx="1196975" cy="119697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687876" y="2235670"/>
            <a:ext cx="1196975" cy="119697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9077311" y="2235670"/>
            <a:ext cx="1196975" cy="1196975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130138" y="3587784"/>
            <a:ext cx="1196975" cy="1196975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519573" y="3587784"/>
            <a:ext cx="1196975" cy="1196975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909007" y="3586193"/>
            <a:ext cx="1196975" cy="1196975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298442" y="3586193"/>
            <a:ext cx="1196975" cy="1196975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7687876" y="3586193"/>
            <a:ext cx="1196975" cy="1196975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077311" y="3586193"/>
            <a:ext cx="1196975" cy="11969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55147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BA666AD-D97C-4751-8527-70F77AE2A60C}"/>
              </a:ext>
            </a:extLst>
          </p:cNvPr>
          <p:cNvSpPr/>
          <p:nvPr userDrawn="1"/>
        </p:nvSpPr>
        <p:spPr>
          <a:xfrm>
            <a:off x="514350" y="-580"/>
            <a:ext cx="11677649" cy="873705"/>
          </a:xfrm>
          <a:prstGeom prst="rect">
            <a:avLst/>
          </a:prstGeom>
          <a:gradFill flip="none" rotWithShape="1">
            <a:gsLst>
              <a:gs pos="85000">
                <a:srgbClr val="DFEFEE"/>
              </a:gs>
              <a:gs pos="42000">
                <a:srgbClr val="ECF5F4"/>
              </a:gs>
              <a:gs pos="100000">
                <a:srgbClr val="DAECEB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B3505E-5F5D-4D23-806B-772B5BE08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B2D68BC-688E-4F51-8724-3C27891079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C01F686-0164-46EC-8893-FB29C0A96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5B7571-3640-445C-8E48-E6AA3D8C0734}" type="datetime1">
              <a:rPr lang="ru-RU" smtClean="0"/>
              <a:pPr/>
              <a:t>25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18C61A6-3C0F-43B7-9C8E-31DE12EE3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DA96F42-1281-4409-9ADD-2225BC3E4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2A500-833D-4D3A-986F-AD9DA69007F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1989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E6BA7B6-B9FD-472F-A2AA-8506F907082F}"/>
              </a:ext>
            </a:extLst>
          </p:cNvPr>
          <p:cNvSpPr/>
          <p:nvPr userDrawn="1"/>
        </p:nvSpPr>
        <p:spPr>
          <a:xfrm>
            <a:off x="514350" y="-580"/>
            <a:ext cx="11677649" cy="873705"/>
          </a:xfrm>
          <a:prstGeom prst="rect">
            <a:avLst/>
          </a:prstGeom>
          <a:gradFill flip="none" rotWithShape="1">
            <a:gsLst>
              <a:gs pos="85000">
                <a:srgbClr val="DFEFEE"/>
              </a:gs>
              <a:gs pos="42000">
                <a:srgbClr val="ECF5F4"/>
              </a:gs>
              <a:gs pos="100000">
                <a:srgbClr val="DAECEB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376E60-E174-47AA-8771-FB734CDE5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2C6B92F-95FB-4D9B-A248-DE61D28586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D483DE7-1363-4A71-A8A8-D16E19593F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34BF83-A5A5-4D68-A9BE-25819E85695F}" type="datetime1">
              <a:rPr lang="ru-RU" smtClean="0"/>
              <a:pPr/>
              <a:t>25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AEA8BEE-7EB0-4F6A-8205-614E7260E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D5D1307-797C-4542-AD97-A2A73ADA8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2A500-833D-4D3A-986F-AD9DA69007F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1940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9EAB2F1-B0B1-4147-B7D2-BBEEEBB485FD}"/>
              </a:ext>
            </a:extLst>
          </p:cNvPr>
          <p:cNvSpPr/>
          <p:nvPr userDrawn="1"/>
        </p:nvSpPr>
        <p:spPr>
          <a:xfrm>
            <a:off x="514350" y="-580"/>
            <a:ext cx="11677649" cy="873705"/>
          </a:xfrm>
          <a:prstGeom prst="rect">
            <a:avLst/>
          </a:prstGeom>
          <a:gradFill flip="none" rotWithShape="1">
            <a:gsLst>
              <a:gs pos="85000">
                <a:srgbClr val="DFEFEE"/>
              </a:gs>
              <a:gs pos="42000">
                <a:srgbClr val="ECF5F4"/>
              </a:gs>
              <a:gs pos="100000">
                <a:srgbClr val="DAECEB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7D6BE13-0B9A-4306-8D89-6A313A054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4E1093E-74E1-463E-9A0E-CA1C0C9A2E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97D0D74-CF0B-4D04-9613-E516193226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38E8F08-770A-4638-A217-AA0FB446E8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AB0FD43-623A-4B3C-B8F9-E95F79F1887C}" type="datetime1">
              <a:rPr lang="ru-RU" smtClean="0"/>
              <a:pPr/>
              <a:t>25.03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2284C42-8DAB-429D-AA5D-5D61C651E4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F4F479F-4722-41F1-9A19-3A09EDF67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2A500-833D-4D3A-986F-AD9DA69007F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0194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039ACB3-AC46-4941-BF37-D823B11AC61F}"/>
              </a:ext>
            </a:extLst>
          </p:cNvPr>
          <p:cNvSpPr/>
          <p:nvPr userDrawn="1"/>
        </p:nvSpPr>
        <p:spPr>
          <a:xfrm>
            <a:off x="514350" y="-580"/>
            <a:ext cx="11677649" cy="873705"/>
          </a:xfrm>
          <a:prstGeom prst="rect">
            <a:avLst/>
          </a:prstGeom>
          <a:gradFill flip="none" rotWithShape="1">
            <a:gsLst>
              <a:gs pos="85000">
                <a:srgbClr val="DFEFEE"/>
              </a:gs>
              <a:gs pos="42000">
                <a:srgbClr val="ECF5F4"/>
              </a:gs>
              <a:gs pos="100000">
                <a:srgbClr val="DAECEB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8F925C-E25E-46D0-8D54-A2229BC31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98A8DC0-1C0D-4DAC-B8BB-5A10240E9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0CB1FC7-E6A6-48D7-8BBD-0D7C835653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09037E3-CC8D-4187-9EF8-93F01CB0EF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C2BEBE9D-DB58-4A9E-8C6F-7989C62AD2B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86E555A-E2A1-46A7-AAB8-68C054F7F6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B1FC31-1D10-4BAD-9494-24DFC0DF1687}" type="datetime1">
              <a:rPr lang="ru-RU" smtClean="0"/>
              <a:pPr/>
              <a:t>25.03.2026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8143E567-5A6C-4784-92EE-835C47EEA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447FDEE0-E66F-4B3F-A849-FD5FA6A05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2A500-833D-4D3A-986F-AD9DA69007F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39102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47A8914-B8C9-4CC6-9BF2-D609E98216C0}"/>
              </a:ext>
            </a:extLst>
          </p:cNvPr>
          <p:cNvSpPr/>
          <p:nvPr userDrawn="1"/>
        </p:nvSpPr>
        <p:spPr>
          <a:xfrm>
            <a:off x="514350" y="-580"/>
            <a:ext cx="11677649" cy="873705"/>
          </a:xfrm>
          <a:prstGeom prst="rect">
            <a:avLst/>
          </a:prstGeom>
          <a:gradFill flip="none" rotWithShape="1">
            <a:gsLst>
              <a:gs pos="85000">
                <a:srgbClr val="DFEFEE"/>
              </a:gs>
              <a:gs pos="42000">
                <a:srgbClr val="ECF5F4"/>
              </a:gs>
              <a:gs pos="100000">
                <a:srgbClr val="DAECEB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2E1DC9-2E8A-48C4-9DD0-DCD2CF2F1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136ACE9-7505-44CB-8C3E-855F2050E4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BB20C7-4BA0-44FE-8BEA-9C77AA96AB37}" type="datetime1">
              <a:rPr lang="ru-RU" smtClean="0"/>
              <a:pPr/>
              <a:t>25.03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A18BE64-8702-4BDF-9290-F96CCD596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F4693C6-BA3B-4846-BC6C-2A1F56042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2A500-833D-4D3A-986F-AD9DA69007F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00328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81474C5-BE90-4A43-9D33-755909D968F3}"/>
              </a:ext>
            </a:extLst>
          </p:cNvPr>
          <p:cNvSpPr/>
          <p:nvPr userDrawn="1"/>
        </p:nvSpPr>
        <p:spPr>
          <a:xfrm>
            <a:off x="514350" y="-580"/>
            <a:ext cx="11677649" cy="873705"/>
          </a:xfrm>
          <a:prstGeom prst="rect">
            <a:avLst/>
          </a:prstGeom>
          <a:gradFill flip="none" rotWithShape="1">
            <a:gsLst>
              <a:gs pos="85000">
                <a:srgbClr val="DFEFEE"/>
              </a:gs>
              <a:gs pos="42000">
                <a:srgbClr val="ECF5F4"/>
              </a:gs>
              <a:gs pos="100000">
                <a:srgbClr val="DAECEB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Дата 1">
            <a:extLst>
              <a:ext uri="{FF2B5EF4-FFF2-40B4-BE49-F238E27FC236}">
                <a16:creationId xmlns:a16="http://schemas.microsoft.com/office/drawing/2014/main" id="{2C85A491-385F-4357-B755-38FB30B4A3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4D021D7-3537-419D-B94B-E23CD2FB754B}" type="datetime1">
              <a:rPr lang="ru-RU" smtClean="0"/>
              <a:pPr/>
              <a:t>25.03.2026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5DDB7AD-B532-4501-A925-63323A2D0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E661CB7-9028-4D17-80CC-DA725B1FA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2A500-833D-4D3A-986F-AD9DA69007F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9841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CA27B09-97D5-4616-BF2E-99F28E14EEAA}"/>
              </a:ext>
            </a:extLst>
          </p:cNvPr>
          <p:cNvSpPr/>
          <p:nvPr userDrawn="1"/>
        </p:nvSpPr>
        <p:spPr>
          <a:xfrm>
            <a:off x="514350" y="-580"/>
            <a:ext cx="11677649" cy="873705"/>
          </a:xfrm>
          <a:prstGeom prst="rect">
            <a:avLst/>
          </a:prstGeom>
          <a:gradFill flip="none" rotWithShape="1">
            <a:gsLst>
              <a:gs pos="85000">
                <a:srgbClr val="DFEFEE"/>
              </a:gs>
              <a:gs pos="42000">
                <a:srgbClr val="ECF5F4"/>
              </a:gs>
              <a:gs pos="100000">
                <a:srgbClr val="DAECEB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F345F0-CA1E-4FA4-B5BA-6FF55B1AB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5463E3F-160B-4386-B63E-F649DD8E09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FAE0A6C-E6B8-4425-AE0A-8255C17EAE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C69E6DD-B650-43FC-A40A-8ED1C3D437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6C42193-B7A1-4594-B7A8-6E030FBE46B4}" type="datetime1">
              <a:rPr lang="ru-RU" smtClean="0"/>
              <a:pPr/>
              <a:t>25.03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3487D7F-5A7A-41EA-8857-7F2EBC48B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AFE9AA7-EB6C-4BC3-974B-DFE93DF546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2A500-833D-4D3A-986F-AD9DA69007F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7765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154C897-09E1-4A88-99C8-E6DA7F20F6ED}"/>
              </a:ext>
            </a:extLst>
          </p:cNvPr>
          <p:cNvSpPr/>
          <p:nvPr userDrawn="1"/>
        </p:nvSpPr>
        <p:spPr>
          <a:xfrm>
            <a:off x="514350" y="-580"/>
            <a:ext cx="11677649" cy="873705"/>
          </a:xfrm>
          <a:prstGeom prst="rect">
            <a:avLst/>
          </a:prstGeom>
          <a:gradFill flip="none" rotWithShape="1">
            <a:gsLst>
              <a:gs pos="85000">
                <a:srgbClr val="DFEFEE"/>
              </a:gs>
              <a:gs pos="42000">
                <a:srgbClr val="ECF5F4"/>
              </a:gs>
              <a:gs pos="100000">
                <a:srgbClr val="DAECEB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038E336-6AC5-4676-8249-6857D2351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7C5B4EAE-1396-4E94-8976-8DEE3AF3D6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A88EBB7-F705-484F-BA1A-2C7E7982B2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86A2A17-39C1-4030-ACE6-48E695CB304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FF04099-CBB7-4D5B-BD43-D12C323E26DB}" type="datetime1">
              <a:rPr lang="ru-RU" smtClean="0"/>
              <a:pPr/>
              <a:t>25.03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E00023E-ABCD-4025-B0FA-8AB19BD2A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64633C0-E15C-4B52-B3CD-476BA497C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2A500-833D-4D3A-986F-AD9DA69007F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55476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5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38FF0C-23D5-4244-940D-A0B8B6713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1400" y="1"/>
            <a:ext cx="8383588" cy="8731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ACF5BEE-4957-4B53-88D2-37AE6CEE0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4738FC64-EBFF-45B4-9B4E-89A317246A69}"/>
              </a:ext>
            </a:extLst>
          </p:cNvPr>
          <p:cNvGrpSpPr/>
          <p:nvPr userDrawn="1"/>
        </p:nvGrpSpPr>
        <p:grpSpPr>
          <a:xfrm>
            <a:off x="0" y="-580"/>
            <a:ext cx="514778" cy="6858579"/>
            <a:chOff x="-428" y="-579"/>
            <a:chExt cx="514778" cy="6858579"/>
          </a:xfrm>
        </p:grpSpPr>
        <p:sp>
          <p:nvSpPr>
            <p:cNvPr id="9" name="object 2">
              <a:extLst>
                <a:ext uri="{FF2B5EF4-FFF2-40B4-BE49-F238E27FC236}">
                  <a16:creationId xmlns:a16="http://schemas.microsoft.com/office/drawing/2014/main" id="{095CEC6F-46B7-4FBA-AFD1-66CB863D1CC6}"/>
                </a:ext>
              </a:extLst>
            </p:cNvPr>
            <p:cNvSpPr/>
            <p:nvPr/>
          </p:nvSpPr>
          <p:spPr>
            <a:xfrm>
              <a:off x="0" y="385"/>
              <a:ext cx="514350" cy="6857615"/>
            </a:xfrm>
            <a:custGeom>
              <a:avLst/>
              <a:gdLst/>
              <a:ahLst/>
              <a:cxnLst/>
              <a:rect l="l" t="t" r="r" b="b"/>
              <a:pathLst>
                <a:path w="20104100" h="11308715">
                  <a:moveTo>
                    <a:pt x="20104099" y="0"/>
                  </a:moveTo>
                  <a:lnTo>
                    <a:pt x="0" y="0"/>
                  </a:lnTo>
                  <a:lnTo>
                    <a:pt x="0" y="11308556"/>
                  </a:lnTo>
                  <a:lnTo>
                    <a:pt x="20104099" y="11308556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00796B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0" name="object 2">
              <a:extLst>
                <a:ext uri="{FF2B5EF4-FFF2-40B4-BE49-F238E27FC236}">
                  <a16:creationId xmlns:a16="http://schemas.microsoft.com/office/drawing/2014/main" id="{3A91BEC7-8E46-4836-971A-BA141265D4CC}"/>
                </a:ext>
              </a:extLst>
            </p:cNvPr>
            <p:cNvSpPr/>
            <p:nvPr/>
          </p:nvSpPr>
          <p:spPr>
            <a:xfrm>
              <a:off x="-428" y="-579"/>
              <a:ext cx="514350" cy="6857615"/>
            </a:xfrm>
            <a:custGeom>
              <a:avLst/>
              <a:gdLst/>
              <a:ahLst/>
              <a:cxnLst/>
              <a:rect l="l" t="t" r="r" b="b"/>
              <a:pathLst>
                <a:path w="20104100" h="11308715">
                  <a:moveTo>
                    <a:pt x="20104099" y="0"/>
                  </a:moveTo>
                  <a:lnTo>
                    <a:pt x="0" y="0"/>
                  </a:lnTo>
                  <a:lnTo>
                    <a:pt x="0" y="11308556"/>
                  </a:lnTo>
                  <a:lnTo>
                    <a:pt x="20104099" y="11308556"/>
                  </a:lnTo>
                  <a:lnTo>
                    <a:pt x="20104099" y="0"/>
                  </a:lnTo>
                  <a:close/>
                </a:path>
              </a:pathLst>
            </a:custGeom>
            <a:blipFill dpi="0" rotWithShape="1">
              <a:blip r:embed="rId17" cstate="print">
                <a:alphaModFix amt="75000"/>
              </a:blip>
              <a:srcRect/>
              <a:tile tx="0" ty="0" sx="100000" sy="100000" flip="none" algn="tl"/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294C46A8-BB94-43CF-B47A-E7D5A41541CF}"/>
                </a:ext>
              </a:extLst>
            </p:cNvPr>
            <p:cNvSpPr/>
            <p:nvPr/>
          </p:nvSpPr>
          <p:spPr>
            <a:xfrm>
              <a:off x="0" y="5989320"/>
              <a:ext cx="513922" cy="502920"/>
            </a:xfrm>
            <a:prstGeom prst="rect">
              <a:avLst/>
            </a:prstGeom>
            <a:solidFill>
              <a:srgbClr val="004D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6F9EEAA-01B9-48C9-8AAD-90C08A982C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48591" y="6058216"/>
            <a:ext cx="66294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800" b="1">
                <a:solidFill>
                  <a:srgbClr val="ECF5F4"/>
                </a:solidFill>
              </a:defRPr>
            </a:lvl1pPr>
          </a:lstStyle>
          <a:p>
            <a:fld id="{1192A500-833D-4D3A-986F-AD9DA69007F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270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5" r:id="rId12"/>
    <p:sldLayoutId id="2147483666" r:id="rId13"/>
    <p:sldLayoutId id="2147483667" r:id="rId14"/>
    <p:sldLayoutId id="2147483668" r:id="rId15"/>
  </p:sldLayoutIdLst>
  <p:hf hdr="0" ft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D4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537" userDrawn="1">
          <p15:clr>
            <a:srgbClr val="F26B43"/>
          </p15:clr>
        </p15:guide>
        <p15:guide id="5" orient="horz" pos="55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37.png"/><Relationship Id="rId7" Type="http://schemas.openxmlformats.org/officeDocument/2006/relationships/image" Target="../media/image3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4.wdp"/><Relationship Id="rId11" Type="http://schemas.openxmlformats.org/officeDocument/2006/relationships/hyperlink" Target="https://law.rkomi.ru/" TargetMode="External"/><Relationship Id="rId5" Type="http://schemas.openxmlformats.org/officeDocument/2006/relationships/image" Target="../media/image38.png"/><Relationship Id="rId10" Type="http://schemas.microsoft.com/office/2007/relationships/hdphoto" Target="../media/hdphoto2.wdp"/><Relationship Id="rId4" Type="http://schemas.microsoft.com/office/2007/relationships/hdphoto" Target="../media/hdphoto3.wdp"/><Relationship Id="rId9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microsoft.com/office/2007/relationships/hdphoto" Target="../media/hdphoto6.wdp"/><Relationship Id="rId12" Type="http://schemas.openxmlformats.org/officeDocument/2006/relationships/image" Target="../media/image4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0.png"/><Relationship Id="rId11" Type="http://schemas.openxmlformats.org/officeDocument/2006/relationships/image" Target="../media/image44.jpeg"/><Relationship Id="rId5" Type="http://schemas.openxmlformats.org/officeDocument/2006/relationships/image" Target="../media/image2.emf"/><Relationship Id="rId10" Type="http://schemas.openxmlformats.org/officeDocument/2006/relationships/image" Target="../media/image43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2.png"/><Relationship Id="rId14" Type="http://schemas.openxmlformats.org/officeDocument/2006/relationships/hyperlink" Target="https://law.rkomi.ru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jpeg"/><Relationship Id="rId7" Type="http://schemas.openxmlformats.org/officeDocument/2006/relationships/image" Target="../media/image22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5" Type="http://schemas.openxmlformats.org/officeDocument/2006/relationships/image" Target="../media/image34.jpeg"/><Relationship Id="rId4" Type="http://schemas.openxmlformats.org/officeDocument/2006/relationships/image" Target="../media/image33.jpeg"/><Relationship Id="rId9" Type="http://schemas.openxmlformats.org/officeDocument/2006/relationships/hyperlink" Target="https://law.rkomi.ru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AEEE729-76FB-4648-B600-7AE63AFB7F52}"/>
              </a:ext>
            </a:extLst>
          </p:cNvPr>
          <p:cNvSpPr txBox="1"/>
          <p:nvPr/>
        </p:nvSpPr>
        <p:spPr>
          <a:xfrm>
            <a:off x="4898780" y="6242816"/>
            <a:ext cx="2394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002060"/>
                </a:solidFill>
              </a:rPr>
              <a:t>2026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F909A28-17F8-4FED-8D15-AF710695345F}"/>
              </a:ext>
            </a:extLst>
          </p:cNvPr>
          <p:cNvSpPr/>
          <p:nvPr/>
        </p:nvSpPr>
        <p:spPr>
          <a:xfrm>
            <a:off x="661366" y="1882338"/>
            <a:ext cx="6343441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700" b="1" dirty="0">
                <a:solidFill>
                  <a:srgbClr val="002060"/>
                </a:solidFill>
              </a:rPr>
              <a:t>ГБУЗ РК «Интинская центральная районная больница»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DB94DE-B7DF-49E4-A4EF-FDD6AA4CBD9F}"/>
              </a:ext>
            </a:extLst>
          </p:cNvPr>
          <p:cNvSpPr txBox="1"/>
          <p:nvPr/>
        </p:nvSpPr>
        <p:spPr>
          <a:xfrm>
            <a:off x="661366" y="4021453"/>
            <a:ext cx="529958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600" dirty="0">
                <a:solidFill>
                  <a:srgbClr val="7030A0"/>
                </a:solidFill>
              </a:rPr>
              <a:t>Адрес: </a:t>
            </a:r>
          </a:p>
          <a:p>
            <a:r>
              <a:rPr lang="ru-RU" sz="2600" dirty="0">
                <a:solidFill>
                  <a:srgbClr val="7030A0"/>
                </a:solidFill>
              </a:rPr>
              <a:t>ул. Мира, 10, </a:t>
            </a:r>
          </a:p>
          <a:p>
            <a:r>
              <a:rPr lang="ru-RU" sz="2600" dirty="0">
                <a:solidFill>
                  <a:srgbClr val="7030A0"/>
                </a:solidFill>
              </a:rPr>
              <a:t>г. Инта, Республика Коми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26F885F4-DA79-4035-BD98-E2F693BE5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48591" y="6058216"/>
            <a:ext cx="662942" cy="365125"/>
          </a:xfrm>
        </p:spPr>
        <p:txBody>
          <a:bodyPr/>
          <a:lstStyle/>
          <a:p>
            <a:fld id="{1192A500-833D-4D3A-986F-AD9DA69007F4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11" name="Google Shape;103;p2">
            <a:extLst>
              <a:ext uri="{FF2B5EF4-FFF2-40B4-BE49-F238E27FC236}">
                <a16:creationId xmlns:a16="http://schemas.microsoft.com/office/drawing/2014/main" id="{41D4D721-56EA-4E46-B9A1-C20203C97008}"/>
              </a:ext>
            </a:extLst>
          </p:cNvPr>
          <p:cNvSpPr/>
          <p:nvPr/>
        </p:nvSpPr>
        <p:spPr>
          <a:xfrm>
            <a:off x="7583799" y="118360"/>
            <a:ext cx="3944371" cy="775437"/>
          </a:xfrm>
          <a:prstGeom prst="roundRect">
            <a:avLst>
              <a:gd name="adj" fmla="val 11114"/>
            </a:avLst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108860" tIns="54415" rIns="108860" bIns="54415" anchor="ctr" anchorCtr="0">
            <a:noAutofit/>
          </a:bodyPr>
          <a:lstStyle/>
          <a:p>
            <a:pPr algn="r">
              <a:buClr>
                <a:srgbClr val="000000"/>
              </a:buClr>
              <a:buSzPts val="1800"/>
            </a:pPr>
            <a:r>
              <a:rPr lang="ru-RU" sz="1900" dirty="0">
                <a:solidFill>
                  <a:srgbClr val="00206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  <a:sym typeface="Calibri"/>
              </a:rPr>
              <a:t>Министерство здравоохранения </a:t>
            </a:r>
          </a:p>
          <a:p>
            <a:pPr algn="r">
              <a:buClr>
                <a:srgbClr val="000000"/>
              </a:buClr>
              <a:buSzPts val="1800"/>
            </a:pPr>
            <a:r>
              <a:rPr lang="ru-RU" sz="1900" dirty="0">
                <a:solidFill>
                  <a:srgbClr val="00206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  <a:sym typeface="Calibri"/>
              </a:rPr>
              <a:t>Республики Коми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9C0F4A1-36A6-43DD-9514-0CF5F9BC28C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956532" y="-155094"/>
            <a:ext cx="1705446" cy="132234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61E4934-3991-45C5-884B-3D4F73A884B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06517" y="2011169"/>
            <a:ext cx="6185483" cy="347933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9087151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328068" y="1317199"/>
            <a:ext cx="3093204" cy="2379381"/>
          </a:xfrm>
          <a:solidFill>
            <a:schemeClr val="tx1"/>
          </a:solidFill>
        </p:spPr>
      </p:sp>
      <p:sp>
        <p:nvSpPr>
          <p:cNvPr id="110" name="Shape 110"/>
          <p:cNvSpPr/>
          <p:nvPr/>
        </p:nvSpPr>
        <p:spPr>
          <a:xfrm>
            <a:off x="1354270" y="3994733"/>
            <a:ext cx="3101814" cy="2428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>
            <a:normAutofit/>
          </a:bodyPr>
          <a:lstStyle>
            <a:lvl1pPr algn="ctr"/>
          </a:lstStyle>
          <a:p>
            <a:pPr marL="171450" lvl="0" indent="-171450" algn="l" defTabSz="41275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altLang="ru-RU" sz="1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00 000 </a:t>
            </a:r>
            <a:r>
              <a:rPr lang="ru-RU" altLang="ru-RU" sz="1400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ублей </a:t>
            </a:r>
            <a:r>
              <a:rPr lang="ru-RU" altLang="ru-RU" sz="1400" b="1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врачам</a:t>
            </a:r>
            <a:r>
              <a:rPr lang="ru-RU" altLang="ru-RU" sz="1400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, трудоустроившимся по наиболее дефицитным специальностям </a:t>
            </a:r>
            <a:r>
              <a:rPr lang="ru-RU" altLang="ru-RU" sz="1400" b="1" i="1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впервые после окончания ВУЗа</a:t>
            </a:r>
          </a:p>
          <a:p>
            <a:pPr lvl="0" algn="l" defTabSz="41275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400" dirty="0">
              <a:solidFill>
                <a:srgbClr val="003A30"/>
              </a:solidFill>
              <a:latin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Shape 111"/>
          <p:cNvSpPr/>
          <p:nvPr/>
        </p:nvSpPr>
        <p:spPr>
          <a:xfrm>
            <a:off x="8328068" y="1317199"/>
            <a:ext cx="3093204" cy="2379381"/>
          </a:xfrm>
          <a:prstGeom prst="rect">
            <a:avLst/>
          </a:prstGeom>
          <a:solidFill>
            <a:srgbClr val="1A78B9">
              <a:alpha val="80000"/>
            </a:srgbClr>
          </a:solidFill>
          <a:ln w="3175"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sym typeface="Helvetica Light"/>
            </a:endParaRPr>
          </a:p>
        </p:txBody>
      </p:sp>
      <p:sp>
        <p:nvSpPr>
          <p:cNvPr id="112" name="Shape 112"/>
          <p:cNvSpPr/>
          <p:nvPr/>
        </p:nvSpPr>
        <p:spPr>
          <a:xfrm>
            <a:off x="4846588" y="3994733"/>
            <a:ext cx="3101814" cy="2112810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>
            <a:normAutofit/>
          </a:bodyPr>
          <a:lstStyle>
            <a:lvl1pPr algn="ctr"/>
          </a:lstStyle>
          <a:p>
            <a:pPr marL="285750" lvl="0" indent="-285750" algn="l" defTabSz="412750" hangingPunct="0">
              <a:buFont typeface="Wingdings" panose="05000000000000000000" pitchFamily="2" charset="2"/>
              <a:buChar char="Ø"/>
              <a:defRPr/>
            </a:pPr>
            <a:r>
              <a:rPr lang="ru-RU" altLang="ru-RU" sz="1400" b="1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50 000 </a:t>
            </a:r>
            <a:r>
              <a:rPr lang="ru-RU" altLang="ru-RU" sz="1400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ублей </a:t>
            </a:r>
            <a:r>
              <a:rPr lang="ru-RU" altLang="ru-RU" sz="1400" b="1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редним медицинским работникам </a:t>
            </a:r>
            <a:r>
              <a:rPr lang="ru-RU" altLang="ru-RU" sz="1400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фельдшерско-акушерских пунктов (медицинские сестры и акушерки),   а также фельдшерам скорой медициной помощи, трудоустроенным в </a:t>
            </a:r>
            <a:r>
              <a:rPr lang="ru-RU" altLang="ru-RU" sz="1400" b="1" i="1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больницы, расположенные в сельской местности</a:t>
            </a:r>
            <a:endParaRPr kumimoji="0" sz="1400" b="1" i="1" u="none" strike="noStrike" kern="0" cap="none" spc="0" normalizeH="0" baseline="0" noProof="0" dirty="0">
              <a:ln>
                <a:noFill/>
              </a:ln>
              <a:solidFill>
                <a:srgbClr val="A6A7AC"/>
              </a:solidFill>
              <a:effectLst/>
              <a:uLnTx/>
              <a:uFillTx/>
              <a:latin typeface="Calibri" panose="020F0502020204030204" pitchFamily="34" charset="0"/>
              <a:sym typeface="PT Sans"/>
            </a:endParaRPr>
          </a:p>
        </p:txBody>
      </p:sp>
      <p:sp>
        <p:nvSpPr>
          <p:cNvPr id="113" name="Shape 113"/>
          <p:cNvSpPr/>
          <p:nvPr/>
        </p:nvSpPr>
        <p:spPr>
          <a:xfrm>
            <a:off x="8328068" y="3991585"/>
            <a:ext cx="3101814" cy="229560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>
            <a:noAutofit/>
          </a:bodyPr>
          <a:lstStyle>
            <a:lvl1pPr algn="ctr"/>
          </a:lstStyle>
          <a:p>
            <a:pPr marL="171450" lvl="0" indent="-171450" algn="l" defTabSz="41275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altLang="ru-RU" sz="1400" b="1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 000 000 </a:t>
            </a:r>
            <a:r>
              <a:rPr lang="ru-RU" altLang="ru-RU" sz="1400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ублей на приобретение или строительство жилья медицинским работникам </a:t>
            </a:r>
            <a:r>
              <a:rPr lang="ru-RU" altLang="ru-RU" sz="1400" b="1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о средним профессиональным образованием</a:t>
            </a:r>
            <a:r>
              <a:rPr lang="ru-RU" altLang="ru-RU" sz="1400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, принятым в 2024 году и последующие годы на работу </a:t>
            </a:r>
            <a:br>
              <a:rPr lang="ru-RU" altLang="ru-RU" sz="1400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ru-RU" sz="1400" b="1" i="1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в ФАП, ранее не укомплектованные медицинским персоналом </a:t>
            </a:r>
          </a:p>
          <a:p>
            <a:pPr lvl="0" defTabSz="41275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400" dirty="0">
              <a:solidFill>
                <a:srgbClr val="003A30"/>
              </a:solidFill>
              <a:latin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lvl="0" indent="-171450" algn="l" defTabSz="41275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altLang="ru-RU" sz="1400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8 800 </a:t>
            </a:r>
            <a:r>
              <a:rPr lang="ru-RU" altLang="ru-RU" sz="1400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ублей ежемесячные выплаты </a:t>
            </a:r>
            <a:r>
              <a:rPr lang="ru-RU" altLang="ru-RU" sz="1400" b="1" i="1" dirty="0">
                <a:solidFill>
                  <a:srgbClr val="003A30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в течение 12 месяцев с момента трудоустройств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4DDB32-433C-4F01-8E74-FE1C39EA8C5D}"/>
              </a:ext>
            </a:extLst>
          </p:cNvPr>
          <p:cNvSpPr txBox="1"/>
          <p:nvPr/>
        </p:nvSpPr>
        <p:spPr>
          <a:xfrm>
            <a:off x="880844" y="254327"/>
            <a:ext cx="92288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>
                <a:solidFill>
                  <a:srgbClr val="003A30"/>
                </a:solidFill>
              </a:rPr>
              <a:t>Региональные меры </a:t>
            </a:r>
          </a:p>
        </p:txBody>
      </p: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523BBE16-37C2-45DA-8E41-8F851F12C96F}"/>
              </a:ext>
            </a:extLst>
          </p:cNvPr>
          <p:cNvSpPr txBox="1">
            <a:spLocks/>
          </p:cNvSpPr>
          <p:nvPr/>
        </p:nvSpPr>
        <p:spPr>
          <a:xfrm>
            <a:off x="-148591" y="6058216"/>
            <a:ext cx="662942" cy="365125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1192A500-833D-4D3A-986F-AD9DA69007F4}" type="slidenum">
              <a:rPr lang="ru-RU" smtClean="0">
                <a:solidFill>
                  <a:srgbClr val="FFFFFF"/>
                </a:solidFill>
              </a:rPr>
              <a:pPr marL="0" indent="0" algn="r">
                <a:buNone/>
              </a:pPr>
              <a:t>10</a:t>
            </a:fld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E084D80-1E5E-4779-8895-58AC99A9837D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053787" y="-102655"/>
            <a:ext cx="1446841" cy="112183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45620275-0BE5-4059-AE38-4F178F98D0D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aintStrokes/>
                    </a14:imgEffect>
                    <a14:imgEffect>
                      <a14:sharpenSoften amount="-5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645" r="13645"/>
          <a:stretch>
            <a:fillRect/>
          </a:stretch>
        </p:blipFill>
        <p:spPr>
          <a:xfrm>
            <a:off x="1089499" y="1317837"/>
            <a:ext cx="3352458" cy="2581996"/>
          </a:xfrm>
          <a:solidFill>
            <a:srgbClr val="CCCCCC"/>
          </a:solidFill>
          <a:ln w="15875">
            <a:solidFill>
              <a:srgbClr val="92D050"/>
            </a:solidFill>
          </a:ln>
        </p:spPr>
      </p:pic>
      <p:sp>
        <p:nvSpPr>
          <p:cNvPr id="17" name="Text Box 10">
            <a:extLst>
              <a:ext uri="{FF2B5EF4-FFF2-40B4-BE49-F238E27FC236}">
                <a16:creationId xmlns:a16="http://schemas.microsoft.com/office/drawing/2014/main" id="{35D80216-4C12-40FC-B1D8-CB9C7CDBA401}"/>
              </a:ext>
            </a:extLst>
          </p:cNvPr>
          <p:cNvSpPr txBox="1">
            <a:spLocks/>
          </p:cNvSpPr>
          <p:nvPr/>
        </p:nvSpPr>
        <p:spPr bwMode="auto">
          <a:xfrm>
            <a:off x="1089499" y="1317199"/>
            <a:ext cx="3359520" cy="1744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lvl="0" algn="ctr" defTabSz="41275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solidFill>
                  <a:srgbClr val="FFFFFF"/>
                </a:solidFill>
              </a:rPr>
              <a:t>Постановление Правительства Республики Коми</a:t>
            </a:r>
          </a:p>
          <a:p>
            <a:pPr lvl="0" algn="ctr" defTabSz="41275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solidFill>
                  <a:srgbClr val="FFFFFF"/>
                </a:solidFill>
              </a:rPr>
              <a:t> от 08.05.2014 </a:t>
            </a:r>
          </a:p>
          <a:p>
            <a:pPr lvl="0" algn="ctr" defTabSz="41275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solidFill>
                  <a:srgbClr val="FFFFFF"/>
                </a:solidFill>
              </a:rPr>
              <a:t>№ 181</a:t>
            </a:r>
            <a:endParaRPr kumimoji="0" lang="ru-RU" altLang="ru-RU" sz="2200" b="1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E7456E8-BC30-41E9-A0BE-B8E22A6591A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134000"/>
                    </a14:imgEffect>
                    <a14:imgEffect>
                      <a14:brightnessContrast bright="-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28" r="728"/>
          <a:stretch>
            <a:fillRect/>
          </a:stretch>
        </p:blipFill>
        <p:spPr>
          <a:xfrm>
            <a:off x="4682754" y="1317837"/>
            <a:ext cx="3392844" cy="2581996"/>
          </a:xfrm>
          <a:solidFill>
            <a:srgbClr val="CCCCCC"/>
          </a:solidFill>
          <a:ln w="15875">
            <a:solidFill>
              <a:srgbClr val="FFC000"/>
            </a:solidFill>
          </a:ln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12DE5EE-357B-47FF-8A1F-55F7D8FFFA8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612" r="16612"/>
          <a:stretch>
            <a:fillRect/>
          </a:stretch>
        </p:blipFill>
        <p:spPr>
          <a:xfrm>
            <a:off x="8338039" y="1307568"/>
            <a:ext cx="3353315" cy="2581996"/>
          </a:xfrm>
          <a:prstGeom prst="rect">
            <a:avLst/>
          </a:prstGeom>
          <a:solidFill>
            <a:srgbClr val="CCCCCC"/>
          </a:solidFill>
          <a:ln w="15875">
            <a:solidFill>
              <a:srgbClr val="00B0F0"/>
            </a:solidFill>
          </a:ln>
        </p:spPr>
      </p:pic>
      <p:sp>
        <p:nvSpPr>
          <p:cNvPr id="21" name="Text Box 19">
            <a:extLst>
              <a:ext uri="{FF2B5EF4-FFF2-40B4-BE49-F238E27FC236}">
                <a16:creationId xmlns:a16="http://schemas.microsoft.com/office/drawing/2014/main" id="{EBF85DA3-93C4-44BD-A671-895CBEE46ECA}"/>
              </a:ext>
            </a:extLst>
          </p:cNvPr>
          <p:cNvSpPr txBox="1">
            <a:spLocks/>
          </p:cNvSpPr>
          <p:nvPr/>
        </p:nvSpPr>
        <p:spPr bwMode="auto">
          <a:xfrm>
            <a:off x="4675692" y="1317199"/>
            <a:ext cx="3399906" cy="1744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1275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solidFill>
                  <a:srgbClr val="FFFFFF"/>
                </a:solidFill>
              </a:rPr>
              <a:t>Постановление Правительства Республики Коми </a:t>
            </a:r>
          </a:p>
          <a:p>
            <a:pPr algn="ctr" defTabSz="41275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solidFill>
                  <a:srgbClr val="FFFFFF"/>
                </a:solidFill>
              </a:rPr>
              <a:t>от 14.02.2012 </a:t>
            </a:r>
          </a:p>
          <a:p>
            <a:pPr algn="ctr" defTabSz="41275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solidFill>
                  <a:srgbClr val="FFFFFF"/>
                </a:solidFill>
              </a:rPr>
              <a:t>№ 45 </a:t>
            </a:r>
            <a:endParaRPr lang="ru-RU" altLang="ru-RU" sz="22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2" name="Text Box 19">
            <a:extLst>
              <a:ext uri="{FF2B5EF4-FFF2-40B4-BE49-F238E27FC236}">
                <a16:creationId xmlns:a16="http://schemas.microsoft.com/office/drawing/2014/main" id="{F51BB14B-B5B2-4B5C-9570-788531435B8F}"/>
              </a:ext>
            </a:extLst>
          </p:cNvPr>
          <p:cNvSpPr txBox="1">
            <a:spLocks/>
          </p:cNvSpPr>
          <p:nvPr/>
        </p:nvSpPr>
        <p:spPr bwMode="auto">
          <a:xfrm>
            <a:off x="8338906" y="1316532"/>
            <a:ext cx="3334836" cy="1744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1275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solidFill>
                  <a:srgbClr val="FFFFFF"/>
                </a:solidFill>
              </a:rPr>
              <a:t>Постановление Правительства Республики Коми </a:t>
            </a:r>
          </a:p>
          <a:p>
            <a:pPr algn="ctr" defTabSz="41275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solidFill>
                  <a:srgbClr val="FFFFFF"/>
                </a:solidFill>
              </a:rPr>
              <a:t>от 27.08.2024 </a:t>
            </a:r>
          </a:p>
          <a:p>
            <a:pPr algn="ctr" defTabSz="41275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solidFill>
                  <a:srgbClr val="FFFFFF"/>
                </a:solidFill>
              </a:rPr>
              <a:t>№ 359 </a:t>
            </a:r>
            <a:endParaRPr lang="ru-RU" altLang="ru-RU" sz="22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Google Shape;103;p2">
            <a:extLst>
              <a:ext uri="{FF2B5EF4-FFF2-40B4-BE49-F238E27FC236}">
                <a16:creationId xmlns:a16="http://schemas.microsoft.com/office/drawing/2014/main" id="{D7CAD696-28BA-40B4-94E7-6327AAF89E56}"/>
              </a:ext>
            </a:extLst>
          </p:cNvPr>
          <p:cNvSpPr/>
          <p:nvPr/>
        </p:nvSpPr>
        <p:spPr>
          <a:xfrm>
            <a:off x="8582025" y="101809"/>
            <a:ext cx="2863396" cy="712901"/>
          </a:xfrm>
          <a:prstGeom prst="roundRect">
            <a:avLst>
              <a:gd name="adj" fmla="val 11114"/>
            </a:avLst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108860" tIns="54415" rIns="108860" bIns="54415" anchor="ctr" anchorCtr="0">
            <a:noAutofit/>
          </a:bodyPr>
          <a:lstStyle/>
          <a:p>
            <a:pPr algn="r">
              <a:buClr>
                <a:srgbClr val="000000"/>
              </a:buClr>
              <a:buSzPts val="1800"/>
            </a:pPr>
            <a:r>
              <a:rPr lang="ru-RU" sz="1400" dirty="0">
                <a:solidFill>
                  <a:srgbClr val="00206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  <a:sym typeface="Calibri"/>
              </a:rPr>
              <a:t>Региональный центр по подбору медицинских работников в Республике Коми </a:t>
            </a:r>
            <a:r>
              <a:rPr lang="en-US" sz="1400" dirty="0">
                <a:solidFill>
                  <a:srgbClr val="00206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  <a:sym typeface="Calibri"/>
              </a:rPr>
              <a:t> 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9A03591-5993-47F2-98D9-48E295AB39CF}"/>
              </a:ext>
            </a:extLst>
          </p:cNvPr>
          <p:cNvSpPr txBox="1"/>
          <p:nvPr/>
        </p:nvSpPr>
        <p:spPr>
          <a:xfrm>
            <a:off x="1081570" y="3087796"/>
            <a:ext cx="33595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* Выплата предоставляется медицинским работникам с высшим образованием, принимаемым на квотированные рабочие места в соответствии с настоящим постановлением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37648B3-2E89-4284-9DB4-67E3208407B4}"/>
              </a:ext>
            </a:extLst>
          </p:cNvPr>
          <p:cNvSpPr txBox="1"/>
          <p:nvPr/>
        </p:nvSpPr>
        <p:spPr>
          <a:xfrm>
            <a:off x="4703531" y="3061266"/>
            <a:ext cx="3372067" cy="7959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* Выплата предоставляется медицинским работникам, имеющим среднее медицинское образование, которые прибыли (переехали) на работу в сельские населенные пункты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1C0C8B-B550-4E7A-81E6-55BFA4B9EFDF}"/>
              </a:ext>
            </a:extLst>
          </p:cNvPr>
          <p:cNvSpPr txBox="1"/>
          <p:nvPr/>
        </p:nvSpPr>
        <p:spPr>
          <a:xfrm>
            <a:off x="8348010" y="3087795"/>
            <a:ext cx="335331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* Выплата предоставляется медицинским работникам, прибывшим на работу на вакантные должности медицинских работников в ФАП, ранее не укомплектованные персоналом</a:t>
            </a:r>
          </a:p>
        </p:txBody>
      </p:sp>
      <p:pic>
        <p:nvPicPr>
          <p:cNvPr id="27" name="Объект 5">
            <a:extLst>
              <a:ext uri="{FF2B5EF4-FFF2-40B4-BE49-F238E27FC236}">
                <a16:creationId xmlns:a16="http://schemas.microsoft.com/office/drawing/2014/main" id="{DA33592A-516A-4095-B6FC-FC77AFA20E1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0630" t="10365" r="10826" b="10501"/>
          <a:stretch/>
        </p:blipFill>
        <p:spPr>
          <a:xfrm>
            <a:off x="11625790" y="6283154"/>
            <a:ext cx="566210" cy="570467"/>
          </a:xfrm>
          <a:prstGeom prst="rect">
            <a:avLst/>
          </a:prstGeom>
          <a:solidFill>
            <a:srgbClr val="ECF5F4"/>
          </a:solidFill>
          <a:ln>
            <a:noFill/>
          </a:ln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373D5889-B7C9-4142-B859-7B28F0DAF884}"/>
              </a:ext>
            </a:extLst>
          </p:cNvPr>
          <p:cNvSpPr/>
          <p:nvPr/>
        </p:nvSpPr>
        <p:spPr>
          <a:xfrm>
            <a:off x="612078" y="6449784"/>
            <a:ext cx="17761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400" dirty="0">
                <a:solidFill>
                  <a:srgbClr val="003A30"/>
                </a:solidFill>
                <a:hlinkClick r:id="rId11"/>
              </a:rPr>
              <a:t>https://law.rkomi.ru/</a:t>
            </a:r>
            <a:r>
              <a:rPr lang="ru-RU" sz="1400" dirty="0">
                <a:solidFill>
                  <a:srgbClr val="003A30"/>
                </a:solidFill>
              </a:rPr>
              <a:t>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13764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2" name="Square"/>
          <p:cNvSpPr/>
          <p:nvPr/>
        </p:nvSpPr>
        <p:spPr>
          <a:xfrm>
            <a:off x="7576541" y="1946653"/>
            <a:ext cx="2172702" cy="2172702"/>
          </a:xfrm>
          <a:prstGeom prst="rect">
            <a:avLst/>
          </a:prstGeom>
          <a:solidFill>
            <a:srgbClr val="00796B"/>
          </a:solidFill>
          <a:ln w="15875">
            <a:solidFill>
              <a:srgbClr val="FFC000"/>
            </a:solidFill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Helvetica Light"/>
            </a:endParaRPr>
          </a:p>
        </p:txBody>
      </p:sp>
      <p:sp>
        <p:nvSpPr>
          <p:cNvPr id="206" name="Square"/>
          <p:cNvSpPr/>
          <p:nvPr/>
        </p:nvSpPr>
        <p:spPr>
          <a:xfrm>
            <a:off x="5263783" y="4249902"/>
            <a:ext cx="2172702" cy="2172702"/>
          </a:xfrm>
          <a:prstGeom prst="rect">
            <a:avLst/>
          </a:prstGeom>
          <a:solidFill>
            <a:srgbClr val="00796B"/>
          </a:solidFill>
          <a:ln w="15875">
            <a:solidFill>
              <a:srgbClr val="FFC000"/>
            </a:solidFill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Helvetica Light"/>
            </a:endParaRPr>
          </a:p>
        </p:txBody>
      </p:sp>
      <p:sp>
        <p:nvSpPr>
          <p:cNvPr id="204" name="Square"/>
          <p:cNvSpPr/>
          <p:nvPr/>
        </p:nvSpPr>
        <p:spPr>
          <a:xfrm>
            <a:off x="638267" y="4249902"/>
            <a:ext cx="2172702" cy="2172702"/>
          </a:xfrm>
          <a:prstGeom prst="rect">
            <a:avLst/>
          </a:prstGeom>
          <a:solidFill>
            <a:schemeClr val="tx2">
              <a:lumMod val="75000"/>
            </a:schemeClr>
          </a:solidFill>
          <a:ln w="15875">
            <a:solidFill>
              <a:srgbClr val="FFC000"/>
            </a:solidFill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Helvetica Light"/>
            </a:endParaRPr>
          </a:p>
        </p:txBody>
      </p:sp>
      <p:sp>
        <p:nvSpPr>
          <p:cNvPr id="208" name="Square"/>
          <p:cNvSpPr/>
          <p:nvPr/>
        </p:nvSpPr>
        <p:spPr>
          <a:xfrm>
            <a:off x="9889299" y="4249902"/>
            <a:ext cx="2172703" cy="2172702"/>
          </a:xfrm>
          <a:prstGeom prst="rect">
            <a:avLst/>
          </a:prstGeom>
          <a:solidFill>
            <a:schemeClr val="tx2">
              <a:lumMod val="75000"/>
            </a:schemeClr>
          </a:solidFill>
          <a:ln w="15875">
            <a:solidFill>
              <a:srgbClr val="FFC000"/>
            </a:solidFill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Helvetica Ligh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0C7171F-052F-4834-90B1-C27A482DD046}"/>
              </a:ext>
            </a:extLst>
          </p:cNvPr>
          <p:cNvSpPr txBox="1"/>
          <p:nvPr/>
        </p:nvSpPr>
        <p:spPr>
          <a:xfrm>
            <a:off x="961700" y="305018"/>
            <a:ext cx="71409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>
                <a:solidFill>
                  <a:srgbClr val="003A30"/>
                </a:solidFill>
              </a:rPr>
              <a:t>Региональные меры</a:t>
            </a:r>
            <a:endParaRPr lang="ru-RU" dirty="0">
              <a:solidFill>
                <a:srgbClr val="003A30"/>
              </a:solidFill>
            </a:endParaRPr>
          </a:p>
        </p:txBody>
      </p:sp>
      <p:sp>
        <p:nvSpPr>
          <p:cNvPr id="34" name="Номер слайда 1">
            <a:extLst>
              <a:ext uri="{FF2B5EF4-FFF2-40B4-BE49-F238E27FC236}">
                <a16:creationId xmlns:a16="http://schemas.microsoft.com/office/drawing/2014/main" id="{02BDD1C6-4C21-4397-B209-4A756818822D}"/>
              </a:ext>
            </a:extLst>
          </p:cNvPr>
          <p:cNvSpPr txBox="1">
            <a:spLocks/>
          </p:cNvSpPr>
          <p:nvPr/>
        </p:nvSpPr>
        <p:spPr>
          <a:xfrm>
            <a:off x="-148591" y="6058216"/>
            <a:ext cx="662942" cy="365125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1192A500-833D-4D3A-986F-AD9DA69007F4}" type="slidenum">
              <a:rPr lang="ru-RU" smtClean="0">
                <a:solidFill>
                  <a:srgbClr val="FFFFFF"/>
                </a:solidFill>
              </a:rPr>
              <a:pPr marL="0" indent="0" algn="r">
                <a:buNone/>
              </a:pPr>
              <a:t>11</a:t>
            </a:fld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9DA69847-9A13-4168-AA21-1EBFBCACF9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astelsSmooth/>
                    </a14:imgEffect>
                    <a14:imgEffect>
                      <a14:sharpenSoften amount="-21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</a:extLst>
          </a:blip>
          <a:srcRect l="21875" r="21875"/>
          <a:stretch>
            <a:fillRect/>
          </a:stretch>
        </p:blipFill>
        <p:spPr>
          <a:xfrm>
            <a:off x="634218" y="1946591"/>
            <a:ext cx="2173288" cy="2173288"/>
          </a:xfrm>
          <a:prstGeom prst="rect">
            <a:avLst/>
          </a:prstGeom>
          <a:solidFill>
            <a:schemeClr val="tx2">
              <a:lumMod val="75000"/>
            </a:schemeClr>
          </a:solidFill>
          <a:ln w="15875">
            <a:solidFill>
              <a:srgbClr val="C00000"/>
            </a:solidFill>
          </a:ln>
        </p:spPr>
      </p:pic>
      <p:sp>
        <p:nvSpPr>
          <p:cNvPr id="38" name="Lorem ipsum dolor sit adipiscing elit, sed do eiusmod tempor incididunt ut labore et">
            <a:extLst>
              <a:ext uri="{FF2B5EF4-FFF2-40B4-BE49-F238E27FC236}">
                <a16:creationId xmlns:a16="http://schemas.microsoft.com/office/drawing/2014/main" id="{A952F346-97B7-41C5-8B82-920D90988069}"/>
              </a:ext>
            </a:extLst>
          </p:cNvPr>
          <p:cNvSpPr txBox="1"/>
          <p:nvPr/>
        </p:nvSpPr>
        <p:spPr>
          <a:xfrm>
            <a:off x="641562" y="4731524"/>
            <a:ext cx="2172702" cy="1190069"/>
          </a:xfrm>
          <a:prstGeom prst="rect">
            <a:avLst/>
          </a:prstGeom>
          <a:noFill/>
          <a:ln w="15875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 defTabSz="412750" hangingPunct="0">
              <a:defRPr/>
            </a:pPr>
            <a:r>
              <a:rPr lang="ru-RU" sz="1600" b="1" dirty="0"/>
              <a:t>50 000 рублей </a:t>
            </a:r>
          </a:p>
          <a:p>
            <a:pPr lvl="0" defTabSz="412750" hangingPunct="0">
              <a:defRPr/>
            </a:pPr>
            <a:r>
              <a:rPr lang="ru-RU" sz="1450" dirty="0"/>
              <a:t>врачи и медицинские работники с высшим (немедицинским) образованием</a:t>
            </a:r>
            <a:endParaRPr kumimoji="0" sz="1450" b="0" i="0" u="none" strike="noStrike" kern="0" cap="none" spc="0" normalizeH="0" baseline="42857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Roboto Regular"/>
            </a:endParaRPr>
          </a:p>
        </p:txBody>
      </p:sp>
      <p:sp>
        <p:nvSpPr>
          <p:cNvPr id="40" name="Square">
            <a:extLst>
              <a:ext uri="{FF2B5EF4-FFF2-40B4-BE49-F238E27FC236}">
                <a16:creationId xmlns:a16="http://schemas.microsoft.com/office/drawing/2014/main" id="{B3C4903E-B2B8-4172-9898-A743C3AE5D9E}"/>
              </a:ext>
            </a:extLst>
          </p:cNvPr>
          <p:cNvSpPr/>
          <p:nvPr/>
        </p:nvSpPr>
        <p:spPr>
          <a:xfrm>
            <a:off x="2951026" y="1946653"/>
            <a:ext cx="2172702" cy="2172702"/>
          </a:xfrm>
          <a:prstGeom prst="rect">
            <a:avLst/>
          </a:prstGeom>
          <a:solidFill>
            <a:srgbClr val="00796B"/>
          </a:solidFill>
          <a:ln w="15875">
            <a:solidFill>
              <a:srgbClr val="FFC000"/>
            </a:solidFill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Helvetica Light"/>
            </a:endParaRPr>
          </a:p>
        </p:txBody>
      </p:sp>
      <p:sp>
        <p:nvSpPr>
          <p:cNvPr id="43" name="Lorem ipsum dolor sit adipiscing elit, sed do eiusmod tempor incididunt ut labore et">
            <a:extLst>
              <a:ext uri="{FF2B5EF4-FFF2-40B4-BE49-F238E27FC236}">
                <a16:creationId xmlns:a16="http://schemas.microsoft.com/office/drawing/2014/main" id="{D7F23F08-EB17-4954-981A-ED0C4049B51A}"/>
              </a:ext>
            </a:extLst>
          </p:cNvPr>
          <p:cNvSpPr txBox="1"/>
          <p:nvPr/>
        </p:nvSpPr>
        <p:spPr>
          <a:xfrm>
            <a:off x="2955535" y="2562198"/>
            <a:ext cx="2172702" cy="1190069"/>
          </a:xfrm>
          <a:prstGeom prst="rect">
            <a:avLst/>
          </a:prstGeom>
          <a:noFill/>
          <a:ln w="15875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 defTabSz="412750" hangingPunct="0">
              <a:defRPr/>
            </a:pPr>
            <a:r>
              <a:rPr lang="ru-RU" sz="1600" b="1" dirty="0"/>
              <a:t>11500 рублей  </a:t>
            </a:r>
          </a:p>
          <a:p>
            <a:pPr lvl="0" defTabSz="412750" hangingPunct="0">
              <a:defRPr/>
            </a:pPr>
            <a:r>
              <a:rPr lang="ru-RU" sz="1450" dirty="0"/>
              <a:t>ВРАЧИ </a:t>
            </a:r>
          </a:p>
          <a:p>
            <a:pPr lvl="0" defTabSz="412750" hangingPunct="0">
              <a:defRPr/>
            </a:pPr>
            <a:r>
              <a:rPr lang="ru-RU" sz="1450" dirty="0"/>
              <a:t> бригад отделения скорой медицинской помощи</a:t>
            </a:r>
            <a:endParaRPr kumimoji="0" sz="1450" b="0" i="0" u="none" strike="noStrike" kern="0" cap="none" spc="0" normalizeH="0" baseline="42857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Roboto Regular"/>
            </a:endParaRPr>
          </a:p>
        </p:txBody>
      </p:sp>
      <p:sp>
        <p:nvSpPr>
          <p:cNvPr id="45" name="Lorem ipsum dolor sit adipiscing elit, sed do eiusmod tempor incididunt ut labore et">
            <a:extLst>
              <a:ext uri="{FF2B5EF4-FFF2-40B4-BE49-F238E27FC236}">
                <a16:creationId xmlns:a16="http://schemas.microsoft.com/office/drawing/2014/main" id="{9AFA4E6B-DB8A-4434-9167-CA8E01FC3E0E}"/>
              </a:ext>
            </a:extLst>
          </p:cNvPr>
          <p:cNvSpPr txBox="1"/>
          <p:nvPr/>
        </p:nvSpPr>
        <p:spPr>
          <a:xfrm>
            <a:off x="5266263" y="4956745"/>
            <a:ext cx="2172702" cy="759182"/>
          </a:xfrm>
          <a:prstGeom prst="rect">
            <a:avLst/>
          </a:prstGeom>
          <a:noFill/>
          <a:ln w="15875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 defTabSz="412750" hangingPunct="0">
              <a:defRPr/>
            </a:pPr>
            <a:r>
              <a:rPr lang="ru-RU" sz="1600" b="1" dirty="0"/>
              <a:t>30 000 рублей </a:t>
            </a:r>
          </a:p>
          <a:p>
            <a:pPr lvl="0" defTabSz="412750" hangingPunct="0">
              <a:defRPr/>
            </a:pPr>
            <a:r>
              <a:rPr lang="ru-RU" sz="1500" dirty="0"/>
              <a:t>средний медицинский персонал</a:t>
            </a:r>
            <a:endParaRPr kumimoji="0" sz="1500" b="0" i="0" u="none" strike="noStrike" kern="0" cap="none" spc="0" normalizeH="0" baseline="42857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Roboto Regular"/>
            </a:endParaRPr>
          </a:p>
        </p:txBody>
      </p:sp>
      <p:sp>
        <p:nvSpPr>
          <p:cNvPr id="46" name="Lorem ipsum dolor sit adipiscing elit, sed do eiusmod tempor incididunt ut labore et">
            <a:extLst>
              <a:ext uri="{FF2B5EF4-FFF2-40B4-BE49-F238E27FC236}">
                <a16:creationId xmlns:a16="http://schemas.microsoft.com/office/drawing/2014/main" id="{9289D1D5-CE3A-47D0-9009-3954B22A798B}"/>
              </a:ext>
            </a:extLst>
          </p:cNvPr>
          <p:cNvSpPr txBox="1"/>
          <p:nvPr/>
        </p:nvSpPr>
        <p:spPr>
          <a:xfrm>
            <a:off x="7631638" y="2601898"/>
            <a:ext cx="2061346" cy="743793"/>
          </a:xfrm>
          <a:prstGeom prst="rect">
            <a:avLst/>
          </a:prstGeom>
          <a:noFill/>
          <a:ln w="15875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 defTabSz="412750" hangingPunct="0">
              <a:defRPr/>
            </a:pPr>
            <a:r>
              <a:rPr lang="ru-RU" sz="1600" b="1" dirty="0"/>
              <a:t>4 500 рублей </a:t>
            </a:r>
          </a:p>
          <a:p>
            <a:pPr lvl="0" defTabSz="412750" hangingPunct="0">
              <a:defRPr/>
            </a:pPr>
            <a:r>
              <a:rPr lang="ru-RU" sz="1450" dirty="0"/>
              <a:t>младший медицинский персонал</a:t>
            </a:r>
            <a:endParaRPr kumimoji="0" sz="1450" b="0" i="0" u="none" strike="noStrike" kern="0" cap="none" spc="0" normalizeH="0" baseline="42857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Roboto Regular"/>
            </a:endParaRPr>
          </a:p>
        </p:txBody>
      </p:sp>
      <p:sp>
        <p:nvSpPr>
          <p:cNvPr id="51" name="Lorem ipsum dolor sit adipiscing elit, sed do eiusmod tempor incididunt ut labore et">
            <a:extLst>
              <a:ext uri="{FF2B5EF4-FFF2-40B4-BE49-F238E27FC236}">
                <a16:creationId xmlns:a16="http://schemas.microsoft.com/office/drawing/2014/main" id="{B353BE9F-40EB-4640-BB46-B8CD0C019B0C}"/>
              </a:ext>
            </a:extLst>
          </p:cNvPr>
          <p:cNvSpPr txBox="1"/>
          <p:nvPr/>
        </p:nvSpPr>
        <p:spPr>
          <a:xfrm>
            <a:off x="9893463" y="4599411"/>
            <a:ext cx="2172702" cy="1667123"/>
          </a:xfrm>
          <a:prstGeom prst="rect">
            <a:avLst/>
          </a:prstGeom>
          <a:noFill/>
          <a:ln w="15875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 defTabSz="412750" hangingPunct="0">
              <a:defRPr/>
            </a:pPr>
            <a:r>
              <a:rPr lang="ru-RU" sz="1200" b="1" dirty="0"/>
              <a:t>7500 РУБЛЕЙ-ФЕЛЬДШЕР СКОРОЙ МЕДИЦИНСКОЙ ПОМОЩИ </a:t>
            </a:r>
          </a:p>
          <a:p>
            <a:pPr lvl="0" defTabSz="412750" hangingPunct="0">
              <a:defRPr/>
            </a:pPr>
            <a:r>
              <a:rPr lang="ru-RU" sz="1200" b="1" dirty="0"/>
              <a:t>4500 РУБЛЕЙ –ФЕЛЬДШЕР ПО ПРИЕМУ ВЫЗОВОВ СКОРОЙ МЕДИЦИНСКОЙ ПОМОЩИ</a:t>
            </a:r>
          </a:p>
          <a:p>
            <a:pPr lvl="0" defTabSz="412750" hangingPunct="0">
              <a:defRPr/>
            </a:pPr>
            <a:endParaRPr lang="ru-RU" sz="1200" b="1" dirty="0"/>
          </a:p>
          <a:p>
            <a:pPr lvl="0" defTabSz="412750" hangingPunct="0">
              <a:defRPr/>
            </a:pPr>
            <a:endParaRPr kumimoji="0" sz="1350" b="0" i="0" u="none" strike="noStrike" kern="0" cap="none" spc="0" normalizeH="0" baseline="42857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Roboto Regular"/>
            </a:endParaRPr>
          </a:p>
        </p:txBody>
      </p:sp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26730D59-C265-4EA8-BA8E-E68A7D053AD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248" y="1942474"/>
            <a:ext cx="2173288" cy="2173288"/>
          </a:xfrm>
          <a:prstGeom prst="rect">
            <a:avLst/>
          </a:prstGeom>
          <a:solidFill>
            <a:schemeClr val="bg1"/>
          </a:solidFill>
          <a:ln w="15875">
            <a:solidFill>
              <a:srgbClr val="C00000"/>
            </a:solidFill>
          </a:ln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FC76F3EB-45DE-4CBC-A2CB-4A1D59B0B17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5667" y="4246519"/>
            <a:ext cx="2173287" cy="2173287"/>
          </a:xfrm>
          <a:prstGeom prst="rect">
            <a:avLst/>
          </a:prstGeom>
          <a:solidFill>
            <a:srgbClr val="FFFFFF"/>
          </a:solidFill>
          <a:ln w="15875">
            <a:solidFill>
              <a:srgbClr val="C00000"/>
            </a:solidFill>
          </a:ln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DE360889-D0F3-4096-BA32-9F58F6831A3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9343" y="1946591"/>
            <a:ext cx="2173288" cy="2173288"/>
          </a:xfrm>
          <a:prstGeom prst="rect">
            <a:avLst/>
          </a:prstGeom>
          <a:solidFill>
            <a:srgbClr val="ECF5F4"/>
          </a:solidFill>
          <a:ln w="15875">
            <a:solidFill>
              <a:srgbClr val="C00000"/>
            </a:solidFill>
          </a:ln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238F02DA-49FE-4DF5-994B-046834641E06}"/>
              </a:ext>
            </a:extLst>
          </p:cNvPr>
          <p:cNvSpPr txBox="1"/>
          <p:nvPr/>
        </p:nvSpPr>
        <p:spPr>
          <a:xfrm>
            <a:off x="629810" y="1041008"/>
            <a:ext cx="114288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>
                <a:solidFill>
                  <a:srgbClr val="7030A0"/>
                </a:solidFill>
              </a:rPr>
              <a:t>Постановление Правительства Республики Коми от 21.05.2024 № 215</a:t>
            </a:r>
          </a:p>
          <a:p>
            <a:pPr algn="ctr"/>
            <a:r>
              <a:rPr lang="ru-RU" sz="2400" dirty="0">
                <a:solidFill>
                  <a:srgbClr val="7030A0"/>
                </a:solidFill>
              </a:rPr>
              <a:t>Постановление Правительства Российской Федерации от 31.12.2022 № 2568</a:t>
            </a:r>
          </a:p>
        </p:txBody>
      </p:sp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2967F59C-7482-471F-91FA-65854150D56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32880" y="1942474"/>
            <a:ext cx="2173288" cy="2173288"/>
          </a:xfrm>
          <a:prstGeom prst="rect">
            <a:avLst/>
          </a:prstGeom>
          <a:ln w="15875">
            <a:solidFill>
              <a:srgbClr val="C00000"/>
            </a:solidFill>
          </a:ln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EA76569E-4C73-4209-BCB2-37880EDC249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0381" y="4250054"/>
            <a:ext cx="2173287" cy="2173287"/>
          </a:xfrm>
          <a:prstGeom prst="rect">
            <a:avLst/>
          </a:prstGeom>
          <a:solidFill>
            <a:srgbClr val="FFFFFF"/>
          </a:solidFill>
          <a:ln w="15875">
            <a:solidFill>
              <a:srgbClr val="C00000"/>
            </a:solidFill>
          </a:ln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42F53878-A786-40BA-A157-004634311169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10975987" y="-273454"/>
            <a:ext cx="1705446" cy="1322344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158225E-56F2-4ACE-97CD-CF9E8C211559}"/>
              </a:ext>
            </a:extLst>
          </p:cNvPr>
          <p:cNvSpPr/>
          <p:nvPr/>
        </p:nvSpPr>
        <p:spPr>
          <a:xfrm>
            <a:off x="10289478" y="6550223"/>
            <a:ext cx="17761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400" dirty="0">
                <a:solidFill>
                  <a:srgbClr val="003A30"/>
                </a:solidFill>
                <a:hlinkClick r:id="rId14"/>
              </a:rPr>
              <a:t>https://law.rkomi.ru/</a:t>
            </a:r>
            <a:r>
              <a:rPr lang="ru-RU" sz="1400" dirty="0">
                <a:solidFill>
                  <a:srgbClr val="003A30"/>
                </a:solidFill>
              </a:rPr>
              <a:t>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35108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6F93744-01E1-4A7E-8BD2-7BB9762EFFE1}"/>
              </a:ext>
            </a:extLst>
          </p:cNvPr>
          <p:cNvSpPr txBox="1"/>
          <p:nvPr/>
        </p:nvSpPr>
        <p:spPr>
          <a:xfrm>
            <a:off x="243281" y="1354069"/>
            <a:ext cx="7874758" cy="423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600" b="1" dirty="0">
                <a:solidFill>
                  <a:srgbClr val="1D4999"/>
                </a:solidFill>
              </a:rPr>
              <a:t>Режим работы</a:t>
            </a:r>
            <a:endParaRPr lang="ru-RU" sz="500" b="1" dirty="0">
              <a:solidFill>
                <a:srgbClr val="1D4999"/>
              </a:solidFill>
            </a:endParaRPr>
          </a:p>
          <a:p>
            <a:pPr algn="ctr"/>
            <a:r>
              <a:rPr lang="ru-RU" sz="2400" b="1" dirty="0"/>
              <a:t>понедельник-четверг</a:t>
            </a:r>
            <a:r>
              <a:rPr lang="ru-RU" sz="2400" dirty="0"/>
              <a:t> с  08:00  до 16:12</a:t>
            </a:r>
          </a:p>
          <a:p>
            <a:pPr algn="ctr"/>
            <a:r>
              <a:rPr lang="ru-RU" sz="2400" b="1" dirty="0"/>
              <a:t>пятница</a:t>
            </a:r>
            <a:r>
              <a:rPr lang="ru-RU" sz="2400" dirty="0"/>
              <a:t> с 08:00  до 16:00  </a:t>
            </a:r>
          </a:p>
          <a:p>
            <a:pPr algn="ctr"/>
            <a:r>
              <a:rPr lang="ru-RU" sz="2000" b="1" dirty="0"/>
              <a:t>обеденный перерыв  </a:t>
            </a:r>
            <a:r>
              <a:rPr lang="ru-RU" sz="2000" dirty="0"/>
              <a:t>с 12:00  до 13:00 </a:t>
            </a:r>
          </a:p>
          <a:p>
            <a:endParaRPr lang="ru-RU" sz="2400" dirty="0"/>
          </a:p>
          <a:p>
            <a:pPr algn="ctr">
              <a:lnSpc>
                <a:spcPct val="150000"/>
              </a:lnSpc>
            </a:pPr>
            <a:r>
              <a:rPr lang="ru-RU" sz="2600" b="1" dirty="0">
                <a:solidFill>
                  <a:srgbClr val="7030A0"/>
                </a:solidFill>
              </a:rPr>
              <a:t>Контактные данные</a:t>
            </a:r>
          </a:p>
          <a:p>
            <a:pPr algn="ctr"/>
            <a:r>
              <a:rPr lang="ru-RU" sz="2400" dirty="0">
                <a:solidFill>
                  <a:srgbClr val="1D4999"/>
                </a:solidFill>
              </a:rPr>
              <a:t>✉ </a:t>
            </a:r>
            <a:r>
              <a:rPr lang="en-US" sz="2400"/>
              <a:t>KadryCGB@yandex.ru</a:t>
            </a:r>
            <a:endParaRPr lang="ru-RU" sz="2400" dirty="0"/>
          </a:p>
          <a:p>
            <a:pPr algn="ctr"/>
            <a:r>
              <a:rPr lang="ru-RU" sz="2400" dirty="0">
                <a:solidFill>
                  <a:srgbClr val="1D4999"/>
                </a:solidFill>
              </a:rPr>
              <a:t>☎</a:t>
            </a:r>
            <a:r>
              <a:rPr lang="ru-RU" sz="2400" dirty="0"/>
              <a:t>   8 (82145) 6-07-26</a:t>
            </a:r>
          </a:p>
          <a:p>
            <a:pPr algn="ctr"/>
            <a:endParaRPr lang="ru-RU" sz="2400" dirty="0"/>
          </a:p>
          <a:p>
            <a:pPr algn="ctr"/>
            <a:r>
              <a:rPr lang="ru-RU" sz="2000" dirty="0">
                <a:solidFill>
                  <a:srgbClr val="00796B"/>
                </a:solidFill>
              </a:rPr>
              <a:t>Гладких Оксана Геннадиевна</a:t>
            </a:r>
          </a:p>
          <a:p>
            <a:pPr algn="ctr"/>
            <a:r>
              <a:rPr lang="ru-RU" sz="2000" dirty="0">
                <a:solidFill>
                  <a:srgbClr val="00796B"/>
                </a:solidFill>
              </a:rPr>
              <a:t>начальник отдела кадров</a:t>
            </a:r>
            <a:endParaRPr lang="ru-RU" sz="2400" b="1" dirty="0">
              <a:solidFill>
                <a:srgbClr val="00796B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4846A21-6138-4D58-9B58-98840F4312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623" y="377592"/>
            <a:ext cx="6153150" cy="6153150"/>
          </a:xfrm>
          <a:prstGeom prst="rect">
            <a:avLst/>
          </a:prstGeom>
        </p:spPr>
      </p:pic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96F72BB7-0C75-4C27-9F28-E491B6601A02}"/>
              </a:ext>
            </a:extLst>
          </p:cNvPr>
          <p:cNvSpPr txBox="1">
            <a:spLocks/>
          </p:cNvSpPr>
          <p:nvPr/>
        </p:nvSpPr>
        <p:spPr>
          <a:xfrm>
            <a:off x="-148591" y="6058216"/>
            <a:ext cx="662942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1192A500-833D-4D3A-986F-AD9DA69007F4}" type="slidenum">
              <a:rPr lang="ru-RU" sz="1800" smtClean="0">
                <a:solidFill>
                  <a:srgbClr val="FFFFFF"/>
                </a:solidFill>
              </a:rPr>
              <a:pPr marL="0" indent="0" algn="r">
                <a:buNone/>
              </a:pPr>
              <a:t>12</a:t>
            </a:fld>
            <a:endParaRPr lang="ru-RU" sz="1800" dirty="0">
              <a:solidFill>
                <a:srgbClr val="FFFFFF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6C422EA-8211-4BAD-A36C-9277CC43BE3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975987" y="-273454"/>
            <a:ext cx="1705446" cy="1322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277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F909A28-17F8-4FED-8D15-AF710695345F}"/>
              </a:ext>
            </a:extLst>
          </p:cNvPr>
          <p:cNvSpPr/>
          <p:nvPr/>
        </p:nvSpPr>
        <p:spPr>
          <a:xfrm>
            <a:off x="909106" y="316128"/>
            <a:ext cx="1139123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800" b="1" dirty="0">
                <a:solidFill>
                  <a:srgbClr val="002060"/>
                </a:solidFill>
              </a:rPr>
              <a:t>Место расположения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26F885F4-DA79-4035-BD98-E2F693BE5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48591" y="6058216"/>
            <a:ext cx="662942" cy="365125"/>
          </a:xfrm>
        </p:spPr>
        <p:txBody>
          <a:bodyPr/>
          <a:lstStyle/>
          <a:p>
            <a:fld id="{1192A500-833D-4D3A-986F-AD9DA69007F4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9C0F4A1-36A6-43DD-9514-0CF5F9BC28C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975987" y="-273454"/>
            <a:ext cx="1705446" cy="1322344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7E2F92B-19CF-43B5-890B-88CD144F3C1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4781" y="1190261"/>
            <a:ext cx="5419675" cy="5435600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357789C-250D-49D7-B76F-2F1F82F4489F}"/>
              </a:ext>
            </a:extLst>
          </p:cNvPr>
          <p:cNvSpPr/>
          <p:nvPr/>
        </p:nvSpPr>
        <p:spPr>
          <a:xfrm>
            <a:off x="6604724" y="1181872"/>
            <a:ext cx="5414531" cy="929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lnSpc>
                <a:spcPct val="80000"/>
              </a:lnSpc>
              <a:defRPr/>
            </a:pPr>
            <a:r>
              <a:rPr lang="ru-RU" sz="2800" b="1" kern="0" dirty="0">
                <a:solidFill>
                  <a:srgbClr val="7030A0"/>
                </a:solidFill>
                <a:latin typeface="Calibri" panose="020F0502020204030204" pitchFamily="34" charset="0"/>
                <a:sym typeface="Poppins"/>
              </a:rPr>
              <a:t>Прямое дорожное сообщение:</a:t>
            </a:r>
          </a:p>
          <a:p>
            <a:pPr defTabSz="412750" hangingPunct="0">
              <a:lnSpc>
                <a:spcPct val="80000"/>
              </a:lnSpc>
              <a:defRPr/>
            </a:pPr>
            <a:r>
              <a:rPr lang="ru-RU" sz="2000" kern="0" dirty="0">
                <a:solidFill>
                  <a:srgbClr val="7030A0"/>
                </a:solidFill>
                <a:latin typeface="Calibri" panose="020F0502020204030204" pitchFamily="34" charset="0"/>
              </a:rPr>
              <a:t>В центральные районы страны можно добраться зимой по автодороге «Инта-Печора» 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F9819FFF-0A09-4304-B854-B3F87FDDB92C}"/>
              </a:ext>
            </a:extLst>
          </p:cNvPr>
          <p:cNvSpPr/>
          <p:nvPr/>
        </p:nvSpPr>
        <p:spPr>
          <a:xfrm>
            <a:off x="6655058" y="2383157"/>
            <a:ext cx="5414531" cy="2345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lnSpc>
                <a:spcPct val="80000"/>
              </a:lnSpc>
              <a:defRPr/>
            </a:pPr>
            <a:r>
              <a:rPr lang="ru-RU" sz="2800" b="1" kern="0" dirty="0">
                <a:solidFill>
                  <a:srgbClr val="015DA1"/>
                </a:solidFill>
                <a:latin typeface="Calibri" panose="020F0502020204030204" pitchFamily="34" charset="0"/>
                <a:sym typeface="Poppins"/>
              </a:rPr>
              <a:t>Железнодорожное сообщение:</a:t>
            </a:r>
          </a:p>
          <a:p>
            <a:pPr defTabSz="412750" hangingPunct="0">
              <a:lnSpc>
                <a:spcPct val="80000"/>
              </a:lnSpc>
              <a:defRPr/>
            </a:pPr>
            <a:r>
              <a:rPr lang="ru-RU" sz="2000" kern="0" dirty="0">
                <a:solidFill>
                  <a:srgbClr val="015DA1"/>
                </a:solidFill>
                <a:latin typeface="Calibri" panose="020F0502020204030204" pitchFamily="34" charset="0"/>
                <a:sym typeface="Poppins"/>
              </a:rPr>
              <a:t>Город Инта связан железной дорогой с Москвой (2009 км), Сыктывкаром (780 км), а также с Печорой, Воркутой. </a:t>
            </a:r>
          </a:p>
          <a:p>
            <a:pPr defTabSz="412750" hangingPunct="0">
              <a:lnSpc>
                <a:spcPct val="80000"/>
              </a:lnSpc>
              <a:defRPr/>
            </a:pPr>
            <a:r>
              <a:rPr lang="ru-RU" sz="2000" kern="0" dirty="0">
                <a:solidFill>
                  <a:srgbClr val="015DA1"/>
                </a:solidFill>
                <a:latin typeface="Calibri" panose="020F0502020204030204" pitchFamily="34" charset="0"/>
                <a:sym typeface="Poppins"/>
              </a:rPr>
              <a:t>Есть прямые рейсы:</a:t>
            </a:r>
          </a:p>
          <a:p>
            <a:r>
              <a:rPr lang="ru-RU" sz="20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«Инта - Москва», «Инта –СПб.», </a:t>
            </a:r>
          </a:p>
          <a:p>
            <a:r>
              <a:rPr lang="ru-RU" sz="20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«Инта-Киров», «Инта – Н.Новгород», </a:t>
            </a:r>
          </a:p>
          <a:p>
            <a:r>
              <a:rPr lang="ru-RU" sz="20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«Инта Адлер», «Инта Новороссийск»</a:t>
            </a:r>
            <a:endParaRPr lang="ru-RU" sz="2000" kern="0" dirty="0">
              <a:solidFill>
                <a:srgbClr val="015DA1"/>
              </a:solidFill>
              <a:latin typeface="Calibri" panose="020F0502020204030204" pitchFamily="34" charset="0"/>
              <a:sym typeface="Poppin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0175AA49-ADDA-464B-B6E6-CB48011369D5}"/>
              </a:ext>
            </a:extLst>
          </p:cNvPr>
          <p:cNvSpPr/>
          <p:nvPr/>
        </p:nvSpPr>
        <p:spPr>
          <a:xfrm>
            <a:off x="6604724" y="4926682"/>
            <a:ext cx="5414531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lnSpc>
                <a:spcPct val="80000"/>
              </a:lnSpc>
              <a:defRPr/>
            </a:pPr>
            <a:r>
              <a:rPr lang="ru-RU" sz="2800" b="1" kern="0" dirty="0">
                <a:solidFill>
                  <a:srgbClr val="00796B"/>
                </a:solidFill>
                <a:latin typeface="Calibri" panose="020F0502020204030204" pitchFamily="34" charset="0"/>
                <a:sym typeface="Poppins"/>
              </a:rPr>
              <a:t>Авиационное сообщение:</a:t>
            </a:r>
          </a:p>
          <a:p>
            <a:pPr defTabSz="412750" hangingPunct="0">
              <a:lnSpc>
                <a:spcPct val="80000"/>
              </a:lnSpc>
              <a:defRPr/>
            </a:pPr>
            <a:r>
              <a:rPr lang="ru-RU" sz="2000" kern="0" dirty="0">
                <a:solidFill>
                  <a:srgbClr val="00796B"/>
                </a:solidFill>
                <a:latin typeface="Calibri" panose="020F0502020204030204" pitchFamily="34" charset="0"/>
                <a:sym typeface="Poppins"/>
              </a:rPr>
              <a:t>Из аэропорта Инты можно вылететь в Усинск, откуда налажено сообщение с Москвой, Сыктывкаром, Казанью, Пермью и другими городами</a:t>
            </a:r>
          </a:p>
        </p:txBody>
      </p:sp>
    </p:spTree>
    <p:extLst>
      <p:ext uri="{BB962C8B-B14F-4D97-AF65-F5344CB8AC3E}">
        <p14:creationId xmlns:p14="http://schemas.microsoft.com/office/powerpoint/2010/main" val="29296180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F909A28-17F8-4FED-8D15-AF710695345F}"/>
              </a:ext>
            </a:extLst>
          </p:cNvPr>
          <p:cNvSpPr/>
          <p:nvPr/>
        </p:nvSpPr>
        <p:spPr>
          <a:xfrm>
            <a:off x="909107" y="504764"/>
            <a:ext cx="1139123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800" b="1" dirty="0">
                <a:solidFill>
                  <a:srgbClr val="002060"/>
                </a:solidFill>
              </a:rPr>
              <a:t>Об учреждении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26F885F4-DA79-4035-BD98-E2F693BE5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48591" y="6058216"/>
            <a:ext cx="662942" cy="365125"/>
          </a:xfrm>
        </p:spPr>
        <p:txBody>
          <a:bodyPr/>
          <a:lstStyle/>
          <a:p>
            <a:fld id="{1192A500-833D-4D3A-986F-AD9DA69007F4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9C0F4A1-36A6-43DD-9514-0CF5F9BC28C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975987" y="-273454"/>
            <a:ext cx="1705446" cy="1322344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8B6DB7A-C5E9-43FC-8AF5-17D4AAD1037C}"/>
              </a:ext>
            </a:extLst>
          </p:cNvPr>
          <p:cNvSpPr/>
          <p:nvPr/>
        </p:nvSpPr>
        <p:spPr>
          <a:xfrm>
            <a:off x="1071986" y="1252418"/>
            <a:ext cx="316445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defRPr/>
            </a:pPr>
            <a:r>
              <a:rPr lang="ru-RU" sz="2200" b="1" kern="0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sym typeface="Poppins"/>
              </a:rPr>
              <a:t>Детская поликлиника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FCF1727-2609-4C64-97A7-07652D9C55FD}"/>
              </a:ext>
            </a:extLst>
          </p:cNvPr>
          <p:cNvSpPr/>
          <p:nvPr/>
        </p:nvSpPr>
        <p:spPr>
          <a:xfrm>
            <a:off x="909107" y="1825867"/>
            <a:ext cx="3134387" cy="4778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Педиатрическое отделение на 4 педиатрических участка;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Отделение выездной патронажной паллиативной медицинской помощи детям;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Оториноларингологический кабинет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Офтальмологический кабинет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Хирургический кабинет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Неврологический кабинет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Противотуберкулезный кабинет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Кабинет врача-психиатра-нарколога участкового для обслуживания детско-подросткового населения;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Травматологический кабинет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Эндокринологический кабинет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Прививочный кабинет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Процедурный кабинет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Регистратура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Колл-центр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Приемно-смотровой фильтр-бокс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Профилактическое отделение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Кабинет здорового ребёнка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Кабинет медико-социальной помощи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Отделение организации помощи детям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в образовательных учреждениях 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Кабинет врача-психиатра детского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Кабинет медико-психологического консультирования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chemeClr val="accent4">
                    <a:lumMod val="75000"/>
                  </a:schemeClr>
                </a:solidFill>
              </a:rPr>
              <a:t>Кабинет "школа для пациентов с сахарным диабетом"</a:t>
            </a:r>
            <a:endParaRPr lang="ru-RU" sz="105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797A7FAD-902A-46B6-8FC9-7CE1E4AB1D6D}"/>
              </a:ext>
            </a:extLst>
          </p:cNvPr>
          <p:cNvSpPr/>
          <p:nvPr/>
        </p:nvSpPr>
        <p:spPr>
          <a:xfrm>
            <a:off x="4409072" y="1252418"/>
            <a:ext cx="366598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defRPr/>
            </a:pPr>
            <a:r>
              <a:rPr lang="ru-RU" sz="2200" b="1" kern="0" dirty="0">
                <a:solidFill>
                  <a:srgbClr val="015DA1"/>
                </a:solidFill>
                <a:latin typeface="Calibri" panose="020F0502020204030204" pitchFamily="34" charset="0"/>
                <a:sym typeface="Poppins"/>
              </a:rPr>
              <a:t>Поликлиника №1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1A4F0D95-7430-4D50-9000-B47A77EDB5BB}"/>
              </a:ext>
            </a:extLst>
          </p:cNvPr>
          <p:cNvSpPr/>
          <p:nvPr/>
        </p:nvSpPr>
        <p:spPr>
          <a:xfrm>
            <a:off x="8609493" y="1252418"/>
            <a:ext cx="279668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defRPr/>
            </a:pPr>
            <a:r>
              <a:rPr lang="ru-RU" sz="2200" b="1" kern="0" dirty="0">
                <a:solidFill>
                  <a:srgbClr val="00796B"/>
                </a:solidFill>
                <a:latin typeface="Calibri" panose="020F0502020204030204" pitchFamily="34" charset="0"/>
                <a:sym typeface="Poppins"/>
              </a:rPr>
              <a:t>Отделения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D454DF8-35ED-4F41-809B-D526A60BDFC9}"/>
              </a:ext>
            </a:extLst>
          </p:cNvPr>
          <p:cNvSpPr/>
          <p:nvPr/>
        </p:nvSpPr>
        <p:spPr>
          <a:xfrm>
            <a:off x="4674874" y="1894377"/>
            <a:ext cx="3134387" cy="4455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Терапевтическое отделение № 1 на 10 терапевтических участков;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Кабинет неотложной медицинской помощи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Кабинет паллиативной медицинской помощи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Кардиологически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 err="1">
                <a:solidFill>
                  <a:srgbClr val="0070C0"/>
                </a:solidFill>
              </a:rPr>
              <a:t>Гериатрический</a:t>
            </a:r>
            <a:r>
              <a:rPr lang="ru-RU" sz="1050" b="1" dirty="0">
                <a:solidFill>
                  <a:srgbClr val="0070C0"/>
                </a:solidFill>
              </a:rPr>
              <a:t>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Хирургически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Травматологически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Онкологически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Оториноларингологически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Неврологически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Офтальмологически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Эндокринологически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Инфекционны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Противотуберкулезны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Наркологически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 err="1">
                <a:solidFill>
                  <a:srgbClr val="0070C0"/>
                </a:solidFill>
              </a:rPr>
              <a:t>Кожно-венерологичеcкий</a:t>
            </a:r>
            <a:r>
              <a:rPr lang="ru-RU" sz="1050" b="1" dirty="0">
                <a:solidFill>
                  <a:srgbClr val="0070C0"/>
                </a:solidFill>
              </a:rPr>
              <a:t>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Смотрово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Отделением медицинской профилактики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Кабинет спортивной медицины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Кабинет доврачебной помощи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Процедурный кабинет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Регистратура поликлиники 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Отделение дневного стационара</a:t>
            </a:r>
            <a:endParaRPr lang="ru-RU" sz="1050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050" b="1" dirty="0">
                <a:solidFill>
                  <a:srgbClr val="0070C0"/>
                </a:solidFill>
              </a:rPr>
              <a:t>Кабинет врача-психиатра</a:t>
            </a:r>
            <a:endParaRPr lang="ru-RU" sz="1050" dirty="0">
              <a:solidFill>
                <a:srgbClr val="0070C0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3F05025A-9C03-455F-815E-F3800F97804A}"/>
              </a:ext>
            </a:extLst>
          </p:cNvPr>
          <p:cNvSpPr/>
          <p:nvPr/>
        </p:nvSpPr>
        <p:spPr>
          <a:xfrm>
            <a:off x="8356752" y="1894377"/>
            <a:ext cx="3572393" cy="4778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412750" hangingPunct="0">
              <a:buFont typeface="Wingdings" panose="05000000000000000000" pitchFamily="2" charset="2"/>
              <a:buChar char="ü"/>
              <a:defRPr/>
            </a:pPr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Женская консультация </a:t>
            </a: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Кабинет планирования семьи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Кабинет медико-социально помощи женской консультации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Дневной стационар женской консультации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pPr marL="342900" indent="-342900" defTabSz="412750" hangingPunct="0">
              <a:buFont typeface="Wingdings" panose="05000000000000000000" pitchFamily="2" charset="2"/>
              <a:buChar char="ü"/>
              <a:defRPr/>
            </a:pPr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Стационар</a:t>
            </a: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Родильное отделение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Инфекционное отделение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Хирургическое отделение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Терапевтическое отделение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Психиатрическое отделение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Педиатрическое отделение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Приемное отделение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pPr marL="342900" indent="-342900" defTabSz="412750" hangingPunct="0">
              <a:buFont typeface="Wingdings" panose="05000000000000000000" pitchFamily="2" charset="2"/>
              <a:buChar char="ü"/>
              <a:defRPr/>
            </a:pPr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Вспомогательные лечебно-диагностические подразделения</a:t>
            </a: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Отделение анестезиологии - реанимации с ПР и ИТ для взрослого населения;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Приемное отделение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Операционный блок хирургического профиля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Физиотерапевтическое отделение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Отделение лучевой и функциональной диагностики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Централизованное стерилизационное отделение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Объединенная диагностическая лаборатория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Эндоскопический кабинет 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Кабинет трансфузиологии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Отдел лекарственного обеспечения</a:t>
            </a:r>
            <a:endParaRPr lang="ru-RU" sz="1050" dirty="0">
              <a:solidFill>
                <a:schemeClr val="accent3">
                  <a:lumMod val="50000"/>
                </a:schemeClr>
              </a:solidFill>
            </a:endParaRPr>
          </a:p>
          <a:p>
            <a:pPr marL="342900" indent="-342900" defTabSz="412750" hangingPunct="0">
              <a:buFont typeface="Wingdings" panose="05000000000000000000" pitchFamily="2" charset="2"/>
              <a:buChar char="ü"/>
              <a:defRPr/>
            </a:pPr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Отделение скорой медицинской помощи</a:t>
            </a:r>
          </a:p>
          <a:p>
            <a:pPr marL="342900" indent="-342900" defTabSz="412750" hangingPunct="0">
              <a:buFont typeface="Wingdings" panose="05000000000000000000" pitchFamily="2" charset="2"/>
              <a:buChar char="ü"/>
              <a:defRPr/>
            </a:pPr>
            <a:r>
              <a:rPr lang="ru-RU" sz="1050" b="1" dirty="0">
                <a:solidFill>
                  <a:schemeClr val="accent3">
                    <a:lumMod val="50000"/>
                  </a:schemeClr>
                </a:solidFill>
              </a:rPr>
              <a:t>Патологоанатомическое отделение</a:t>
            </a:r>
            <a:endParaRPr lang="ru-RU" sz="1050" b="1" kern="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sym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27336426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F909A28-17F8-4FED-8D15-AF710695345F}"/>
              </a:ext>
            </a:extLst>
          </p:cNvPr>
          <p:cNvSpPr/>
          <p:nvPr/>
        </p:nvSpPr>
        <p:spPr>
          <a:xfrm>
            <a:off x="909107" y="504764"/>
            <a:ext cx="11391235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800" b="1" dirty="0">
                <a:solidFill>
                  <a:srgbClr val="002060"/>
                </a:solidFill>
              </a:rPr>
              <a:t>Коллектив учреждения: </a:t>
            </a:r>
          </a:p>
          <a:p>
            <a:r>
              <a:rPr lang="ru-RU" sz="3800" b="1" dirty="0">
                <a:solidFill>
                  <a:srgbClr val="002060"/>
                </a:solidFill>
              </a:rPr>
              <a:t>вместе работаем и отдыхаем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26F885F4-DA79-4035-BD98-E2F693BE5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48591" y="6058216"/>
            <a:ext cx="662942" cy="365125"/>
          </a:xfrm>
        </p:spPr>
        <p:txBody>
          <a:bodyPr/>
          <a:lstStyle/>
          <a:p>
            <a:fld id="{1192A500-833D-4D3A-986F-AD9DA69007F4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9C0F4A1-36A6-43DD-9514-0CF5F9BC28C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975987" y="-273454"/>
            <a:ext cx="1705446" cy="1322344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19ED192-95FE-4040-9F93-93B3E55447C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92995" y="1927462"/>
            <a:ext cx="2981706" cy="3962400"/>
          </a:xfrm>
          <a:prstGeom prst="rect">
            <a:avLst/>
          </a:prstGeom>
        </p:spPr>
      </p:pic>
      <p:pic>
        <p:nvPicPr>
          <p:cNvPr id="13" name="Рисунок 12" descr="g6HRj5La9sA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703684" y="1870745"/>
            <a:ext cx="4179741" cy="2871939"/>
          </a:xfrm>
          <a:prstGeom prst="rect">
            <a:avLst/>
          </a:prstGeom>
        </p:spPr>
      </p:pic>
      <p:pic>
        <p:nvPicPr>
          <p:cNvPr id="15" name="Рисунок 14" descr="oOjHy9I6KG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551608" y="1761688"/>
            <a:ext cx="4199819" cy="2800426"/>
          </a:xfrm>
          <a:prstGeom prst="rect">
            <a:avLst/>
          </a:prstGeom>
        </p:spPr>
      </p:pic>
      <p:pic>
        <p:nvPicPr>
          <p:cNvPr id="14" name="Рисунок 13" descr="M6HUgSpyr8w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274493" y="4093827"/>
            <a:ext cx="4077132" cy="2293387"/>
          </a:xfrm>
          <a:prstGeom prst="rect">
            <a:avLst/>
          </a:prstGeom>
        </p:spPr>
      </p:pic>
      <p:pic>
        <p:nvPicPr>
          <p:cNvPr id="16" name="Рисунок 15" descr="XRlD1x00XOg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447075" y="4379052"/>
            <a:ext cx="3228537" cy="2048103"/>
          </a:xfrm>
          <a:prstGeom prst="rect">
            <a:avLst/>
          </a:prstGeom>
        </p:spPr>
      </p:pic>
      <p:pic>
        <p:nvPicPr>
          <p:cNvPr id="17" name="Рисунок 16" descr="2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632272" y="3951215"/>
            <a:ext cx="3008850" cy="225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384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F909A28-17F8-4FED-8D15-AF710695345F}"/>
              </a:ext>
            </a:extLst>
          </p:cNvPr>
          <p:cNvSpPr/>
          <p:nvPr/>
        </p:nvSpPr>
        <p:spPr>
          <a:xfrm>
            <a:off x="909107" y="504764"/>
            <a:ext cx="1139123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800" b="1" dirty="0">
                <a:solidFill>
                  <a:srgbClr val="002060"/>
                </a:solidFill>
              </a:rPr>
              <a:t>Инфраструктура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26F885F4-DA79-4035-BD98-E2F693BE5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48591" y="6058216"/>
            <a:ext cx="662942" cy="365125"/>
          </a:xfrm>
        </p:spPr>
        <p:txBody>
          <a:bodyPr/>
          <a:lstStyle/>
          <a:p>
            <a:fld id="{1192A500-833D-4D3A-986F-AD9DA69007F4}" type="slidenum">
              <a:rPr lang="ru-RU" smtClean="0"/>
              <a:pPr/>
              <a:t>5</a:t>
            </a:fld>
            <a:endParaRPr lang="ru-RU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9C0F4A1-36A6-43DD-9514-0CF5F9BC28C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975987" y="-273454"/>
            <a:ext cx="1705446" cy="1322344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8B6DB7A-C5E9-43FC-8AF5-17D4AAD1037C}"/>
              </a:ext>
            </a:extLst>
          </p:cNvPr>
          <p:cNvSpPr/>
          <p:nvPr/>
        </p:nvSpPr>
        <p:spPr>
          <a:xfrm>
            <a:off x="2354154" y="1914863"/>
            <a:ext cx="326364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defRPr/>
            </a:pPr>
            <a:r>
              <a:rPr lang="ru-RU" sz="2200" b="1" kern="0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sym typeface="Poppins"/>
              </a:rPr>
              <a:t>Три детских сад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C508743-8D16-4898-ADFD-8772A69A3DE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44884" y="1478234"/>
            <a:ext cx="1114954" cy="1082021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6C6CD7A8-746B-42C7-AF40-6781293E298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986" y="3217438"/>
            <a:ext cx="1114952" cy="1114952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FCF1727-2609-4C64-97A7-07652D9C55FD}"/>
              </a:ext>
            </a:extLst>
          </p:cNvPr>
          <p:cNvSpPr/>
          <p:nvPr/>
        </p:nvSpPr>
        <p:spPr>
          <a:xfrm>
            <a:off x="2354154" y="5034445"/>
            <a:ext cx="3268980" cy="1182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lnSpc>
                <a:spcPct val="80000"/>
              </a:lnSpc>
              <a:defRPr/>
            </a:pPr>
            <a:r>
              <a:rPr lang="ru-RU" sz="2200" b="1" kern="0" dirty="0">
                <a:solidFill>
                  <a:srgbClr val="00796B"/>
                </a:solidFill>
                <a:latin typeface="Calibri" panose="020F0502020204030204" pitchFamily="34" charset="0"/>
                <a:sym typeface="Poppins"/>
              </a:rPr>
              <a:t>Лыжно-спортивная база, 3 плавательных бассейна, в т.ч. 1 детский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40A0DFC1-4F95-45BE-86A0-6EF037E10978}"/>
              </a:ext>
            </a:extLst>
          </p:cNvPr>
          <p:cNvSpPr/>
          <p:nvPr/>
        </p:nvSpPr>
        <p:spPr>
          <a:xfrm>
            <a:off x="2354154" y="3346286"/>
            <a:ext cx="3369468" cy="1182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lnSpc>
                <a:spcPct val="80000"/>
              </a:lnSpc>
              <a:defRPr/>
            </a:pPr>
            <a:r>
              <a:rPr lang="ru-RU" sz="2200" b="1" kern="0" dirty="0">
                <a:solidFill>
                  <a:srgbClr val="015DA1"/>
                </a:solidFill>
                <a:latin typeface="Calibri" panose="020F0502020204030204" pitchFamily="34" charset="0"/>
                <a:sym typeface="Poppins"/>
              </a:rPr>
              <a:t>Средняя общеобразовательная школа, 2 Гимназии, 1 Лицей, колледж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80BCED38-05F8-413B-8628-5AB0E510E0E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574" y="4822290"/>
            <a:ext cx="1114952" cy="1114952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DD9F54D-05C6-4A6C-8543-467C4E01B25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4203" y="1359924"/>
            <a:ext cx="1200330" cy="120033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AA522E5-2B97-4745-B7CE-5A2CD931ABE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4724" y="3091815"/>
            <a:ext cx="1200330" cy="120033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8B80F2A-CCC1-4340-9C7C-D29F1D36A0F8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99844" y="4642959"/>
            <a:ext cx="1426931" cy="1426931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1E048E1-1729-417D-94A6-77CA0C490F6F}"/>
              </a:ext>
            </a:extLst>
          </p:cNvPr>
          <p:cNvSpPr/>
          <p:nvPr/>
        </p:nvSpPr>
        <p:spPr>
          <a:xfrm>
            <a:off x="7926776" y="1022311"/>
            <a:ext cx="4162122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2200" b="1" kern="0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sym typeface="Poppins"/>
              </a:rPr>
              <a:t>Приполярный Урал – именно из Инты начинаются многие маршруты по самым популярным направлениям парка «</a:t>
            </a:r>
            <a:r>
              <a:rPr lang="ru-RU" sz="2200" b="1" kern="0" dirty="0" err="1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sym typeface="Poppins"/>
              </a:rPr>
              <a:t>Югыд</a:t>
            </a:r>
            <a:r>
              <a:rPr lang="ru-RU" sz="2200" b="1" kern="0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sym typeface="Poppins"/>
              </a:rPr>
              <a:t> </a:t>
            </a:r>
            <a:r>
              <a:rPr lang="ru-RU" sz="2200" b="1" kern="0" dirty="0" err="1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sym typeface="Poppins"/>
              </a:rPr>
              <a:t>ва</a:t>
            </a:r>
            <a:r>
              <a:rPr lang="ru-RU" sz="2200" b="1" kern="0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sym typeface="Poppins"/>
              </a:rPr>
              <a:t>»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AD09D654-6A6A-4578-B9A3-96375387C988}"/>
              </a:ext>
            </a:extLst>
          </p:cNvPr>
          <p:cNvSpPr/>
          <p:nvPr/>
        </p:nvSpPr>
        <p:spPr>
          <a:xfrm>
            <a:off x="7926775" y="3589927"/>
            <a:ext cx="4162122" cy="640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lnSpc>
                <a:spcPct val="80000"/>
              </a:lnSpc>
              <a:defRPr/>
            </a:pPr>
            <a:r>
              <a:rPr lang="ru-RU" sz="2200" b="1" kern="0" dirty="0">
                <a:solidFill>
                  <a:srgbClr val="015DA1"/>
                </a:solidFill>
                <a:latin typeface="Calibri" panose="020F0502020204030204" pitchFamily="34" charset="0"/>
                <a:sym typeface="Poppins"/>
              </a:rPr>
              <a:t>Парк культуры и отдыха, кинотеатр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7C43764E-CDC6-48D4-AAAE-3C41F8364B79}"/>
              </a:ext>
            </a:extLst>
          </p:cNvPr>
          <p:cNvSpPr/>
          <p:nvPr/>
        </p:nvSpPr>
        <p:spPr>
          <a:xfrm>
            <a:off x="7865915" y="4788512"/>
            <a:ext cx="4222982" cy="14533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2750" hangingPunct="0">
              <a:lnSpc>
                <a:spcPct val="80000"/>
              </a:lnSpc>
              <a:defRPr/>
            </a:pPr>
            <a:r>
              <a:rPr lang="ru-RU" sz="2200" b="1" kern="0" dirty="0">
                <a:solidFill>
                  <a:srgbClr val="00796B"/>
                </a:solidFill>
                <a:latin typeface="Calibri" panose="020F0502020204030204" pitchFamily="34" charset="0"/>
                <a:sym typeface="Poppins"/>
              </a:rPr>
              <a:t>Инта – город с интересной архитектурой, где рядом соседствуют шедевры деревянного зодчества и объекты культурного наследия</a:t>
            </a:r>
          </a:p>
        </p:txBody>
      </p:sp>
    </p:spTree>
    <p:extLst>
      <p:ext uri="{BB962C8B-B14F-4D97-AF65-F5344CB8AC3E}">
        <p14:creationId xmlns:p14="http://schemas.microsoft.com/office/powerpoint/2010/main" val="31844691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F909A28-17F8-4FED-8D15-AF710695345F}"/>
              </a:ext>
            </a:extLst>
          </p:cNvPr>
          <p:cNvSpPr/>
          <p:nvPr/>
        </p:nvSpPr>
        <p:spPr>
          <a:xfrm>
            <a:off x="909107" y="504764"/>
            <a:ext cx="1139123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800" b="1" dirty="0">
                <a:solidFill>
                  <a:srgbClr val="002060"/>
                </a:solidFill>
              </a:rPr>
              <a:t>Самая востребованная вакансия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26F885F4-DA79-4035-BD98-E2F693BE5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48591" y="6058216"/>
            <a:ext cx="662942" cy="365125"/>
          </a:xfrm>
        </p:spPr>
        <p:txBody>
          <a:bodyPr/>
          <a:lstStyle/>
          <a:p>
            <a:fld id="{1192A500-833D-4D3A-986F-AD9DA69007F4}" type="slidenum">
              <a:rPr lang="ru-RU" smtClean="0"/>
              <a:pPr/>
              <a:t>6</a:t>
            </a:fld>
            <a:endParaRPr lang="ru-RU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9C0F4A1-36A6-43DD-9514-0CF5F9BC28C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975987" y="-273454"/>
            <a:ext cx="1705446" cy="132234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EFE5C96-483B-4083-AB8F-B4E46E0FBC6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567447" y="2877735"/>
            <a:ext cx="5807328" cy="3833220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3B0E4C5-69CF-4357-95FA-DE7DCE877E4C}"/>
              </a:ext>
            </a:extLst>
          </p:cNvPr>
          <p:cNvSpPr txBox="1"/>
          <p:nvPr/>
        </p:nvSpPr>
        <p:spPr>
          <a:xfrm>
            <a:off x="2139194" y="1187954"/>
            <a:ext cx="642064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275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3200" b="1" kern="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Poppins"/>
              </a:rPr>
              <a:t>ВРАЧ – ТЕРАПЕВТ УЧАСТКОВЫЙ </a:t>
            </a:r>
          </a:p>
          <a:p>
            <a:pPr defTabSz="412750" hangingPunct="0">
              <a:spcBef>
                <a:spcPts val="600"/>
              </a:spcBef>
              <a:spcAft>
                <a:spcPts val="600"/>
              </a:spcAft>
              <a:defRPr/>
            </a:pPr>
            <a:endParaRPr lang="ru-RU" sz="3200" b="1" kern="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  <a:sym typeface="Poppins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356F138-FB6B-499F-8F89-FDDCED0851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107" y="2089390"/>
            <a:ext cx="634921" cy="634921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3A97A47-44D4-4098-A443-C3D7290CE1F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108" y="2989636"/>
            <a:ext cx="634922" cy="63492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49C4323-EF89-4659-A018-C25B2A14EEB1}"/>
              </a:ext>
            </a:extLst>
          </p:cNvPr>
          <p:cNvSpPr txBox="1"/>
          <p:nvPr/>
        </p:nvSpPr>
        <p:spPr>
          <a:xfrm>
            <a:off x="1799815" y="2129851"/>
            <a:ext cx="6605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275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3000" b="1" kern="0" dirty="0">
                <a:solidFill>
                  <a:srgbClr val="00796B"/>
                </a:solidFill>
                <a:latin typeface="Calibri" panose="020F0502020204030204" pitchFamily="34" charset="0"/>
              </a:rPr>
              <a:t>заработная плата от 120 000 рублей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0C22739-FFB6-4757-9353-9F7EA17B45BF}"/>
              </a:ext>
            </a:extLst>
          </p:cNvPr>
          <p:cNvSpPr txBox="1"/>
          <p:nvPr/>
        </p:nvSpPr>
        <p:spPr>
          <a:xfrm>
            <a:off x="1799815" y="2683849"/>
            <a:ext cx="47062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275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3000" b="1" kern="0" dirty="0">
                <a:solidFill>
                  <a:srgbClr val="23538D"/>
                </a:solidFill>
                <a:latin typeface="Calibri" panose="020F0502020204030204" pitchFamily="34" charset="0"/>
              </a:rPr>
              <a:t>единовременная выплата 1 000 000 рублей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9BA58F2-E903-49D8-82C0-5DB64AFD13F7}"/>
              </a:ext>
            </a:extLst>
          </p:cNvPr>
          <p:cNvSpPr txBox="1"/>
          <p:nvPr/>
        </p:nvSpPr>
        <p:spPr>
          <a:xfrm>
            <a:off x="1799815" y="3672267"/>
            <a:ext cx="526375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275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3000" b="1" kern="0" dirty="0">
                <a:solidFill>
                  <a:srgbClr val="7030A0"/>
                </a:solidFill>
                <a:latin typeface="Calibri" panose="020F0502020204030204" pitchFamily="34" charset="0"/>
              </a:rPr>
              <a:t>предоставление служебного благоустроенного жилья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633128F-8AB1-466A-AF8D-94201F8B454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9108" y="3889883"/>
            <a:ext cx="634920" cy="63492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9E4EEFA-F81A-43DD-B3C9-76DEF028DB3B}"/>
              </a:ext>
            </a:extLst>
          </p:cNvPr>
          <p:cNvSpPr txBox="1"/>
          <p:nvPr/>
        </p:nvSpPr>
        <p:spPr>
          <a:xfrm>
            <a:off x="1799814" y="4794345"/>
            <a:ext cx="526375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275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3000" b="1" kern="0" dirty="0">
                <a:solidFill>
                  <a:srgbClr val="00796B"/>
                </a:solidFill>
                <a:latin typeface="Calibri" panose="020F0502020204030204" pitchFamily="34" charset="0"/>
              </a:rPr>
              <a:t>содействие в устройстве детей в образовательные организации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3AE95211-AF0E-4E98-937C-A3740CB171D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107" y="5036144"/>
            <a:ext cx="634920" cy="634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3776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4ED4328-A880-4219-9468-598600D5A35A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213033" y="2236430"/>
            <a:ext cx="2143794" cy="1256263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8E5E176-F9C2-44B7-A9B0-88A79C17ED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447" y="2116675"/>
            <a:ext cx="2248203" cy="1498801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D07D710-EA80-4919-AF6B-A267AC909A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462283" y="2049563"/>
            <a:ext cx="2244301" cy="1591585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75" name="Title 1"/>
          <p:cNvSpPr txBox="1">
            <a:spLocks/>
          </p:cNvSpPr>
          <p:nvPr/>
        </p:nvSpPr>
        <p:spPr>
          <a:xfrm>
            <a:off x="998076" y="520588"/>
            <a:ext cx="11065903" cy="73905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>
                <a:solidFill>
                  <a:schemeClr val="tx1"/>
                </a:solidFill>
                <a:latin typeface="Helvetica" panose="020B0500000000000000" pitchFamily="34" charset="0"/>
                <a:ea typeface="+mj-ea"/>
                <a:cs typeface="+mj-cs"/>
              </a:defRPr>
            </a:lvl1pPr>
          </a:lstStyle>
          <a:p>
            <a: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800" dirty="0">
                <a:solidFill>
                  <a:srgbClr val="002060"/>
                </a:solidFill>
                <a:latin typeface="+mn-lt"/>
                <a:ea typeface="+mn-ea"/>
                <a:cs typeface="+mn-cs"/>
              </a:rPr>
              <a:t>Вакансии учреждения</a:t>
            </a:r>
          </a:p>
        </p:txBody>
      </p:sp>
      <p:grpSp>
        <p:nvGrpSpPr>
          <p:cNvPr id="76" name="Group 6"/>
          <p:cNvGrpSpPr/>
          <p:nvPr/>
        </p:nvGrpSpPr>
        <p:grpSpPr>
          <a:xfrm>
            <a:off x="515566" y="1526080"/>
            <a:ext cx="7256282" cy="2717074"/>
            <a:chOff x="0" y="2619103"/>
            <a:chExt cx="7256282" cy="2717074"/>
          </a:xfrm>
        </p:grpSpPr>
        <p:sp>
          <p:nvSpPr>
            <p:cNvPr id="77" name="Freeform: Shape 34"/>
            <p:cNvSpPr/>
            <p:nvPr/>
          </p:nvSpPr>
          <p:spPr>
            <a:xfrm>
              <a:off x="0" y="5053013"/>
              <a:ext cx="1893434" cy="283164"/>
            </a:xfrm>
            <a:custGeom>
              <a:avLst/>
              <a:gdLst>
                <a:gd name="connsiteX0" fmla="*/ 0 w 1893434"/>
                <a:gd name="connsiteY0" fmla="*/ 0 h 283164"/>
                <a:gd name="connsiteX1" fmla="*/ 1065465 w 1893434"/>
                <a:gd name="connsiteY1" fmla="*/ 0 h 283164"/>
                <a:gd name="connsiteX2" fmla="*/ 1133863 w 1893434"/>
                <a:gd name="connsiteY2" fmla="*/ 51147 h 283164"/>
                <a:gd name="connsiteX3" fmla="*/ 1893434 w 1893434"/>
                <a:gd name="connsiteY3" fmla="*/ 283164 h 283164"/>
                <a:gd name="connsiteX4" fmla="*/ 0 w 1893434"/>
                <a:gd name="connsiteY4" fmla="*/ 283164 h 283164"/>
                <a:gd name="connsiteX5" fmla="*/ 0 w 1893434"/>
                <a:gd name="connsiteY5" fmla="*/ 0 h 283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93434" h="283164">
                  <a:moveTo>
                    <a:pt x="0" y="0"/>
                  </a:moveTo>
                  <a:lnTo>
                    <a:pt x="1065465" y="0"/>
                  </a:lnTo>
                  <a:lnTo>
                    <a:pt x="1133863" y="51147"/>
                  </a:lnTo>
                  <a:cubicBezTo>
                    <a:pt x="1350687" y="197631"/>
                    <a:pt x="1612072" y="283164"/>
                    <a:pt x="1893434" y="283164"/>
                  </a:cubicBezTo>
                  <a:lnTo>
                    <a:pt x="0" y="283164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32000">
                  <a:srgbClr val="F36F13"/>
                </a:gs>
                <a:gs pos="77000">
                  <a:srgbClr val="F36F13">
                    <a:lumMod val="50000"/>
                  </a:srgbClr>
                </a:gs>
                <a:gs pos="100000">
                  <a:srgbClr val="F36F13">
                    <a:lumMod val="50000"/>
                  </a:srgbClr>
                </a:gs>
              </a:gsLst>
              <a:lin ang="20400000" scaled="0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78" name="Freeform: Shape 35"/>
            <p:cNvSpPr/>
            <p:nvPr/>
          </p:nvSpPr>
          <p:spPr>
            <a:xfrm>
              <a:off x="482510" y="2619103"/>
              <a:ext cx="6773772" cy="2717074"/>
            </a:xfrm>
            <a:custGeom>
              <a:avLst/>
              <a:gdLst>
                <a:gd name="connsiteX0" fmla="*/ 1358537 w 6773772"/>
                <a:gd name="connsiteY0" fmla="*/ 283391 h 2717074"/>
                <a:gd name="connsiteX1" fmla="*/ 283391 w 6773772"/>
                <a:gd name="connsiteY1" fmla="*/ 1358537 h 2717074"/>
                <a:gd name="connsiteX2" fmla="*/ 1358537 w 6773772"/>
                <a:gd name="connsiteY2" fmla="*/ 2433683 h 2717074"/>
                <a:gd name="connsiteX3" fmla="*/ 2433683 w 6773772"/>
                <a:gd name="connsiteY3" fmla="*/ 1358537 h 2717074"/>
                <a:gd name="connsiteX4" fmla="*/ 1358537 w 6773772"/>
                <a:gd name="connsiteY4" fmla="*/ 283391 h 2717074"/>
                <a:gd name="connsiteX5" fmla="*/ 1358537 w 6773772"/>
                <a:gd name="connsiteY5" fmla="*/ 0 h 2717074"/>
                <a:gd name="connsiteX6" fmla="*/ 2717074 w 6773772"/>
                <a:gd name="connsiteY6" fmla="*/ 1358537 h 2717074"/>
                <a:gd name="connsiteX7" fmla="*/ 2222693 w 6773772"/>
                <a:gd name="connsiteY7" fmla="*/ 2406850 h 2717074"/>
                <a:gd name="connsiteX8" fmla="*/ 2186506 w 6773772"/>
                <a:gd name="connsiteY8" fmla="*/ 2433910 h 2717074"/>
                <a:gd name="connsiteX9" fmla="*/ 6773772 w 6773772"/>
                <a:gd name="connsiteY9" fmla="*/ 2433910 h 2717074"/>
                <a:gd name="connsiteX10" fmla="*/ 6773772 w 6773772"/>
                <a:gd name="connsiteY10" fmla="*/ 2717074 h 2717074"/>
                <a:gd name="connsiteX11" fmla="*/ 1687285 w 6773772"/>
                <a:gd name="connsiteY11" fmla="*/ 2717074 h 2717074"/>
                <a:gd name="connsiteX12" fmla="*/ 1687285 w 6773772"/>
                <a:gd name="connsiteY12" fmla="*/ 2673337 h 2717074"/>
                <a:gd name="connsiteX13" fmla="*/ 1565429 w 6773772"/>
                <a:gd name="connsiteY13" fmla="*/ 2701421 h 2717074"/>
                <a:gd name="connsiteX14" fmla="*/ 1358537 w 6773772"/>
                <a:gd name="connsiteY14" fmla="*/ 2717074 h 2717074"/>
                <a:gd name="connsiteX15" fmla="*/ 598966 w 6773772"/>
                <a:gd name="connsiteY15" fmla="*/ 2485057 h 2717074"/>
                <a:gd name="connsiteX16" fmla="*/ 530568 w 6773772"/>
                <a:gd name="connsiteY16" fmla="*/ 2433910 h 2717074"/>
                <a:gd name="connsiteX17" fmla="*/ 494381 w 6773772"/>
                <a:gd name="connsiteY17" fmla="*/ 2406850 h 2717074"/>
                <a:gd name="connsiteX18" fmla="*/ 0 w 6773772"/>
                <a:gd name="connsiteY18" fmla="*/ 1358537 h 2717074"/>
                <a:gd name="connsiteX19" fmla="*/ 1358537 w 6773772"/>
                <a:gd name="connsiteY19" fmla="*/ 0 h 2717074"/>
                <a:gd name="connsiteX0" fmla="*/ 1358537 w 6773772"/>
                <a:gd name="connsiteY0" fmla="*/ 283391 h 2717074"/>
                <a:gd name="connsiteX1" fmla="*/ 283391 w 6773772"/>
                <a:gd name="connsiteY1" fmla="*/ 1358537 h 2717074"/>
                <a:gd name="connsiteX2" fmla="*/ 1358537 w 6773772"/>
                <a:gd name="connsiteY2" fmla="*/ 2433683 h 2717074"/>
                <a:gd name="connsiteX3" fmla="*/ 2433683 w 6773772"/>
                <a:gd name="connsiteY3" fmla="*/ 1358537 h 2717074"/>
                <a:gd name="connsiteX4" fmla="*/ 1358537 w 6773772"/>
                <a:gd name="connsiteY4" fmla="*/ 283391 h 2717074"/>
                <a:gd name="connsiteX5" fmla="*/ 1358537 w 6773772"/>
                <a:gd name="connsiteY5" fmla="*/ 0 h 2717074"/>
                <a:gd name="connsiteX6" fmla="*/ 2717074 w 6773772"/>
                <a:gd name="connsiteY6" fmla="*/ 1358537 h 2717074"/>
                <a:gd name="connsiteX7" fmla="*/ 2222693 w 6773772"/>
                <a:gd name="connsiteY7" fmla="*/ 2406850 h 2717074"/>
                <a:gd name="connsiteX8" fmla="*/ 2186506 w 6773772"/>
                <a:gd name="connsiteY8" fmla="*/ 2433910 h 2717074"/>
                <a:gd name="connsiteX9" fmla="*/ 6773772 w 6773772"/>
                <a:gd name="connsiteY9" fmla="*/ 2433910 h 2717074"/>
                <a:gd name="connsiteX10" fmla="*/ 6773772 w 6773772"/>
                <a:gd name="connsiteY10" fmla="*/ 2717074 h 2717074"/>
                <a:gd name="connsiteX11" fmla="*/ 1687285 w 6773772"/>
                <a:gd name="connsiteY11" fmla="*/ 2717074 h 2717074"/>
                <a:gd name="connsiteX12" fmla="*/ 1565429 w 6773772"/>
                <a:gd name="connsiteY12" fmla="*/ 2701421 h 2717074"/>
                <a:gd name="connsiteX13" fmla="*/ 1358537 w 6773772"/>
                <a:gd name="connsiteY13" fmla="*/ 2717074 h 2717074"/>
                <a:gd name="connsiteX14" fmla="*/ 598966 w 6773772"/>
                <a:gd name="connsiteY14" fmla="*/ 2485057 h 2717074"/>
                <a:gd name="connsiteX15" fmla="*/ 530568 w 6773772"/>
                <a:gd name="connsiteY15" fmla="*/ 2433910 h 2717074"/>
                <a:gd name="connsiteX16" fmla="*/ 494381 w 6773772"/>
                <a:gd name="connsiteY16" fmla="*/ 2406850 h 2717074"/>
                <a:gd name="connsiteX17" fmla="*/ 0 w 6773772"/>
                <a:gd name="connsiteY17" fmla="*/ 1358537 h 2717074"/>
                <a:gd name="connsiteX18" fmla="*/ 1358537 w 6773772"/>
                <a:gd name="connsiteY18" fmla="*/ 0 h 2717074"/>
                <a:gd name="connsiteX0" fmla="*/ 1358537 w 6773772"/>
                <a:gd name="connsiteY0" fmla="*/ 283391 h 2717074"/>
                <a:gd name="connsiteX1" fmla="*/ 283391 w 6773772"/>
                <a:gd name="connsiteY1" fmla="*/ 1358537 h 2717074"/>
                <a:gd name="connsiteX2" fmla="*/ 1358537 w 6773772"/>
                <a:gd name="connsiteY2" fmla="*/ 2433683 h 2717074"/>
                <a:gd name="connsiteX3" fmla="*/ 2433683 w 6773772"/>
                <a:gd name="connsiteY3" fmla="*/ 1358537 h 2717074"/>
                <a:gd name="connsiteX4" fmla="*/ 1358537 w 6773772"/>
                <a:gd name="connsiteY4" fmla="*/ 283391 h 2717074"/>
                <a:gd name="connsiteX5" fmla="*/ 1358537 w 6773772"/>
                <a:gd name="connsiteY5" fmla="*/ 0 h 2717074"/>
                <a:gd name="connsiteX6" fmla="*/ 2717074 w 6773772"/>
                <a:gd name="connsiteY6" fmla="*/ 1358537 h 2717074"/>
                <a:gd name="connsiteX7" fmla="*/ 2222693 w 6773772"/>
                <a:gd name="connsiteY7" fmla="*/ 2406850 h 2717074"/>
                <a:gd name="connsiteX8" fmla="*/ 2186506 w 6773772"/>
                <a:gd name="connsiteY8" fmla="*/ 2433910 h 2717074"/>
                <a:gd name="connsiteX9" fmla="*/ 6773772 w 6773772"/>
                <a:gd name="connsiteY9" fmla="*/ 2433910 h 2717074"/>
                <a:gd name="connsiteX10" fmla="*/ 6773772 w 6773772"/>
                <a:gd name="connsiteY10" fmla="*/ 2717074 h 2717074"/>
                <a:gd name="connsiteX11" fmla="*/ 1687285 w 6773772"/>
                <a:gd name="connsiteY11" fmla="*/ 2717074 h 2717074"/>
                <a:gd name="connsiteX12" fmla="*/ 1358537 w 6773772"/>
                <a:gd name="connsiteY12" fmla="*/ 2717074 h 2717074"/>
                <a:gd name="connsiteX13" fmla="*/ 598966 w 6773772"/>
                <a:gd name="connsiteY13" fmla="*/ 2485057 h 2717074"/>
                <a:gd name="connsiteX14" fmla="*/ 530568 w 6773772"/>
                <a:gd name="connsiteY14" fmla="*/ 2433910 h 2717074"/>
                <a:gd name="connsiteX15" fmla="*/ 494381 w 6773772"/>
                <a:gd name="connsiteY15" fmla="*/ 2406850 h 2717074"/>
                <a:gd name="connsiteX16" fmla="*/ 0 w 6773772"/>
                <a:gd name="connsiteY16" fmla="*/ 1358537 h 2717074"/>
                <a:gd name="connsiteX17" fmla="*/ 1358537 w 6773772"/>
                <a:gd name="connsiteY17" fmla="*/ 0 h 2717074"/>
                <a:gd name="connsiteX0" fmla="*/ 1358537 w 6773772"/>
                <a:gd name="connsiteY0" fmla="*/ 283391 h 2717074"/>
                <a:gd name="connsiteX1" fmla="*/ 283391 w 6773772"/>
                <a:gd name="connsiteY1" fmla="*/ 1358537 h 2717074"/>
                <a:gd name="connsiteX2" fmla="*/ 1358537 w 6773772"/>
                <a:gd name="connsiteY2" fmla="*/ 2433683 h 2717074"/>
                <a:gd name="connsiteX3" fmla="*/ 2433683 w 6773772"/>
                <a:gd name="connsiteY3" fmla="*/ 1358537 h 2717074"/>
                <a:gd name="connsiteX4" fmla="*/ 1358537 w 6773772"/>
                <a:gd name="connsiteY4" fmla="*/ 283391 h 2717074"/>
                <a:gd name="connsiteX5" fmla="*/ 1358537 w 6773772"/>
                <a:gd name="connsiteY5" fmla="*/ 0 h 2717074"/>
                <a:gd name="connsiteX6" fmla="*/ 2717074 w 6773772"/>
                <a:gd name="connsiteY6" fmla="*/ 1358537 h 2717074"/>
                <a:gd name="connsiteX7" fmla="*/ 2222693 w 6773772"/>
                <a:gd name="connsiteY7" fmla="*/ 2406850 h 2717074"/>
                <a:gd name="connsiteX8" fmla="*/ 2186506 w 6773772"/>
                <a:gd name="connsiteY8" fmla="*/ 2433910 h 2717074"/>
                <a:gd name="connsiteX9" fmla="*/ 6773772 w 6773772"/>
                <a:gd name="connsiteY9" fmla="*/ 2433910 h 2717074"/>
                <a:gd name="connsiteX10" fmla="*/ 6773772 w 6773772"/>
                <a:gd name="connsiteY10" fmla="*/ 2717074 h 2717074"/>
                <a:gd name="connsiteX11" fmla="*/ 1358537 w 6773772"/>
                <a:gd name="connsiteY11" fmla="*/ 2717074 h 2717074"/>
                <a:gd name="connsiteX12" fmla="*/ 598966 w 6773772"/>
                <a:gd name="connsiteY12" fmla="*/ 2485057 h 2717074"/>
                <a:gd name="connsiteX13" fmla="*/ 530568 w 6773772"/>
                <a:gd name="connsiteY13" fmla="*/ 2433910 h 2717074"/>
                <a:gd name="connsiteX14" fmla="*/ 494381 w 6773772"/>
                <a:gd name="connsiteY14" fmla="*/ 2406850 h 2717074"/>
                <a:gd name="connsiteX15" fmla="*/ 0 w 6773772"/>
                <a:gd name="connsiteY15" fmla="*/ 1358537 h 2717074"/>
                <a:gd name="connsiteX16" fmla="*/ 1358537 w 6773772"/>
                <a:gd name="connsiteY16" fmla="*/ 0 h 2717074"/>
                <a:gd name="connsiteX0" fmla="*/ 1358537 w 6773772"/>
                <a:gd name="connsiteY0" fmla="*/ 283391 h 2717074"/>
                <a:gd name="connsiteX1" fmla="*/ 283391 w 6773772"/>
                <a:gd name="connsiteY1" fmla="*/ 1358537 h 2717074"/>
                <a:gd name="connsiteX2" fmla="*/ 1358537 w 6773772"/>
                <a:gd name="connsiteY2" fmla="*/ 2433683 h 2717074"/>
                <a:gd name="connsiteX3" fmla="*/ 2433683 w 6773772"/>
                <a:gd name="connsiteY3" fmla="*/ 1358537 h 2717074"/>
                <a:gd name="connsiteX4" fmla="*/ 1358537 w 6773772"/>
                <a:gd name="connsiteY4" fmla="*/ 283391 h 2717074"/>
                <a:gd name="connsiteX5" fmla="*/ 1358537 w 6773772"/>
                <a:gd name="connsiteY5" fmla="*/ 0 h 2717074"/>
                <a:gd name="connsiteX6" fmla="*/ 2717074 w 6773772"/>
                <a:gd name="connsiteY6" fmla="*/ 1358537 h 2717074"/>
                <a:gd name="connsiteX7" fmla="*/ 2222693 w 6773772"/>
                <a:gd name="connsiteY7" fmla="*/ 2406850 h 2717074"/>
                <a:gd name="connsiteX8" fmla="*/ 2186506 w 6773772"/>
                <a:gd name="connsiteY8" fmla="*/ 2433910 h 2717074"/>
                <a:gd name="connsiteX9" fmla="*/ 6773772 w 6773772"/>
                <a:gd name="connsiteY9" fmla="*/ 2433910 h 2717074"/>
                <a:gd name="connsiteX10" fmla="*/ 6773772 w 6773772"/>
                <a:gd name="connsiteY10" fmla="*/ 2717074 h 2717074"/>
                <a:gd name="connsiteX11" fmla="*/ 1358537 w 6773772"/>
                <a:gd name="connsiteY11" fmla="*/ 2717074 h 2717074"/>
                <a:gd name="connsiteX12" fmla="*/ 598966 w 6773772"/>
                <a:gd name="connsiteY12" fmla="*/ 2485057 h 2717074"/>
                <a:gd name="connsiteX13" fmla="*/ 494381 w 6773772"/>
                <a:gd name="connsiteY13" fmla="*/ 2406850 h 2717074"/>
                <a:gd name="connsiteX14" fmla="*/ 0 w 6773772"/>
                <a:gd name="connsiteY14" fmla="*/ 1358537 h 2717074"/>
                <a:gd name="connsiteX15" fmla="*/ 1358537 w 6773772"/>
                <a:gd name="connsiteY15" fmla="*/ 0 h 271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73772" h="2717074">
                  <a:moveTo>
                    <a:pt x="1358537" y="283391"/>
                  </a:moveTo>
                  <a:cubicBezTo>
                    <a:pt x="764750" y="283391"/>
                    <a:pt x="283391" y="764750"/>
                    <a:pt x="283391" y="1358537"/>
                  </a:cubicBezTo>
                  <a:cubicBezTo>
                    <a:pt x="283391" y="1952324"/>
                    <a:pt x="764750" y="2433683"/>
                    <a:pt x="1358537" y="2433683"/>
                  </a:cubicBezTo>
                  <a:cubicBezTo>
                    <a:pt x="1952324" y="2433683"/>
                    <a:pt x="2433683" y="1952324"/>
                    <a:pt x="2433683" y="1358537"/>
                  </a:cubicBezTo>
                  <a:cubicBezTo>
                    <a:pt x="2433683" y="764750"/>
                    <a:pt x="1952324" y="283391"/>
                    <a:pt x="1358537" y="283391"/>
                  </a:cubicBezTo>
                  <a:close/>
                  <a:moveTo>
                    <a:pt x="1358537" y="0"/>
                  </a:moveTo>
                  <a:cubicBezTo>
                    <a:pt x="2108836" y="0"/>
                    <a:pt x="2717074" y="608238"/>
                    <a:pt x="2717074" y="1358537"/>
                  </a:cubicBezTo>
                  <a:cubicBezTo>
                    <a:pt x="2717074" y="1780580"/>
                    <a:pt x="2524624" y="2157674"/>
                    <a:pt x="2222693" y="2406850"/>
                  </a:cubicBezTo>
                  <a:lnTo>
                    <a:pt x="2186506" y="2433910"/>
                  </a:lnTo>
                  <a:lnTo>
                    <a:pt x="6773772" y="2433910"/>
                  </a:lnTo>
                  <a:lnTo>
                    <a:pt x="6773772" y="2717074"/>
                  </a:lnTo>
                  <a:lnTo>
                    <a:pt x="1358537" y="2717074"/>
                  </a:lnTo>
                  <a:cubicBezTo>
                    <a:pt x="1077175" y="2717074"/>
                    <a:pt x="815790" y="2631541"/>
                    <a:pt x="598966" y="2485057"/>
                  </a:cubicBezTo>
                  <a:lnTo>
                    <a:pt x="494381" y="2406850"/>
                  </a:lnTo>
                  <a:cubicBezTo>
                    <a:pt x="192450" y="2157674"/>
                    <a:pt x="0" y="1780580"/>
                    <a:pt x="0" y="1358537"/>
                  </a:cubicBezTo>
                  <a:cubicBezTo>
                    <a:pt x="0" y="608238"/>
                    <a:pt x="608238" y="0"/>
                    <a:pt x="1358537" y="0"/>
                  </a:cubicBezTo>
                  <a:close/>
                </a:path>
              </a:pathLst>
            </a:custGeom>
            <a:solidFill>
              <a:srgbClr val="F36F1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79" name="Freeform: Shape 36"/>
            <p:cNvSpPr/>
            <p:nvPr/>
          </p:nvSpPr>
          <p:spPr>
            <a:xfrm>
              <a:off x="1841048" y="4333875"/>
              <a:ext cx="1309738" cy="719138"/>
            </a:xfrm>
            <a:custGeom>
              <a:avLst/>
              <a:gdLst>
                <a:gd name="connsiteX0" fmla="*/ 1013444 w 1309738"/>
                <a:gd name="connsiteY0" fmla="*/ 0 h 719138"/>
                <a:gd name="connsiteX1" fmla="*/ 1309738 w 1309738"/>
                <a:gd name="connsiteY1" fmla="*/ 0 h 719138"/>
                <a:gd name="connsiteX2" fmla="*/ 1297460 w 1309738"/>
                <a:gd name="connsiteY2" fmla="*/ 47752 h 719138"/>
                <a:gd name="connsiteX3" fmla="*/ 864156 w 1309738"/>
                <a:gd name="connsiteY3" fmla="*/ 692078 h 719138"/>
                <a:gd name="connsiteX4" fmla="*/ 827969 w 1309738"/>
                <a:gd name="connsiteY4" fmla="*/ 719138 h 719138"/>
                <a:gd name="connsiteX5" fmla="*/ 0 w 1309738"/>
                <a:gd name="connsiteY5" fmla="*/ 719138 h 719138"/>
                <a:gd name="connsiteX6" fmla="*/ 0 w 1309738"/>
                <a:gd name="connsiteY6" fmla="*/ 718911 h 719138"/>
                <a:gd name="connsiteX7" fmla="*/ 990656 w 1309738"/>
                <a:gd name="connsiteY7" fmla="*/ 62260 h 71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9738" h="719138">
                  <a:moveTo>
                    <a:pt x="1013444" y="0"/>
                  </a:moveTo>
                  <a:lnTo>
                    <a:pt x="1309738" y="0"/>
                  </a:lnTo>
                  <a:lnTo>
                    <a:pt x="1297460" y="47752"/>
                  </a:lnTo>
                  <a:cubicBezTo>
                    <a:pt x="1218072" y="302991"/>
                    <a:pt x="1065443" y="525961"/>
                    <a:pt x="864156" y="692078"/>
                  </a:cubicBezTo>
                  <a:lnTo>
                    <a:pt x="827969" y="719138"/>
                  </a:lnTo>
                  <a:lnTo>
                    <a:pt x="0" y="719138"/>
                  </a:lnTo>
                  <a:lnTo>
                    <a:pt x="0" y="718911"/>
                  </a:lnTo>
                  <a:cubicBezTo>
                    <a:pt x="445340" y="718911"/>
                    <a:pt x="827440" y="448147"/>
                    <a:pt x="990656" y="62260"/>
                  </a:cubicBezTo>
                  <a:close/>
                </a:path>
              </a:pathLst>
            </a:custGeom>
            <a:gradFill flip="none" rotWithShape="1">
              <a:gsLst>
                <a:gs pos="32000">
                  <a:srgbClr val="F36F13"/>
                </a:gs>
                <a:gs pos="77000">
                  <a:srgbClr val="F36F13">
                    <a:lumMod val="50000"/>
                  </a:srgbClr>
                </a:gs>
                <a:gs pos="100000">
                  <a:srgbClr val="F36F13">
                    <a:lumMod val="50000"/>
                  </a:srgbClr>
                </a:gs>
              </a:gsLst>
              <a:lin ang="6600000" scaled="0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</p:grpSp>
      <p:grpSp>
        <p:nvGrpSpPr>
          <p:cNvPr id="80" name="Group 38"/>
          <p:cNvGrpSpPr/>
          <p:nvPr/>
        </p:nvGrpSpPr>
        <p:grpSpPr>
          <a:xfrm>
            <a:off x="4506700" y="1526080"/>
            <a:ext cx="7256282" cy="2717074"/>
            <a:chOff x="0" y="2619103"/>
            <a:chExt cx="7256282" cy="2717074"/>
          </a:xfrm>
          <a:solidFill>
            <a:srgbClr val="00B09B"/>
          </a:solidFill>
        </p:grpSpPr>
        <p:sp>
          <p:nvSpPr>
            <p:cNvPr id="81" name="Freeform: Shape 39"/>
            <p:cNvSpPr/>
            <p:nvPr/>
          </p:nvSpPr>
          <p:spPr>
            <a:xfrm>
              <a:off x="0" y="5053013"/>
              <a:ext cx="1893434" cy="283164"/>
            </a:xfrm>
            <a:custGeom>
              <a:avLst/>
              <a:gdLst>
                <a:gd name="connsiteX0" fmla="*/ 0 w 1893434"/>
                <a:gd name="connsiteY0" fmla="*/ 0 h 283164"/>
                <a:gd name="connsiteX1" fmla="*/ 1065465 w 1893434"/>
                <a:gd name="connsiteY1" fmla="*/ 0 h 283164"/>
                <a:gd name="connsiteX2" fmla="*/ 1133863 w 1893434"/>
                <a:gd name="connsiteY2" fmla="*/ 51147 h 283164"/>
                <a:gd name="connsiteX3" fmla="*/ 1893434 w 1893434"/>
                <a:gd name="connsiteY3" fmla="*/ 283164 h 283164"/>
                <a:gd name="connsiteX4" fmla="*/ 0 w 1893434"/>
                <a:gd name="connsiteY4" fmla="*/ 283164 h 283164"/>
                <a:gd name="connsiteX5" fmla="*/ 0 w 1893434"/>
                <a:gd name="connsiteY5" fmla="*/ 0 h 283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93434" h="283164">
                  <a:moveTo>
                    <a:pt x="0" y="0"/>
                  </a:moveTo>
                  <a:lnTo>
                    <a:pt x="1065465" y="0"/>
                  </a:lnTo>
                  <a:lnTo>
                    <a:pt x="1133863" y="51147"/>
                  </a:lnTo>
                  <a:cubicBezTo>
                    <a:pt x="1350687" y="197631"/>
                    <a:pt x="1612072" y="283164"/>
                    <a:pt x="1893434" y="283164"/>
                  </a:cubicBezTo>
                  <a:lnTo>
                    <a:pt x="0" y="2831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36F1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82" name="Freeform: Shape 40"/>
            <p:cNvSpPr/>
            <p:nvPr/>
          </p:nvSpPr>
          <p:spPr>
            <a:xfrm>
              <a:off x="482510" y="2619103"/>
              <a:ext cx="6773772" cy="2717074"/>
            </a:xfrm>
            <a:custGeom>
              <a:avLst/>
              <a:gdLst>
                <a:gd name="connsiteX0" fmla="*/ 1358537 w 6773772"/>
                <a:gd name="connsiteY0" fmla="*/ 283391 h 2717074"/>
                <a:gd name="connsiteX1" fmla="*/ 283391 w 6773772"/>
                <a:gd name="connsiteY1" fmla="*/ 1358537 h 2717074"/>
                <a:gd name="connsiteX2" fmla="*/ 1358537 w 6773772"/>
                <a:gd name="connsiteY2" fmla="*/ 2433683 h 2717074"/>
                <a:gd name="connsiteX3" fmla="*/ 2433683 w 6773772"/>
                <a:gd name="connsiteY3" fmla="*/ 1358537 h 2717074"/>
                <a:gd name="connsiteX4" fmla="*/ 1358537 w 6773772"/>
                <a:gd name="connsiteY4" fmla="*/ 283391 h 2717074"/>
                <a:gd name="connsiteX5" fmla="*/ 1358537 w 6773772"/>
                <a:gd name="connsiteY5" fmla="*/ 0 h 2717074"/>
                <a:gd name="connsiteX6" fmla="*/ 2717074 w 6773772"/>
                <a:gd name="connsiteY6" fmla="*/ 1358537 h 2717074"/>
                <a:gd name="connsiteX7" fmla="*/ 2222693 w 6773772"/>
                <a:gd name="connsiteY7" fmla="*/ 2406850 h 2717074"/>
                <a:gd name="connsiteX8" fmla="*/ 2186506 w 6773772"/>
                <a:gd name="connsiteY8" fmla="*/ 2433910 h 2717074"/>
                <a:gd name="connsiteX9" fmla="*/ 6773772 w 6773772"/>
                <a:gd name="connsiteY9" fmla="*/ 2433910 h 2717074"/>
                <a:gd name="connsiteX10" fmla="*/ 6773772 w 6773772"/>
                <a:gd name="connsiteY10" fmla="*/ 2717074 h 2717074"/>
                <a:gd name="connsiteX11" fmla="*/ 1687285 w 6773772"/>
                <a:gd name="connsiteY11" fmla="*/ 2717074 h 2717074"/>
                <a:gd name="connsiteX12" fmla="*/ 1687285 w 6773772"/>
                <a:gd name="connsiteY12" fmla="*/ 2673337 h 2717074"/>
                <a:gd name="connsiteX13" fmla="*/ 1565429 w 6773772"/>
                <a:gd name="connsiteY13" fmla="*/ 2701421 h 2717074"/>
                <a:gd name="connsiteX14" fmla="*/ 1358537 w 6773772"/>
                <a:gd name="connsiteY14" fmla="*/ 2717074 h 2717074"/>
                <a:gd name="connsiteX15" fmla="*/ 598966 w 6773772"/>
                <a:gd name="connsiteY15" fmla="*/ 2485057 h 2717074"/>
                <a:gd name="connsiteX16" fmla="*/ 530568 w 6773772"/>
                <a:gd name="connsiteY16" fmla="*/ 2433910 h 2717074"/>
                <a:gd name="connsiteX17" fmla="*/ 494381 w 6773772"/>
                <a:gd name="connsiteY17" fmla="*/ 2406850 h 2717074"/>
                <a:gd name="connsiteX18" fmla="*/ 0 w 6773772"/>
                <a:gd name="connsiteY18" fmla="*/ 1358537 h 2717074"/>
                <a:gd name="connsiteX19" fmla="*/ 1358537 w 6773772"/>
                <a:gd name="connsiteY19" fmla="*/ 0 h 2717074"/>
                <a:gd name="connsiteX0" fmla="*/ 1358537 w 6773772"/>
                <a:gd name="connsiteY0" fmla="*/ 283391 h 2717074"/>
                <a:gd name="connsiteX1" fmla="*/ 283391 w 6773772"/>
                <a:gd name="connsiteY1" fmla="*/ 1358537 h 2717074"/>
                <a:gd name="connsiteX2" fmla="*/ 1358537 w 6773772"/>
                <a:gd name="connsiteY2" fmla="*/ 2433683 h 2717074"/>
                <a:gd name="connsiteX3" fmla="*/ 2433683 w 6773772"/>
                <a:gd name="connsiteY3" fmla="*/ 1358537 h 2717074"/>
                <a:gd name="connsiteX4" fmla="*/ 1358537 w 6773772"/>
                <a:gd name="connsiteY4" fmla="*/ 283391 h 2717074"/>
                <a:gd name="connsiteX5" fmla="*/ 1358537 w 6773772"/>
                <a:gd name="connsiteY5" fmla="*/ 0 h 2717074"/>
                <a:gd name="connsiteX6" fmla="*/ 2717074 w 6773772"/>
                <a:gd name="connsiteY6" fmla="*/ 1358537 h 2717074"/>
                <a:gd name="connsiteX7" fmla="*/ 2222693 w 6773772"/>
                <a:gd name="connsiteY7" fmla="*/ 2406850 h 2717074"/>
                <a:gd name="connsiteX8" fmla="*/ 2186506 w 6773772"/>
                <a:gd name="connsiteY8" fmla="*/ 2433910 h 2717074"/>
                <a:gd name="connsiteX9" fmla="*/ 6773772 w 6773772"/>
                <a:gd name="connsiteY9" fmla="*/ 2433910 h 2717074"/>
                <a:gd name="connsiteX10" fmla="*/ 6773772 w 6773772"/>
                <a:gd name="connsiteY10" fmla="*/ 2717074 h 2717074"/>
                <a:gd name="connsiteX11" fmla="*/ 1687285 w 6773772"/>
                <a:gd name="connsiteY11" fmla="*/ 2717074 h 2717074"/>
                <a:gd name="connsiteX12" fmla="*/ 1565429 w 6773772"/>
                <a:gd name="connsiteY12" fmla="*/ 2701421 h 2717074"/>
                <a:gd name="connsiteX13" fmla="*/ 1358537 w 6773772"/>
                <a:gd name="connsiteY13" fmla="*/ 2717074 h 2717074"/>
                <a:gd name="connsiteX14" fmla="*/ 598966 w 6773772"/>
                <a:gd name="connsiteY14" fmla="*/ 2485057 h 2717074"/>
                <a:gd name="connsiteX15" fmla="*/ 530568 w 6773772"/>
                <a:gd name="connsiteY15" fmla="*/ 2433910 h 2717074"/>
                <a:gd name="connsiteX16" fmla="*/ 494381 w 6773772"/>
                <a:gd name="connsiteY16" fmla="*/ 2406850 h 2717074"/>
                <a:gd name="connsiteX17" fmla="*/ 0 w 6773772"/>
                <a:gd name="connsiteY17" fmla="*/ 1358537 h 2717074"/>
                <a:gd name="connsiteX18" fmla="*/ 1358537 w 6773772"/>
                <a:gd name="connsiteY18" fmla="*/ 0 h 2717074"/>
                <a:gd name="connsiteX0" fmla="*/ 1358537 w 6773772"/>
                <a:gd name="connsiteY0" fmla="*/ 283391 h 2717074"/>
                <a:gd name="connsiteX1" fmla="*/ 283391 w 6773772"/>
                <a:gd name="connsiteY1" fmla="*/ 1358537 h 2717074"/>
                <a:gd name="connsiteX2" fmla="*/ 1358537 w 6773772"/>
                <a:gd name="connsiteY2" fmla="*/ 2433683 h 2717074"/>
                <a:gd name="connsiteX3" fmla="*/ 2433683 w 6773772"/>
                <a:gd name="connsiteY3" fmla="*/ 1358537 h 2717074"/>
                <a:gd name="connsiteX4" fmla="*/ 1358537 w 6773772"/>
                <a:gd name="connsiteY4" fmla="*/ 283391 h 2717074"/>
                <a:gd name="connsiteX5" fmla="*/ 1358537 w 6773772"/>
                <a:gd name="connsiteY5" fmla="*/ 0 h 2717074"/>
                <a:gd name="connsiteX6" fmla="*/ 2717074 w 6773772"/>
                <a:gd name="connsiteY6" fmla="*/ 1358537 h 2717074"/>
                <a:gd name="connsiteX7" fmla="*/ 2222693 w 6773772"/>
                <a:gd name="connsiteY7" fmla="*/ 2406850 h 2717074"/>
                <a:gd name="connsiteX8" fmla="*/ 2186506 w 6773772"/>
                <a:gd name="connsiteY8" fmla="*/ 2433910 h 2717074"/>
                <a:gd name="connsiteX9" fmla="*/ 6773772 w 6773772"/>
                <a:gd name="connsiteY9" fmla="*/ 2433910 h 2717074"/>
                <a:gd name="connsiteX10" fmla="*/ 6773772 w 6773772"/>
                <a:gd name="connsiteY10" fmla="*/ 2717074 h 2717074"/>
                <a:gd name="connsiteX11" fmla="*/ 1687285 w 6773772"/>
                <a:gd name="connsiteY11" fmla="*/ 2717074 h 2717074"/>
                <a:gd name="connsiteX12" fmla="*/ 1358537 w 6773772"/>
                <a:gd name="connsiteY12" fmla="*/ 2717074 h 2717074"/>
                <a:gd name="connsiteX13" fmla="*/ 598966 w 6773772"/>
                <a:gd name="connsiteY13" fmla="*/ 2485057 h 2717074"/>
                <a:gd name="connsiteX14" fmla="*/ 530568 w 6773772"/>
                <a:gd name="connsiteY14" fmla="*/ 2433910 h 2717074"/>
                <a:gd name="connsiteX15" fmla="*/ 494381 w 6773772"/>
                <a:gd name="connsiteY15" fmla="*/ 2406850 h 2717074"/>
                <a:gd name="connsiteX16" fmla="*/ 0 w 6773772"/>
                <a:gd name="connsiteY16" fmla="*/ 1358537 h 2717074"/>
                <a:gd name="connsiteX17" fmla="*/ 1358537 w 6773772"/>
                <a:gd name="connsiteY17" fmla="*/ 0 h 2717074"/>
                <a:gd name="connsiteX0" fmla="*/ 1358537 w 6773772"/>
                <a:gd name="connsiteY0" fmla="*/ 283391 h 2717074"/>
                <a:gd name="connsiteX1" fmla="*/ 283391 w 6773772"/>
                <a:gd name="connsiteY1" fmla="*/ 1358537 h 2717074"/>
                <a:gd name="connsiteX2" fmla="*/ 1358537 w 6773772"/>
                <a:gd name="connsiteY2" fmla="*/ 2433683 h 2717074"/>
                <a:gd name="connsiteX3" fmla="*/ 2433683 w 6773772"/>
                <a:gd name="connsiteY3" fmla="*/ 1358537 h 2717074"/>
                <a:gd name="connsiteX4" fmla="*/ 1358537 w 6773772"/>
                <a:gd name="connsiteY4" fmla="*/ 283391 h 2717074"/>
                <a:gd name="connsiteX5" fmla="*/ 1358537 w 6773772"/>
                <a:gd name="connsiteY5" fmla="*/ 0 h 2717074"/>
                <a:gd name="connsiteX6" fmla="*/ 2717074 w 6773772"/>
                <a:gd name="connsiteY6" fmla="*/ 1358537 h 2717074"/>
                <a:gd name="connsiteX7" fmla="*/ 2222693 w 6773772"/>
                <a:gd name="connsiteY7" fmla="*/ 2406850 h 2717074"/>
                <a:gd name="connsiteX8" fmla="*/ 2186506 w 6773772"/>
                <a:gd name="connsiteY8" fmla="*/ 2433910 h 2717074"/>
                <a:gd name="connsiteX9" fmla="*/ 6773772 w 6773772"/>
                <a:gd name="connsiteY9" fmla="*/ 2433910 h 2717074"/>
                <a:gd name="connsiteX10" fmla="*/ 6773772 w 6773772"/>
                <a:gd name="connsiteY10" fmla="*/ 2717074 h 2717074"/>
                <a:gd name="connsiteX11" fmla="*/ 1358537 w 6773772"/>
                <a:gd name="connsiteY11" fmla="*/ 2717074 h 2717074"/>
                <a:gd name="connsiteX12" fmla="*/ 598966 w 6773772"/>
                <a:gd name="connsiteY12" fmla="*/ 2485057 h 2717074"/>
                <a:gd name="connsiteX13" fmla="*/ 530568 w 6773772"/>
                <a:gd name="connsiteY13" fmla="*/ 2433910 h 2717074"/>
                <a:gd name="connsiteX14" fmla="*/ 494381 w 6773772"/>
                <a:gd name="connsiteY14" fmla="*/ 2406850 h 2717074"/>
                <a:gd name="connsiteX15" fmla="*/ 0 w 6773772"/>
                <a:gd name="connsiteY15" fmla="*/ 1358537 h 2717074"/>
                <a:gd name="connsiteX16" fmla="*/ 1358537 w 6773772"/>
                <a:gd name="connsiteY16" fmla="*/ 0 h 2717074"/>
                <a:gd name="connsiteX0" fmla="*/ 1358537 w 6773772"/>
                <a:gd name="connsiteY0" fmla="*/ 283391 h 2717074"/>
                <a:gd name="connsiteX1" fmla="*/ 283391 w 6773772"/>
                <a:gd name="connsiteY1" fmla="*/ 1358537 h 2717074"/>
                <a:gd name="connsiteX2" fmla="*/ 1358537 w 6773772"/>
                <a:gd name="connsiteY2" fmla="*/ 2433683 h 2717074"/>
                <a:gd name="connsiteX3" fmla="*/ 2433683 w 6773772"/>
                <a:gd name="connsiteY3" fmla="*/ 1358537 h 2717074"/>
                <a:gd name="connsiteX4" fmla="*/ 1358537 w 6773772"/>
                <a:gd name="connsiteY4" fmla="*/ 283391 h 2717074"/>
                <a:gd name="connsiteX5" fmla="*/ 1358537 w 6773772"/>
                <a:gd name="connsiteY5" fmla="*/ 0 h 2717074"/>
                <a:gd name="connsiteX6" fmla="*/ 2717074 w 6773772"/>
                <a:gd name="connsiteY6" fmla="*/ 1358537 h 2717074"/>
                <a:gd name="connsiteX7" fmla="*/ 2222693 w 6773772"/>
                <a:gd name="connsiteY7" fmla="*/ 2406850 h 2717074"/>
                <a:gd name="connsiteX8" fmla="*/ 2186506 w 6773772"/>
                <a:gd name="connsiteY8" fmla="*/ 2433910 h 2717074"/>
                <a:gd name="connsiteX9" fmla="*/ 6773772 w 6773772"/>
                <a:gd name="connsiteY9" fmla="*/ 2433910 h 2717074"/>
                <a:gd name="connsiteX10" fmla="*/ 6773772 w 6773772"/>
                <a:gd name="connsiteY10" fmla="*/ 2717074 h 2717074"/>
                <a:gd name="connsiteX11" fmla="*/ 1358537 w 6773772"/>
                <a:gd name="connsiteY11" fmla="*/ 2717074 h 2717074"/>
                <a:gd name="connsiteX12" fmla="*/ 598966 w 6773772"/>
                <a:gd name="connsiteY12" fmla="*/ 2485057 h 2717074"/>
                <a:gd name="connsiteX13" fmla="*/ 494381 w 6773772"/>
                <a:gd name="connsiteY13" fmla="*/ 2406850 h 2717074"/>
                <a:gd name="connsiteX14" fmla="*/ 0 w 6773772"/>
                <a:gd name="connsiteY14" fmla="*/ 1358537 h 2717074"/>
                <a:gd name="connsiteX15" fmla="*/ 1358537 w 6773772"/>
                <a:gd name="connsiteY15" fmla="*/ 0 h 271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73772" h="2717074">
                  <a:moveTo>
                    <a:pt x="1358537" y="283391"/>
                  </a:moveTo>
                  <a:cubicBezTo>
                    <a:pt x="764750" y="283391"/>
                    <a:pt x="283391" y="764750"/>
                    <a:pt x="283391" y="1358537"/>
                  </a:cubicBezTo>
                  <a:cubicBezTo>
                    <a:pt x="283391" y="1952324"/>
                    <a:pt x="764750" y="2433683"/>
                    <a:pt x="1358537" y="2433683"/>
                  </a:cubicBezTo>
                  <a:cubicBezTo>
                    <a:pt x="1952324" y="2433683"/>
                    <a:pt x="2433683" y="1952324"/>
                    <a:pt x="2433683" y="1358537"/>
                  </a:cubicBezTo>
                  <a:cubicBezTo>
                    <a:pt x="2433683" y="764750"/>
                    <a:pt x="1952324" y="283391"/>
                    <a:pt x="1358537" y="283391"/>
                  </a:cubicBezTo>
                  <a:close/>
                  <a:moveTo>
                    <a:pt x="1358537" y="0"/>
                  </a:moveTo>
                  <a:cubicBezTo>
                    <a:pt x="2108836" y="0"/>
                    <a:pt x="2717074" y="608238"/>
                    <a:pt x="2717074" y="1358537"/>
                  </a:cubicBezTo>
                  <a:cubicBezTo>
                    <a:pt x="2717074" y="1780580"/>
                    <a:pt x="2524624" y="2157674"/>
                    <a:pt x="2222693" y="2406850"/>
                  </a:cubicBezTo>
                  <a:lnTo>
                    <a:pt x="2186506" y="2433910"/>
                  </a:lnTo>
                  <a:lnTo>
                    <a:pt x="6773772" y="2433910"/>
                  </a:lnTo>
                  <a:lnTo>
                    <a:pt x="6773772" y="2717074"/>
                  </a:lnTo>
                  <a:lnTo>
                    <a:pt x="1358537" y="2717074"/>
                  </a:lnTo>
                  <a:cubicBezTo>
                    <a:pt x="1077175" y="2717074"/>
                    <a:pt x="815790" y="2631541"/>
                    <a:pt x="598966" y="2485057"/>
                  </a:cubicBezTo>
                  <a:lnTo>
                    <a:pt x="494381" y="2406850"/>
                  </a:lnTo>
                  <a:cubicBezTo>
                    <a:pt x="192450" y="2157674"/>
                    <a:pt x="0" y="1780580"/>
                    <a:pt x="0" y="1358537"/>
                  </a:cubicBezTo>
                  <a:cubicBezTo>
                    <a:pt x="0" y="608238"/>
                    <a:pt x="608238" y="0"/>
                    <a:pt x="1358537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83" name="Freeform: Shape 41"/>
            <p:cNvSpPr/>
            <p:nvPr/>
          </p:nvSpPr>
          <p:spPr>
            <a:xfrm>
              <a:off x="1841048" y="4333875"/>
              <a:ext cx="1309738" cy="719138"/>
            </a:xfrm>
            <a:custGeom>
              <a:avLst/>
              <a:gdLst>
                <a:gd name="connsiteX0" fmla="*/ 1013444 w 1309738"/>
                <a:gd name="connsiteY0" fmla="*/ 0 h 719138"/>
                <a:gd name="connsiteX1" fmla="*/ 1309738 w 1309738"/>
                <a:gd name="connsiteY1" fmla="*/ 0 h 719138"/>
                <a:gd name="connsiteX2" fmla="*/ 1297460 w 1309738"/>
                <a:gd name="connsiteY2" fmla="*/ 47752 h 719138"/>
                <a:gd name="connsiteX3" fmla="*/ 864156 w 1309738"/>
                <a:gd name="connsiteY3" fmla="*/ 692078 h 719138"/>
                <a:gd name="connsiteX4" fmla="*/ 827969 w 1309738"/>
                <a:gd name="connsiteY4" fmla="*/ 719138 h 719138"/>
                <a:gd name="connsiteX5" fmla="*/ 0 w 1309738"/>
                <a:gd name="connsiteY5" fmla="*/ 719138 h 719138"/>
                <a:gd name="connsiteX6" fmla="*/ 0 w 1309738"/>
                <a:gd name="connsiteY6" fmla="*/ 718911 h 719138"/>
                <a:gd name="connsiteX7" fmla="*/ 990656 w 1309738"/>
                <a:gd name="connsiteY7" fmla="*/ 62260 h 71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9738" h="719138">
                  <a:moveTo>
                    <a:pt x="1013444" y="0"/>
                  </a:moveTo>
                  <a:lnTo>
                    <a:pt x="1309738" y="0"/>
                  </a:lnTo>
                  <a:lnTo>
                    <a:pt x="1297460" y="47752"/>
                  </a:lnTo>
                  <a:cubicBezTo>
                    <a:pt x="1218072" y="302991"/>
                    <a:pt x="1065443" y="525961"/>
                    <a:pt x="864156" y="692078"/>
                  </a:cubicBezTo>
                  <a:lnTo>
                    <a:pt x="827969" y="719138"/>
                  </a:lnTo>
                  <a:lnTo>
                    <a:pt x="0" y="719138"/>
                  </a:lnTo>
                  <a:lnTo>
                    <a:pt x="0" y="718911"/>
                  </a:lnTo>
                  <a:cubicBezTo>
                    <a:pt x="445340" y="718911"/>
                    <a:pt x="827440" y="448147"/>
                    <a:pt x="990656" y="62260"/>
                  </a:cubicBezTo>
                  <a:close/>
                </a:path>
              </a:pathLst>
            </a:custGeom>
            <a:gradFill>
              <a:gsLst>
                <a:gs pos="32000">
                  <a:srgbClr val="00B09B"/>
                </a:gs>
                <a:gs pos="77000">
                  <a:srgbClr val="00B09B">
                    <a:lumMod val="50000"/>
                  </a:srgbClr>
                </a:gs>
                <a:gs pos="100000">
                  <a:srgbClr val="00B09B">
                    <a:lumMod val="50000"/>
                  </a:srgbClr>
                </a:gs>
              </a:gsLst>
              <a:lin ang="66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</p:grpSp>
      <p:sp>
        <p:nvSpPr>
          <p:cNvPr id="84" name="Freeform: Shape 45"/>
          <p:cNvSpPr/>
          <p:nvPr/>
        </p:nvSpPr>
        <p:spPr>
          <a:xfrm>
            <a:off x="9011708" y="3959990"/>
            <a:ext cx="1893434" cy="283164"/>
          </a:xfrm>
          <a:custGeom>
            <a:avLst/>
            <a:gdLst>
              <a:gd name="connsiteX0" fmla="*/ 0 w 1893434"/>
              <a:gd name="connsiteY0" fmla="*/ 0 h 283164"/>
              <a:gd name="connsiteX1" fmla="*/ 1065465 w 1893434"/>
              <a:gd name="connsiteY1" fmla="*/ 0 h 283164"/>
              <a:gd name="connsiteX2" fmla="*/ 1133863 w 1893434"/>
              <a:gd name="connsiteY2" fmla="*/ 51147 h 283164"/>
              <a:gd name="connsiteX3" fmla="*/ 1893434 w 1893434"/>
              <a:gd name="connsiteY3" fmla="*/ 283164 h 283164"/>
              <a:gd name="connsiteX4" fmla="*/ 0 w 1893434"/>
              <a:gd name="connsiteY4" fmla="*/ 283164 h 283164"/>
              <a:gd name="connsiteX5" fmla="*/ 0 w 1893434"/>
              <a:gd name="connsiteY5" fmla="*/ 0 h 283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93434" h="283164">
                <a:moveTo>
                  <a:pt x="0" y="0"/>
                </a:moveTo>
                <a:lnTo>
                  <a:pt x="1065465" y="0"/>
                </a:lnTo>
                <a:lnTo>
                  <a:pt x="1133863" y="51147"/>
                </a:lnTo>
                <a:cubicBezTo>
                  <a:pt x="1350687" y="197631"/>
                  <a:pt x="1612072" y="283164"/>
                  <a:pt x="1893434" y="283164"/>
                </a:cubicBezTo>
                <a:lnTo>
                  <a:pt x="0" y="28316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2000">
                <a:srgbClr val="00B09B"/>
              </a:gs>
              <a:gs pos="77000">
                <a:srgbClr val="00B09B">
                  <a:lumMod val="50000"/>
                </a:srgbClr>
              </a:gs>
              <a:gs pos="100000">
                <a:srgbClr val="00B09B">
                  <a:lumMod val="50000"/>
                </a:srgbClr>
              </a:gs>
            </a:gsLst>
            <a:lin ang="20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85" name="Freeform: Shape 68"/>
          <p:cNvSpPr/>
          <p:nvPr/>
        </p:nvSpPr>
        <p:spPr>
          <a:xfrm>
            <a:off x="8978652" y="1526080"/>
            <a:ext cx="3213348" cy="2717074"/>
          </a:xfrm>
          <a:custGeom>
            <a:avLst/>
            <a:gdLst>
              <a:gd name="connsiteX0" fmla="*/ 1358537 w 3213348"/>
              <a:gd name="connsiteY0" fmla="*/ 283391 h 2717074"/>
              <a:gd name="connsiteX1" fmla="*/ 283391 w 3213348"/>
              <a:gd name="connsiteY1" fmla="*/ 1358537 h 2717074"/>
              <a:gd name="connsiteX2" fmla="*/ 1358537 w 3213348"/>
              <a:gd name="connsiteY2" fmla="*/ 2433683 h 2717074"/>
              <a:gd name="connsiteX3" fmla="*/ 2433683 w 3213348"/>
              <a:gd name="connsiteY3" fmla="*/ 1358537 h 2717074"/>
              <a:gd name="connsiteX4" fmla="*/ 1358537 w 3213348"/>
              <a:gd name="connsiteY4" fmla="*/ 283391 h 2717074"/>
              <a:gd name="connsiteX5" fmla="*/ 1358537 w 3213348"/>
              <a:gd name="connsiteY5" fmla="*/ 0 h 2717074"/>
              <a:gd name="connsiteX6" fmla="*/ 2717074 w 3213348"/>
              <a:gd name="connsiteY6" fmla="*/ 1358537 h 2717074"/>
              <a:gd name="connsiteX7" fmla="*/ 2222693 w 3213348"/>
              <a:gd name="connsiteY7" fmla="*/ 2406850 h 2717074"/>
              <a:gd name="connsiteX8" fmla="*/ 2186506 w 3213348"/>
              <a:gd name="connsiteY8" fmla="*/ 2433910 h 2717074"/>
              <a:gd name="connsiteX9" fmla="*/ 3213348 w 3213348"/>
              <a:gd name="connsiteY9" fmla="*/ 2433910 h 2717074"/>
              <a:gd name="connsiteX10" fmla="*/ 3213348 w 3213348"/>
              <a:gd name="connsiteY10" fmla="*/ 2717074 h 2717074"/>
              <a:gd name="connsiteX11" fmla="*/ 1358537 w 3213348"/>
              <a:gd name="connsiteY11" fmla="*/ 2717074 h 2717074"/>
              <a:gd name="connsiteX12" fmla="*/ 598966 w 3213348"/>
              <a:gd name="connsiteY12" fmla="*/ 2485057 h 2717074"/>
              <a:gd name="connsiteX13" fmla="*/ 494381 w 3213348"/>
              <a:gd name="connsiteY13" fmla="*/ 2406850 h 2717074"/>
              <a:gd name="connsiteX14" fmla="*/ 0 w 3213348"/>
              <a:gd name="connsiteY14" fmla="*/ 1358537 h 2717074"/>
              <a:gd name="connsiteX15" fmla="*/ 1358537 w 3213348"/>
              <a:gd name="connsiteY15" fmla="*/ 0 h 2717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213348" h="2717074">
                <a:moveTo>
                  <a:pt x="1358537" y="283391"/>
                </a:moveTo>
                <a:cubicBezTo>
                  <a:pt x="764750" y="283391"/>
                  <a:pt x="283391" y="764750"/>
                  <a:pt x="283391" y="1358537"/>
                </a:cubicBezTo>
                <a:cubicBezTo>
                  <a:pt x="283391" y="1952324"/>
                  <a:pt x="764750" y="2433683"/>
                  <a:pt x="1358537" y="2433683"/>
                </a:cubicBezTo>
                <a:cubicBezTo>
                  <a:pt x="1952324" y="2433683"/>
                  <a:pt x="2433683" y="1952324"/>
                  <a:pt x="2433683" y="1358537"/>
                </a:cubicBezTo>
                <a:cubicBezTo>
                  <a:pt x="2433683" y="764750"/>
                  <a:pt x="1952324" y="283391"/>
                  <a:pt x="1358537" y="283391"/>
                </a:cubicBezTo>
                <a:close/>
                <a:moveTo>
                  <a:pt x="1358537" y="0"/>
                </a:moveTo>
                <a:cubicBezTo>
                  <a:pt x="2108836" y="0"/>
                  <a:pt x="2717074" y="608238"/>
                  <a:pt x="2717074" y="1358537"/>
                </a:cubicBezTo>
                <a:cubicBezTo>
                  <a:pt x="2717074" y="1780580"/>
                  <a:pt x="2524624" y="2157674"/>
                  <a:pt x="2222693" y="2406850"/>
                </a:cubicBezTo>
                <a:lnTo>
                  <a:pt x="2186506" y="2433910"/>
                </a:lnTo>
                <a:lnTo>
                  <a:pt x="3213348" y="2433910"/>
                </a:lnTo>
                <a:lnTo>
                  <a:pt x="3213348" y="2717074"/>
                </a:lnTo>
                <a:lnTo>
                  <a:pt x="1358537" y="2717074"/>
                </a:lnTo>
                <a:cubicBezTo>
                  <a:pt x="1077175" y="2717074"/>
                  <a:pt x="815790" y="2631541"/>
                  <a:pt x="598966" y="2485057"/>
                </a:cubicBezTo>
                <a:lnTo>
                  <a:pt x="494381" y="2406850"/>
                </a:lnTo>
                <a:cubicBezTo>
                  <a:pt x="192450" y="2157674"/>
                  <a:pt x="0" y="1780580"/>
                  <a:pt x="0" y="1358537"/>
                </a:cubicBezTo>
                <a:cubicBezTo>
                  <a:pt x="0" y="608238"/>
                  <a:pt x="608238" y="0"/>
                  <a:pt x="1358537" y="0"/>
                </a:cubicBezTo>
                <a:close/>
              </a:path>
            </a:pathLst>
          </a:custGeom>
          <a:solidFill>
            <a:srgbClr val="06395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86" name="Freeform: Shape 47"/>
          <p:cNvSpPr/>
          <p:nvPr/>
        </p:nvSpPr>
        <p:spPr>
          <a:xfrm>
            <a:off x="10329095" y="3257580"/>
            <a:ext cx="1309738" cy="719138"/>
          </a:xfrm>
          <a:custGeom>
            <a:avLst/>
            <a:gdLst>
              <a:gd name="connsiteX0" fmla="*/ 1013444 w 1309738"/>
              <a:gd name="connsiteY0" fmla="*/ 0 h 719138"/>
              <a:gd name="connsiteX1" fmla="*/ 1309738 w 1309738"/>
              <a:gd name="connsiteY1" fmla="*/ 0 h 719138"/>
              <a:gd name="connsiteX2" fmla="*/ 1297460 w 1309738"/>
              <a:gd name="connsiteY2" fmla="*/ 47752 h 719138"/>
              <a:gd name="connsiteX3" fmla="*/ 864156 w 1309738"/>
              <a:gd name="connsiteY3" fmla="*/ 692078 h 719138"/>
              <a:gd name="connsiteX4" fmla="*/ 827969 w 1309738"/>
              <a:gd name="connsiteY4" fmla="*/ 719138 h 719138"/>
              <a:gd name="connsiteX5" fmla="*/ 0 w 1309738"/>
              <a:gd name="connsiteY5" fmla="*/ 719138 h 719138"/>
              <a:gd name="connsiteX6" fmla="*/ 0 w 1309738"/>
              <a:gd name="connsiteY6" fmla="*/ 718911 h 719138"/>
              <a:gd name="connsiteX7" fmla="*/ 990656 w 1309738"/>
              <a:gd name="connsiteY7" fmla="*/ 62260 h 71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09738" h="719138">
                <a:moveTo>
                  <a:pt x="1013444" y="0"/>
                </a:moveTo>
                <a:lnTo>
                  <a:pt x="1309738" y="0"/>
                </a:lnTo>
                <a:lnTo>
                  <a:pt x="1297460" y="47752"/>
                </a:lnTo>
                <a:cubicBezTo>
                  <a:pt x="1218072" y="302991"/>
                  <a:pt x="1065443" y="525961"/>
                  <a:pt x="864156" y="692078"/>
                </a:cubicBezTo>
                <a:lnTo>
                  <a:pt x="827969" y="719138"/>
                </a:lnTo>
                <a:lnTo>
                  <a:pt x="0" y="719138"/>
                </a:lnTo>
                <a:lnTo>
                  <a:pt x="0" y="718911"/>
                </a:lnTo>
                <a:cubicBezTo>
                  <a:pt x="445340" y="718911"/>
                  <a:pt x="827440" y="448147"/>
                  <a:pt x="990656" y="62260"/>
                </a:cubicBezTo>
                <a:close/>
              </a:path>
            </a:pathLst>
          </a:custGeom>
          <a:gradFill>
            <a:gsLst>
              <a:gs pos="32000">
                <a:srgbClr val="063951"/>
              </a:gs>
              <a:gs pos="77000">
                <a:srgbClr val="F0EEEF">
                  <a:lumMod val="10000"/>
                </a:srgbClr>
              </a:gs>
              <a:gs pos="100000">
                <a:srgbClr val="F0EEEF">
                  <a:lumMod val="10000"/>
                </a:srgbClr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grpSp>
        <p:nvGrpSpPr>
          <p:cNvPr id="87" name="Group 49"/>
          <p:cNvGrpSpPr/>
          <p:nvPr/>
        </p:nvGrpSpPr>
        <p:grpSpPr>
          <a:xfrm>
            <a:off x="1193339" y="4659865"/>
            <a:ext cx="6843314" cy="1815882"/>
            <a:chOff x="350992" y="2708500"/>
            <a:chExt cx="6843314" cy="1344426"/>
          </a:xfrm>
        </p:grpSpPr>
        <p:sp>
          <p:nvSpPr>
            <p:cNvPr id="88" name="TextBox 87"/>
            <p:cNvSpPr txBox="1"/>
            <p:nvPr/>
          </p:nvSpPr>
          <p:spPr>
            <a:xfrm>
              <a:off x="350992" y="2835883"/>
              <a:ext cx="2937088" cy="387377"/>
            </a:xfrm>
            <a:prstGeom prst="rect">
              <a:avLst/>
            </a:prstGeom>
            <a:noFill/>
          </p:spPr>
          <p:txBody>
            <a:bodyPr wrap="square" l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96B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4092482" y="2708500"/>
              <a:ext cx="3101824" cy="1344426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285750" lvl="0" indent="-285750">
                <a:buFont typeface="Wingdings" panose="05000000000000000000" pitchFamily="2" charset="2"/>
                <a:buChar char="Ø"/>
                <a:defRPr/>
              </a:pPr>
              <a:r>
                <a:rPr lang="ru-RU" sz="16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 pitchFamily="34" charset="0"/>
                </a:rPr>
                <a:t>заработная плата от 120 000 ₽;</a:t>
              </a:r>
            </a:p>
            <a:p>
              <a:pPr marL="285750" lvl="0" indent="-285750">
                <a:buFont typeface="Wingdings" panose="05000000000000000000" pitchFamily="2" charset="2"/>
                <a:buChar char="Ø"/>
                <a:defRPr/>
              </a:pPr>
              <a:r>
                <a:rPr lang="ru-RU" sz="16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 pitchFamily="34" charset="0"/>
                </a:rPr>
                <a:t>оплата стоимости проезда к месту использования отпуска и обратно 1 раз в 2 года</a:t>
              </a:r>
            </a:p>
            <a:p>
              <a:pPr marL="285750" lvl="0" indent="-285750">
                <a:buFont typeface="Wingdings" panose="05000000000000000000" pitchFamily="2" charset="2"/>
                <a:buChar char="Ø"/>
                <a:defRPr/>
              </a:pPr>
              <a:r>
                <a:rPr lang="ru-RU" sz="1600" kern="0" noProof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 pitchFamily="34" charset="0"/>
                </a:rPr>
                <a:t>Выплата северной надбавки с 1 дня работы</a:t>
              </a:r>
            </a:p>
            <a:p>
              <a:pPr marL="285750" lvl="0" indent="-285750">
                <a:buFont typeface="Wingdings" panose="05000000000000000000" pitchFamily="2" charset="2"/>
                <a:buChar char="Ø"/>
                <a:defRPr/>
              </a:pPr>
              <a:r>
                <a:rPr kumimoji="0" lang="ru-RU" sz="1600" b="0" i="0" u="none" strike="noStrike" kern="0" cap="none" spc="0" normalizeH="0" baseline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Отпуск до</a:t>
              </a:r>
              <a:r>
                <a:rPr kumimoji="0" lang="ru-RU" sz="1600" b="0" i="0" u="none" strike="noStrike" kern="0" cap="none" spc="0" normalizeH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 59 календарных дней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</p:grpSp>
      <p:grpSp>
        <p:nvGrpSpPr>
          <p:cNvPr id="90" name="Group 53"/>
          <p:cNvGrpSpPr/>
          <p:nvPr/>
        </p:nvGrpSpPr>
        <p:grpSpPr>
          <a:xfrm>
            <a:off x="8921842" y="4458034"/>
            <a:ext cx="2937088" cy="2024096"/>
            <a:chOff x="350992" y="2731519"/>
            <a:chExt cx="2937088" cy="2024096"/>
          </a:xfrm>
        </p:grpSpPr>
        <p:sp>
          <p:nvSpPr>
            <p:cNvPr id="91" name="TextBox 90"/>
            <p:cNvSpPr txBox="1"/>
            <p:nvPr/>
          </p:nvSpPr>
          <p:spPr>
            <a:xfrm>
              <a:off x="350992" y="2731519"/>
              <a:ext cx="2937088" cy="830997"/>
            </a:xfrm>
            <a:prstGeom prst="rect">
              <a:avLst/>
            </a:prstGeom>
            <a:noFill/>
          </p:spPr>
          <p:txBody>
            <a:bodyPr wrap="square" l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Медицинская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сестра</a:t>
              </a:r>
              <a:endPara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358787" y="3678397"/>
              <a:ext cx="2929293" cy="1077218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285750" lvl="0" indent="-285750">
                <a:buFont typeface="Wingdings" panose="05000000000000000000" pitchFamily="2" charset="2"/>
                <a:buChar char="Ø"/>
                <a:defRPr/>
              </a:pPr>
              <a:r>
                <a:rPr lang="ru-RU" sz="16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 pitchFamily="34" charset="0"/>
                </a:rPr>
                <a:t>заработная плата от 65 000 ₽;</a:t>
              </a:r>
            </a:p>
            <a:p>
              <a:pPr marL="285750" lvl="0" indent="-285750">
                <a:buFont typeface="Wingdings" panose="05000000000000000000" pitchFamily="2" charset="2"/>
                <a:buChar char="Ø"/>
                <a:defRPr/>
              </a:pPr>
              <a:r>
                <a:rPr lang="ru-RU" sz="16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 pitchFamily="34" charset="0"/>
                </a:rPr>
                <a:t>оплата стоимости проезда к месту использования отпуска и обратно 1 раз в 2 года</a:t>
              </a:r>
            </a:p>
          </p:txBody>
        </p:sp>
      </p:grpSp>
      <p:sp>
        <p:nvSpPr>
          <p:cNvPr id="94" name="TextBox 93"/>
          <p:cNvSpPr txBox="1"/>
          <p:nvPr/>
        </p:nvSpPr>
        <p:spPr>
          <a:xfrm>
            <a:off x="890821" y="4425462"/>
            <a:ext cx="3505010" cy="1938992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15DA1"/>
                </a:solidFill>
                <a:effectLst/>
                <a:uLnTx/>
                <a:uFillTx/>
                <a:latin typeface="Calibri" panose="020F0502020204030204" pitchFamily="34" charset="0"/>
              </a:rPr>
              <a:t>Врач-дерматовенеролог</a:t>
            </a:r>
            <a:r>
              <a:rPr lang="ru-RU" sz="2400" b="1" kern="0" dirty="0">
                <a:solidFill>
                  <a:srgbClr val="015DA1"/>
                </a:solidFill>
                <a:latin typeface="Calibri" panose="020F0502020204030204" pitchFamily="34" charset="0"/>
              </a:rPr>
              <a:t>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15DA1"/>
                </a:solidFill>
                <a:effectLst/>
                <a:uLnTx/>
                <a:uFillTx/>
                <a:latin typeface="Calibri" panose="020F0502020204030204" pitchFamily="34" charset="0"/>
              </a:rPr>
              <a:t>Врач-кардиолог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kern="0" dirty="0">
                <a:solidFill>
                  <a:srgbClr val="015DA1"/>
                </a:solidFill>
                <a:latin typeface="Calibri" panose="020F0502020204030204" pitchFamily="34" charset="0"/>
              </a:rPr>
              <a:t>Врач-офтальмолог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15DA1"/>
                </a:solidFill>
                <a:effectLst/>
                <a:uLnTx/>
                <a:uFillTx/>
                <a:latin typeface="Calibri" panose="020F0502020204030204" pitchFamily="34" charset="0"/>
              </a:rPr>
              <a:t>Врач-УЗИ</a:t>
            </a: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15DA1"/>
                </a:solidFill>
                <a:effectLst/>
                <a:uLnTx/>
                <a:uFillTx/>
                <a:latin typeface="Calibri" panose="020F0502020204030204" pitchFamily="34" charset="0"/>
              </a:rPr>
              <a:t>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kern="0" dirty="0" err="1">
                <a:solidFill>
                  <a:srgbClr val="015DA1"/>
                </a:solidFill>
                <a:latin typeface="Calibri" panose="020F0502020204030204" pitchFamily="34" charset="0"/>
              </a:rPr>
              <a:t>Врач-ОАР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solidFill>
                <a:srgbClr val="015DA1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7" name="Номер слайда 1">
            <a:extLst>
              <a:ext uri="{FF2B5EF4-FFF2-40B4-BE49-F238E27FC236}">
                <a16:creationId xmlns:a16="http://schemas.microsoft.com/office/drawing/2014/main" id="{45A32A9C-E67D-4CC8-AD30-3CB003E7657E}"/>
              </a:ext>
            </a:extLst>
          </p:cNvPr>
          <p:cNvSpPr txBox="1">
            <a:spLocks/>
          </p:cNvSpPr>
          <p:nvPr/>
        </p:nvSpPr>
        <p:spPr>
          <a:xfrm>
            <a:off x="-148591" y="6058216"/>
            <a:ext cx="662942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1192A500-833D-4D3A-986F-AD9DA69007F4}" type="slidenum">
              <a:rPr lang="ru-RU" sz="1800" smtClean="0">
                <a:solidFill>
                  <a:srgbClr val="FFFFFF"/>
                </a:solidFill>
              </a:rPr>
              <a:pPr marL="0" indent="0" algn="r">
                <a:buNone/>
              </a:pPr>
              <a:t>7</a:t>
            </a:fld>
            <a:endParaRPr lang="ru-RU" sz="1800" dirty="0">
              <a:solidFill>
                <a:srgbClr val="FFFFFF"/>
              </a:solidFill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C2D9A40-0B52-481B-83F4-A5F608BA59DF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1053787" y="-102655"/>
            <a:ext cx="1446841" cy="1121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614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F909A28-17F8-4FED-8D15-AF710695345F}"/>
              </a:ext>
            </a:extLst>
          </p:cNvPr>
          <p:cNvSpPr/>
          <p:nvPr/>
        </p:nvSpPr>
        <p:spPr>
          <a:xfrm>
            <a:off x="909107" y="504764"/>
            <a:ext cx="9249961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800" b="1" dirty="0">
                <a:solidFill>
                  <a:srgbClr val="002060"/>
                </a:solidFill>
              </a:rPr>
              <a:t>Карьерные возможности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26F885F4-DA79-4035-BD98-E2F693BE5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48591" y="6058216"/>
            <a:ext cx="662942" cy="365125"/>
          </a:xfrm>
        </p:spPr>
        <p:txBody>
          <a:bodyPr/>
          <a:lstStyle/>
          <a:p>
            <a:fld id="{1192A500-833D-4D3A-986F-AD9DA69007F4}" type="slidenum">
              <a:rPr lang="ru-RU" smtClean="0"/>
              <a:pPr/>
              <a:t>8</a:t>
            </a:fld>
            <a:endParaRPr lang="ru-RU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9C0F4A1-36A6-43DD-9514-0CF5F9BC28C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975987" y="-273454"/>
            <a:ext cx="1705446" cy="132234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49C4323-EF89-4659-A018-C25B2A14EEB1}"/>
              </a:ext>
            </a:extLst>
          </p:cNvPr>
          <p:cNvSpPr txBox="1"/>
          <p:nvPr/>
        </p:nvSpPr>
        <p:spPr>
          <a:xfrm>
            <a:off x="1877634" y="1326140"/>
            <a:ext cx="5889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275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2800" b="1" kern="0" dirty="0">
                <a:solidFill>
                  <a:srgbClr val="00796B"/>
                </a:solidFill>
                <a:latin typeface="Calibri" panose="020F0502020204030204" pitchFamily="34" charset="0"/>
              </a:rPr>
              <a:t>Возможность заниматься научной деятельностью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9BA58F2-E903-49D8-82C0-5DB64AFD13F7}"/>
              </a:ext>
            </a:extLst>
          </p:cNvPr>
          <p:cNvSpPr txBox="1"/>
          <p:nvPr/>
        </p:nvSpPr>
        <p:spPr>
          <a:xfrm>
            <a:off x="1877634" y="2746620"/>
            <a:ext cx="52637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275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2800" b="1" kern="0" dirty="0">
                <a:solidFill>
                  <a:srgbClr val="7030A0"/>
                </a:solidFill>
                <a:latin typeface="Calibri" panose="020F0502020204030204" pitchFamily="34" charset="0"/>
              </a:rPr>
              <a:t>Карьерный рост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E4EEFA-F81A-43DD-B3C9-76DEF028DB3B}"/>
              </a:ext>
            </a:extLst>
          </p:cNvPr>
          <p:cNvSpPr txBox="1"/>
          <p:nvPr/>
        </p:nvSpPr>
        <p:spPr>
          <a:xfrm>
            <a:off x="1877633" y="3736213"/>
            <a:ext cx="52637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275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2800" b="1" kern="0" dirty="0">
                <a:solidFill>
                  <a:srgbClr val="015DA1"/>
                </a:solidFill>
                <a:latin typeface="Calibri" panose="020F0502020204030204" pitchFamily="34" charset="0"/>
              </a:rPr>
              <a:t>Дополнительное профессиональное образовани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D3F9703-FBD9-4FC6-9B41-6DBEB97AC9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2434" y="2845533"/>
            <a:ext cx="5737300" cy="3835833"/>
          </a:xfrm>
          <a:prstGeom prst="rect">
            <a:avLst/>
          </a:prstGeom>
          <a:effectLst>
            <a:softEdge rad="241300"/>
          </a:effec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095480A-7825-423A-9B66-FF354490A40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615" y="3693175"/>
            <a:ext cx="881921" cy="88192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25BD1AD-A824-48D8-A9A3-E25210C92A1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616" y="2547079"/>
            <a:ext cx="881921" cy="881921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1C74E30-B3B8-49B7-AF98-4270E3D621C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20616" y="1400983"/>
            <a:ext cx="881921" cy="88192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66CD32F-80EB-43B3-ACA3-463C1B0C913A}"/>
              </a:ext>
            </a:extLst>
          </p:cNvPr>
          <p:cNvSpPr txBox="1"/>
          <p:nvPr/>
        </p:nvSpPr>
        <p:spPr>
          <a:xfrm>
            <a:off x="1877634" y="4993345"/>
            <a:ext cx="588907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275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2800" b="1" kern="0" dirty="0">
                <a:solidFill>
                  <a:srgbClr val="00796B"/>
                </a:solidFill>
                <a:latin typeface="Calibri" panose="020F0502020204030204" pitchFamily="34" charset="0"/>
              </a:rPr>
              <a:t>Возможность стажировки в медицинских учреждениях Российской Федерации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7ACF9BC7-8AE9-48CD-876C-930553BF9D4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20614" y="5239910"/>
            <a:ext cx="881921" cy="881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2994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4D50D7BF-29C4-4BED-8C1F-97A4A2BC2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2A500-833D-4D3A-986F-AD9DA69007F4}" type="slidenum">
              <a:rPr lang="ru-RU" smtClean="0"/>
              <a:pPr/>
              <a:t>9</a:t>
            </a:fld>
            <a:endParaRPr lang="ru-RU" dirty="0"/>
          </a:p>
        </p:txBody>
      </p:sp>
      <p:grpSp>
        <p:nvGrpSpPr>
          <p:cNvPr id="3" name="Group">
            <a:extLst>
              <a:ext uri="{FF2B5EF4-FFF2-40B4-BE49-F238E27FC236}">
                <a16:creationId xmlns:a16="http://schemas.microsoft.com/office/drawing/2014/main" id="{ADC5E3BF-E149-43D6-8E3C-CCB21E55DFE8}"/>
              </a:ext>
            </a:extLst>
          </p:cNvPr>
          <p:cNvGrpSpPr/>
          <p:nvPr/>
        </p:nvGrpSpPr>
        <p:grpSpPr>
          <a:xfrm>
            <a:off x="741763" y="1720393"/>
            <a:ext cx="7578064" cy="4415505"/>
            <a:chOff x="-1023195" y="0"/>
            <a:chExt cx="16050605" cy="8825006"/>
          </a:xfrm>
        </p:grpSpPr>
        <p:grpSp>
          <p:nvGrpSpPr>
            <p:cNvPr id="5" name="Group">
              <a:extLst>
                <a:ext uri="{FF2B5EF4-FFF2-40B4-BE49-F238E27FC236}">
                  <a16:creationId xmlns:a16="http://schemas.microsoft.com/office/drawing/2014/main" id="{BB757B87-080C-47A3-AEBC-7ACBECAEE8D7}"/>
                </a:ext>
              </a:extLst>
            </p:cNvPr>
            <p:cNvGrpSpPr/>
            <p:nvPr/>
          </p:nvGrpSpPr>
          <p:grpSpPr>
            <a:xfrm>
              <a:off x="-1023195" y="2146924"/>
              <a:ext cx="7197246" cy="4267012"/>
              <a:chOff x="-1023195" y="-2941372"/>
              <a:chExt cx="7197245" cy="4267011"/>
            </a:xfrm>
          </p:grpSpPr>
          <p:sp>
            <p:nvSpPr>
              <p:cNvPr id="22" name="Subtitle information">
                <a:extLst>
                  <a:ext uri="{FF2B5EF4-FFF2-40B4-BE49-F238E27FC236}">
                    <a16:creationId xmlns:a16="http://schemas.microsoft.com/office/drawing/2014/main" id="{5C10F406-2D34-4CE0-A202-8304B410B368}"/>
                  </a:ext>
                </a:extLst>
              </p:cNvPr>
              <p:cNvSpPr txBox="1"/>
              <p:nvPr/>
            </p:nvSpPr>
            <p:spPr>
              <a:xfrm>
                <a:off x="213216" y="-2941372"/>
                <a:ext cx="5960834" cy="521661"/>
              </a:xfrm>
              <a:prstGeom prst="rect">
                <a:avLst/>
              </a:prstGeom>
              <a:noFill/>
              <a:ln w="3175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25400" tIns="25400" rIns="25400" bIns="25400" numCol="1" anchor="ctr">
                <a:spAutoFit/>
              </a:bodyPr>
              <a:lstStyle>
                <a:lvl1pPr algn="r">
                  <a:lnSpc>
                    <a:spcPct val="80000"/>
                  </a:lnSpc>
                  <a:defRPr sz="3600" baseline="33333">
                    <a:solidFill>
                      <a:srgbClr val="17222C"/>
                    </a:solidFill>
                    <a:latin typeface="+mn-lt"/>
                    <a:ea typeface="+mn-ea"/>
                    <a:cs typeface="+mn-cs"/>
                    <a:sym typeface="Montserrat-Bold"/>
                  </a:defRPr>
                </a:lvl1pPr>
              </a:lstStyle>
              <a:p>
                <a:pPr marL="0" marR="0" lvl="0" indent="0" algn="r" defTabSz="412750" rtl="0" eaLnBrk="1" fontAlgn="auto" latinLnBrk="0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2400" b="1" kern="0" dirty="0">
                    <a:solidFill>
                      <a:srgbClr val="004D40"/>
                    </a:solidFill>
                    <a:latin typeface="Calibri" panose="020F0502020204030204" pitchFamily="34" charset="0"/>
                  </a:rPr>
                  <a:t>1 000 000 рублей</a:t>
                </a:r>
                <a:endParaRPr kumimoji="0" sz="2400" b="1" i="0" u="none" strike="noStrike" kern="0" cap="none" spc="0" normalizeH="0" baseline="33333" noProof="0" dirty="0">
                  <a:ln>
                    <a:noFill/>
                  </a:ln>
                  <a:solidFill>
                    <a:srgbClr val="004D40"/>
                  </a:solidFill>
                  <a:effectLst/>
                  <a:uLnTx/>
                  <a:uFillTx/>
                  <a:latin typeface="Calibri" panose="020F0502020204030204" pitchFamily="34" charset="0"/>
                  <a:sym typeface="Montserrat-Bold"/>
                </a:endParaRPr>
              </a:p>
            </p:txBody>
          </p:sp>
          <p:sp>
            <p:nvSpPr>
              <p:cNvPr id="23" name="Lorem Ipsum has been the industry's unknown printer took a galley of type and scrambled it to make a type specimen book. It has survived not only five centuries, but also the leap">
                <a:extLst>
                  <a:ext uri="{FF2B5EF4-FFF2-40B4-BE49-F238E27FC236}">
                    <a16:creationId xmlns:a16="http://schemas.microsoft.com/office/drawing/2014/main" id="{80EC93DD-AE2A-4760-B835-F8684981F509}"/>
                  </a:ext>
                </a:extLst>
              </p:cNvPr>
              <p:cNvSpPr txBox="1"/>
              <p:nvPr/>
            </p:nvSpPr>
            <p:spPr>
              <a:xfrm>
                <a:off x="-1023195" y="-2640419"/>
                <a:ext cx="7134571" cy="3966058"/>
              </a:xfrm>
              <a:prstGeom prst="rect">
                <a:avLst/>
              </a:prstGeom>
              <a:noFill/>
              <a:ln w="3175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19050" tIns="19050" rIns="19050" bIns="19050" numCol="1" anchor="t">
                <a:noAutofit/>
              </a:bodyPr>
              <a:lstStyle>
                <a:lvl1pPr algn="r"/>
              </a:lstStyle>
              <a:p>
                <a:pPr defTabSz="412750" hangingPunct="0">
                  <a:defRPr/>
                </a:pPr>
                <a:r>
                  <a:rPr lang="ru-RU" sz="1400" kern="0" dirty="0">
                    <a:latin typeface="Calibri" panose="020F0502020204030204" pitchFamily="34" charset="0"/>
                    <a:sym typeface="Montserrat Light"/>
                  </a:rPr>
                  <a:t>для </a:t>
                </a:r>
                <a:r>
                  <a:rPr lang="ru-RU" sz="1400" b="1" kern="0" dirty="0">
                    <a:latin typeface="Calibri" panose="020F0502020204030204" pitchFamily="34" charset="0"/>
                    <a:sym typeface="Montserrat Light"/>
                  </a:rPr>
                  <a:t>фельдшеров</a:t>
                </a:r>
                <a:r>
                  <a:rPr lang="ru-RU" sz="1400" kern="0" dirty="0">
                    <a:latin typeface="Calibri" panose="020F0502020204030204" pitchFamily="34" charset="0"/>
                    <a:sym typeface="Montserrat Light"/>
                  </a:rPr>
                  <a:t>, а также акушерок, медицинских сестер фельдшерских и фельдшерско-акушерских пунктов, прибывших (переехавших) на работу в сельские населенные пункты, либо рабочие поселки, либо поселки городского типа, расположенные </a:t>
                </a:r>
                <a:r>
                  <a:rPr lang="ru-RU" sz="1400" b="1" i="1" kern="0" dirty="0">
                    <a:latin typeface="Calibri" panose="020F0502020204030204" pitchFamily="34" charset="0"/>
                    <a:sym typeface="Montserrat Light"/>
                  </a:rPr>
                  <a:t>в районах Крайнего Севера и приравненных к ним местностям</a:t>
                </a:r>
              </a:p>
            </p:txBody>
          </p:sp>
        </p:grpSp>
        <p:sp>
          <p:nvSpPr>
            <p:cNvPr id="8" name="Square">
              <a:extLst>
                <a:ext uri="{FF2B5EF4-FFF2-40B4-BE49-F238E27FC236}">
                  <a16:creationId xmlns:a16="http://schemas.microsoft.com/office/drawing/2014/main" id="{2AC7FCF4-7A71-47DA-8FBE-EE9A1F969946}"/>
                </a:ext>
              </a:extLst>
            </p:cNvPr>
            <p:cNvSpPr/>
            <p:nvPr/>
          </p:nvSpPr>
          <p:spPr>
            <a:xfrm>
              <a:off x="7057624" y="603433"/>
              <a:ext cx="3403057" cy="3406115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 w="889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ctr" defTabSz="41275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sym typeface="Helvetica Light"/>
              </a:endParaRPr>
            </a:p>
          </p:txBody>
        </p:sp>
        <p:sp>
          <p:nvSpPr>
            <p:cNvPr id="9" name="Square">
              <a:extLst>
                <a:ext uri="{FF2B5EF4-FFF2-40B4-BE49-F238E27FC236}">
                  <a16:creationId xmlns:a16="http://schemas.microsoft.com/office/drawing/2014/main" id="{1C537CB1-1942-4A27-8077-4DDAD7FA732D}"/>
                </a:ext>
              </a:extLst>
            </p:cNvPr>
            <p:cNvSpPr/>
            <p:nvPr/>
          </p:nvSpPr>
          <p:spPr>
            <a:xfrm>
              <a:off x="11123399" y="517976"/>
              <a:ext cx="3571501" cy="3562020"/>
            </a:xfrm>
            <a:prstGeom prst="rect">
              <a:avLst/>
            </a:prstGeom>
            <a:solidFill>
              <a:schemeClr val="bg1"/>
            </a:solidFill>
            <a:ln w="15875" cap="flat">
              <a:solidFill>
                <a:srgbClr val="00B0F0"/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ctr" defTabSz="41275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sym typeface="Helvetica Light"/>
              </a:endParaRPr>
            </a:p>
          </p:txBody>
        </p:sp>
        <p:sp>
          <p:nvSpPr>
            <p:cNvPr id="10" name="Square">
              <a:extLst>
                <a:ext uri="{FF2B5EF4-FFF2-40B4-BE49-F238E27FC236}">
                  <a16:creationId xmlns:a16="http://schemas.microsoft.com/office/drawing/2014/main" id="{30CCE990-BF39-41AF-ABB4-B47A3F2EAC41}"/>
                </a:ext>
              </a:extLst>
            </p:cNvPr>
            <p:cNvSpPr/>
            <p:nvPr/>
          </p:nvSpPr>
          <p:spPr>
            <a:xfrm>
              <a:off x="7057624" y="4664490"/>
              <a:ext cx="3403057" cy="3406115"/>
            </a:xfrm>
            <a:prstGeom prst="rect">
              <a:avLst/>
            </a:prstGeom>
            <a:solidFill>
              <a:srgbClr val="1A78B9"/>
            </a:solidFill>
            <a:ln w="88900" cap="flat">
              <a:solidFill>
                <a:srgbClr val="1A78B9"/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ctr" defTabSz="41275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sym typeface="Helvetica Light"/>
              </a:endParaRPr>
            </a:p>
          </p:txBody>
        </p:sp>
        <p:sp>
          <p:nvSpPr>
            <p:cNvPr id="11" name="Square">
              <a:extLst>
                <a:ext uri="{FF2B5EF4-FFF2-40B4-BE49-F238E27FC236}">
                  <a16:creationId xmlns:a16="http://schemas.microsoft.com/office/drawing/2014/main" id="{027FC896-404B-4E9C-90DE-AF9A55C78255}"/>
                </a:ext>
              </a:extLst>
            </p:cNvPr>
            <p:cNvSpPr/>
            <p:nvPr/>
          </p:nvSpPr>
          <p:spPr>
            <a:xfrm>
              <a:off x="11125690" y="4664490"/>
              <a:ext cx="3403058" cy="3406115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 w="88900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ctr" defTabSz="41275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sym typeface="Helvetica Light"/>
              </a:endParaRPr>
            </a:p>
          </p:txBody>
        </p:sp>
        <p:sp>
          <p:nvSpPr>
            <p:cNvPr id="12" name="Line">
              <a:extLst>
                <a:ext uri="{FF2B5EF4-FFF2-40B4-BE49-F238E27FC236}">
                  <a16:creationId xmlns:a16="http://schemas.microsoft.com/office/drawing/2014/main" id="{52D1F123-5C7D-4CB9-AD40-A886246F0832}"/>
                </a:ext>
              </a:extLst>
            </p:cNvPr>
            <p:cNvSpPr/>
            <p:nvPr/>
          </p:nvSpPr>
          <p:spPr>
            <a:xfrm flipV="1">
              <a:off x="10793186" y="0"/>
              <a:ext cx="1" cy="8825006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custDash>
                <a:ds d="200000" sp="200000"/>
              </a:custDash>
              <a:miter lim="400000"/>
              <a:tailEnd type="triangle" w="med" len="med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ctr" defTabSz="41275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sym typeface="Helvetica Light"/>
              </a:endParaRPr>
            </a:p>
          </p:txBody>
        </p:sp>
        <p:sp>
          <p:nvSpPr>
            <p:cNvPr id="13" name="Line">
              <a:extLst>
                <a:ext uri="{FF2B5EF4-FFF2-40B4-BE49-F238E27FC236}">
                  <a16:creationId xmlns:a16="http://schemas.microsoft.com/office/drawing/2014/main" id="{21FE2603-9DB2-49AF-87D7-5F6A93CC79DD}"/>
                </a:ext>
              </a:extLst>
            </p:cNvPr>
            <p:cNvSpPr/>
            <p:nvPr/>
          </p:nvSpPr>
          <p:spPr>
            <a:xfrm>
              <a:off x="6558963" y="4337018"/>
              <a:ext cx="8468447" cy="1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custDash>
                <a:ds d="200000" sp="200000"/>
              </a:custDash>
              <a:miter lim="400000"/>
              <a:tailEnd type="triangle" w="med" len="med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ctr" defTabSz="41275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sym typeface="Helvetica Light"/>
              </a:endParaRPr>
            </a:p>
          </p:txBody>
        </p:sp>
        <p:sp>
          <p:nvSpPr>
            <p:cNvPr id="14" name="Shape">
              <a:extLst>
                <a:ext uri="{FF2B5EF4-FFF2-40B4-BE49-F238E27FC236}">
                  <a16:creationId xmlns:a16="http://schemas.microsoft.com/office/drawing/2014/main" id="{86A8F4C3-61E7-4D28-87F8-CEF51E71B62B}"/>
                </a:ext>
              </a:extLst>
            </p:cNvPr>
            <p:cNvSpPr/>
            <p:nvPr/>
          </p:nvSpPr>
          <p:spPr>
            <a:xfrm>
              <a:off x="8258095" y="1908403"/>
              <a:ext cx="1002116" cy="7961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37" y="0"/>
                  </a:moveTo>
                  <a:lnTo>
                    <a:pt x="2274" y="0"/>
                  </a:lnTo>
                  <a:cubicBezTo>
                    <a:pt x="1053" y="0"/>
                    <a:pt x="0" y="1264"/>
                    <a:pt x="0" y="2792"/>
                  </a:cubicBezTo>
                  <a:lnTo>
                    <a:pt x="0" y="18755"/>
                  </a:lnTo>
                  <a:cubicBezTo>
                    <a:pt x="0" y="20336"/>
                    <a:pt x="1053" y="21600"/>
                    <a:pt x="2274" y="21600"/>
                  </a:cubicBezTo>
                  <a:lnTo>
                    <a:pt x="19537" y="21600"/>
                  </a:lnTo>
                  <a:cubicBezTo>
                    <a:pt x="20589" y="21600"/>
                    <a:pt x="21600" y="20336"/>
                    <a:pt x="21600" y="18755"/>
                  </a:cubicBezTo>
                  <a:lnTo>
                    <a:pt x="21600" y="2792"/>
                  </a:lnTo>
                  <a:cubicBezTo>
                    <a:pt x="21600" y="1264"/>
                    <a:pt x="20589" y="0"/>
                    <a:pt x="19537" y="0"/>
                  </a:cubicBezTo>
                  <a:close/>
                  <a:moveTo>
                    <a:pt x="19537" y="5374"/>
                  </a:moveTo>
                  <a:lnTo>
                    <a:pt x="10905" y="12064"/>
                  </a:lnTo>
                  <a:lnTo>
                    <a:pt x="2274" y="5374"/>
                  </a:lnTo>
                  <a:lnTo>
                    <a:pt x="2274" y="2792"/>
                  </a:lnTo>
                  <a:lnTo>
                    <a:pt x="10905" y="9483"/>
                  </a:lnTo>
                  <a:lnTo>
                    <a:pt x="19537" y="2792"/>
                  </a:lnTo>
                  <a:lnTo>
                    <a:pt x="19537" y="5374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Roboto Regular"/>
                  <a:ea typeface="Roboto Regular"/>
                  <a:cs typeface="Roboto Regular"/>
                  <a:sym typeface="Roboto Regular"/>
                </a:defRPr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sym typeface="Roboto Regular"/>
              </a:endParaRPr>
            </a:p>
          </p:txBody>
        </p:sp>
        <p:sp>
          <p:nvSpPr>
            <p:cNvPr id="15" name="Shape">
              <a:extLst>
                <a:ext uri="{FF2B5EF4-FFF2-40B4-BE49-F238E27FC236}">
                  <a16:creationId xmlns:a16="http://schemas.microsoft.com/office/drawing/2014/main" id="{E42770A1-4E7C-4D9A-BCDF-3B52A799D235}"/>
                </a:ext>
              </a:extLst>
            </p:cNvPr>
            <p:cNvSpPr/>
            <p:nvPr/>
          </p:nvSpPr>
          <p:spPr>
            <a:xfrm>
              <a:off x="8360051" y="5820581"/>
              <a:ext cx="798204" cy="10477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755" y="7066"/>
                  </a:moveTo>
                  <a:lnTo>
                    <a:pt x="17491" y="7066"/>
                  </a:lnTo>
                  <a:lnTo>
                    <a:pt x="17491" y="5099"/>
                  </a:lnTo>
                  <a:cubicBezTo>
                    <a:pt x="17491" y="2168"/>
                    <a:pt x="14646" y="0"/>
                    <a:pt x="10800" y="0"/>
                  </a:cubicBezTo>
                  <a:cubicBezTo>
                    <a:pt x="6954" y="0"/>
                    <a:pt x="4109" y="2168"/>
                    <a:pt x="4109" y="5099"/>
                  </a:cubicBezTo>
                  <a:lnTo>
                    <a:pt x="4109" y="7066"/>
                  </a:lnTo>
                  <a:lnTo>
                    <a:pt x="2845" y="7066"/>
                  </a:lnTo>
                  <a:cubicBezTo>
                    <a:pt x="1264" y="7066"/>
                    <a:pt x="0" y="8070"/>
                    <a:pt x="0" y="9234"/>
                  </a:cubicBezTo>
                  <a:lnTo>
                    <a:pt x="0" y="19432"/>
                  </a:lnTo>
                  <a:cubicBezTo>
                    <a:pt x="0" y="20596"/>
                    <a:pt x="1264" y="21600"/>
                    <a:pt x="2845" y="21600"/>
                  </a:cubicBezTo>
                  <a:lnTo>
                    <a:pt x="18755" y="21600"/>
                  </a:lnTo>
                  <a:cubicBezTo>
                    <a:pt x="20336" y="21600"/>
                    <a:pt x="21600" y="20596"/>
                    <a:pt x="21600" y="19432"/>
                  </a:cubicBezTo>
                  <a:lnTo>
                    <a:pt x="21600" y="9234"/>
                  </a:lnTo>
                  <a:cubicBezTo>
                    <a:pt x="21600" y="8070"/>
                    <a:pt x="20336" y="7066"/>
                    <a:pt x="18755" y="7066"/>
                  </a:cubicBezTo>
                  <a:close/>
                  <a:moveTo>
                    <a:pt x="10800" y="16300"/>
                  </a:moveTo>
                  <a:cubicBezTo>
                    <a:pt x="9272" y="16300"/>
                    <a:pt x="8219" y="15497"/>
                    <a:pt x="8219" y="14333"/>
                  </a:cubicBezTo>
                  <a:cubicBezTo>
                    <a:pt x="8219" y="13169"/>
                    <a:pt x="9272" y="12165"/>
                    <a:pt x="10800" y="12165"/>
                  </a:cubicBezTo>
                  <a:cubicBezTo>
                    <a:pt x="12328" y="12165"/>
                    <a:pt x="13645" y="13169"/>
                    <a:pt x="13645" y="14333"/>
                  </a:cubicBezTo>
                  <a:cubicBezTo>
                    <a:pt x="13645" y="15497"/>
                    <a:pt x="12328" y="16300"/>
                    <a:pt x="10800" y="16300"/>
                  </a:cubicBezTo>
                  <a:close/>
                  <a:moveTo>
                    <a:pt x="14909" y="7066"/>
                  </a:moveTo>
                  <a:lnTo>
                    <a:pt x="6691" y="7066"/>
                  </a:lnTo>
                  <a:lnTo>
                    <a:pt x="6691" y="5099"/>
                  </a:lnTo>
                  <a:cubicBezTo>
                    <a:pt x="6691" y="3332"/>
                    <a:pt x="8482" y="1967"/>
                    <a:pt x="10800" y="1967"/>
                  </a:cubicBezTo>
                  <a:cubicBezTo>
                    <a:pt x="13118" y="1967"/>
                    <a:pt x="14909" y="3332"/>
                    <a:pt x="14909" y="5099"/>
                  </a:cubicBezTo>
                  <a:lnTo>
                    <a:pt x="14909" y="7066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Roboto Regular"/>
                  <a:ea typeface="Roboto Regular"/>
                  <a:cs typeface="Roboto Regular"/>
                  <a:sym typeface="Roboto Regular"/>
                </a:defRPr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sym typeface="Roboto Regular"/>
              </a:endParaRPr>
            </a:p>
          </p:txBody>
        </p:sp>
        <p:sp>
          <p:nvSpPr>
            <p:cNvPr id="16" name="Shape">
              <a:extLst>
                <a:ext uri="{FF2B5EF4-FFF2-40B4-BE49-F238E27FC236}">
                  <a16:creationId xmlns:a16="http://schemas.microsoft.com/office/drawing/2014/main" id="{E31EA616-A68C-4008-B378-3C556B734378}"/>
                </a:ext>
              </a:extLst>
            </p:cNvPr>
            <p:cNvSpPr/>
            <p:nvPr/>
          </p:nvSpPr>
          <p:spPr>
            <a:xfrm>
              <a:off x="12466570" y="1751431"/>
              <a:ext cx="721299" cy="992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11" y="13627"/>
                  </a:moveTo>
                  <a:cubicBezTo>
                    <a:pt x="13584" y="13627"/>
                    <a:pt x="15365" y="12081"/>
                    <a:pt x="15365" y="10169"/>
                  </a:cubicBezTo>
                  <a:lnTo>
                    <a:pt x="15365" y="3458"/>
                  </a:lnTo>
                  <a:cubicBezTo>
                    <a:pt x="15365" y="1505"/>
                    <a:pt x="13584" y="0"/>
                    <a:pt x="10911" y="0"/>
                  </a:cubicBezTo>
                  <a:cubicBezTo>
                    <a:pt x="8295" y="0"/>
                    <a:pt x="6179" y="1505"/>
                    <a:pt x="6179" y="3458"/>
                  </a:cubicBezTo>
                  <a:lnTo>
                    <a:pt x="6179" y="10169"/>
                  </a:lnTo>
                  <a:cubicBezTo>
                    <a:pt x="6179" y="12081"/>
                    <a:pt x="8295" y="13627"/>
                    <a:pt x="10911" y="13627"/>
                  </a:cubicBezTo>
                  <a:close/>
                  <a:moveTo>
                    <a:pt x="18928" y="10169"/>
                  </a:moveTo>
                  <a:cubicBezTo>
                    <a:pt x="18928" y="13627"/>
                    <a:pt x="15198" y="15986"/>
                    <a:pt x="10911" y="15986"/>
                  </a:cubicBezTo>
                  <a:cubicBezTo>
                    <a:pt x="6625" y="15986"/>
                    <a:pt x="2672" y="13627"/>
                    <a:pt x="2672" y="10169"/>
                  </a:cubicBezTo>
                  <a:lnTo>
                    <a:pt x="0" y="10169"/>
                  </a:lnTo>
                  <a:cubicBezTo>
                    <a:pt x="0" y="14034"/>
                    <a:pt x="4120" y="17288"/>
                    <a:pt x="9130" y="17695"/>
                  </a:cubicBezTo>
                  <a:lnTo>
                    <a:pt x="9130" y="21600"/>
                  </a:lnTo>
                  <a:lnTo>
                    <a:pt x="12414" y="21600"/>
                  </a:lnTo>
                  <a:lnTo>
                    <a:pt x="12414" y="17695"/>
                  </a:lnTo>
                  <a:cubicBezTo>
                    <a:pt x="17425" y="17288"/>
                    <a:pt x="21600" y="14034"/>
                    <a:pt x="21600" y="10169"/>
                  </a:cubicBezTo>
                  <a:lnTo>
                    <a:pt x="18928" y="10169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Roboto Regular"/>
                  <a:ea typeface="Roboto Regular"/>
                  <a:cs typeface="Roboto Regular"/>
                  <a:sym typeface="Roboto Regular"/>
                </a:defRPr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sym typeface="Roboto Regular"/>
              </a:endParaRPr>
            </a:p>
          </p:txBody>
        </p:sp>
        <p:sp>
          <p:nvSpPr>
            <p:cNvPr id="17" name="Shape">
              <a:extLst>
                <a:ext uri="{FF2B5EF4-FFF2-40B4-BE49-F238E27FC236}">
                  <a16:creationId xmlns:a16="http://schemas.microsoft.com/office/drawing/2014/main" id="{3E664A14-F098-4C86-AE7C-4BF98D112C08}"/>
                </a:ext>
              </a:extLst>
            </p:cNvPr>
            <p:cNvSpPr/>
            <p:nvPr/>
          </p:nvSpPr>
          <p:spPr>
            <a:xfrm>
              <a:off x="12505551" y="5930130"/>
              <a:ext cx="698351" cy="828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24"/>
                  </a:moveTo>
                  <a:cubicBezTo>
                    <a:pt x="21600" y="8505"/>
                    <a:pt x="19767" y="6427"/>
                    <a:pt x="17360" y="5412"/>
                  </a:cubicBezTo>
                  <a:lnTo>
                    <a:pt x="17360" y="16188"/>
                  </a:lnTo>
                  <a:cubicBezTo>
                    <a:pt x="19767" y="15173"/>
                    <a:pt x="21600" y="13385"/>
                    <a:pt x="21600" y="10824"/>
                  </a:cubicBezTo>
                  <a:close/>
                  <a:moveTo>
                    <a:pt x="0" y="6717"/>
                  </a:moveTo>
                  <a:lnTo>
                    <a:pt x="0" y="14932"/>
                  </a:lnTo>
                  <a:lnTo>
                    <a:pt x="6417" y="14932"/>
                  </a:lnTo>
                  <a:lnTo>
                    <a:pt x="14324" y="21600"/>
                  </a:lnTo>
                  <a:lnTo>
                    <a:pt x="14324" y="0"/>
                  </a:lnTo>
                  <a:lnTo>
                    <a:pt x="6417" y="6717"/>
                  </a:lnTo>
                  <a:lnTo>
                    <a:pt x="0" y="6717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Roboto Regular"/>
                  <a:ea typeface="Roboto Regular"/>
                  <a:cs typeface="Roboto Regular"/>
                  <a:sym typeface="Roboto Regular"/>
                </a:defRPr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sym typeface="Roboto Regular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CE96DAAF-003A-480E-BC0E-0C5A8A72BA7F}"/>
              </a:ext>
            </a:extLst>
          </p:cNvPr>
          <p:cNvSpPr txBox="1"/>
          <p:nvPr/>
        </p:nvSpPr>
        <p:spPr>
          <a:xfrm>
            <a:off x="784882" y="158901"/>
            <a:ext cx="92288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>
                <a:solidFill>
                  <a:srgbClr val="003A30"/>
                </a:solidFill>
              </a:rPr>
              <a:t>Федеральные меры </a:t>
            </a:r>
            <a:endParaRPr lang="ru-RU" sz="4000" dirty="0">
              <a:solidFill>
                <a:srgbClr val="003A30"/>
              </a:solidFill>
            </a:endParaRPr>
          </a:p>
        </p:txBody>
      </p:sp>
      <p:sp>
        <p:nvSpPr>
          <p:cNvPr id="28" name="Google Shape;103;p2">
            <a:extLst>
              <a:ext uri="{FF2B5EF4-FFF2-40B4-BE49-F238E27FC236}">
                <a16:creationId xmlns:a16="http://schemas.microsoft.com/office/drawing/2014/main" id="{078581FF-69A7-4A46-B71D-FD97CE8AE2A3}"/>
              </a:ext>
            </a:extLst>
          </p:cNvPr>
          <p:cNvSpPr/>
          <p:nvPr/>
        </p:nvSpPr>
        <p:spPr>
          <a:xfrm>
            <a:off x="8582025" y="101809"/>
            <a:ext cx="2863396" cy="712901"/>
          </a:xfrm>
          <a:prstGeom prst="roundRect">
            <a:avLst>
              <a:gd name="adj" fmla="val 11114"/>
            </a:avLst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108860" tIns="54415" rIns="108860" bIns="54415" anchor="ctr" anchorCtr="0">
            <a:noAutofit/>
          </a:bodyPr>
          <a:lstStyle/>
          <a:p>
            <a:pPr algn="r">
              <a:buClr>
                <a:srgbClr val="000000"/>
              </a:buClr>
              <a:buSzPts val="1800"/>
            </a:pPr>
            <a:r>
              <a:rPr lang="ru-RU" sz="1400" dirty="0">
                <a:solidFill>
                  <a:srgbClr val="00206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  <a:sym typeface="Calibri"/>
              </a:rPr>
              <a:t>Региональный центр по подбору медицинских работников в Республике Коми </a:t>
            </a:r>
            <a:r>
              <a:rPr lang="en-US" sz="1400" dirty="0">
                <a:solidFill>
                  <a:srgbClr val="00206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  <a:sym typeface="Calibri"/>
              </a:rPr>
              <a:t> 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  <a:sym typeface="Calibri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C66E83C8-21A6-4594-A41C-099DF65D2DCB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053787" y="-102655"/>
            <a:ext cx="1446841" cy="112183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DA45798F-72F2-4F0D-8C19-F35B761F6E0F}"/>
              </a:ext>
            </a:extLst>
          </p:cNvPr>
          <p:cNvSpPr txBox="1"/>
          <p:nvPr/>
        </p:nvSpPr>
        <p:spPr>
          <a:xfrm>
            <a:off x="1290838" y="909905"/>
            <a:ext cx="100597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>
                <a:solidFill>
                  <a:srgbClr val="002A23"/>
                </a:solidFill>
              </a:rPr>
              <a:t>Программа «Земский доктор/фельдшер»</a:t>
            </a:r>
          </a:p>
          <a:p>
            <a:pPr algn="ctr"/>
            <a:r>
              <a:rPr lang="ru-RU" sz="1600" dirty="0">
                <a:solidFill>
                  <a:srgbClr val="002A23"/>
                </a:solidFill>
              </a:rPr>
              <a:t>(Постановление Правительства Республики Коми от 22.03.2019 №133)</a:t>
            </a:r>
          </a:p>
        </p:txBody>
      </p:sp>
      <p:sp>
        <p:nvSpPr>
          <p:cNvPr id="32" name="Lorem Ipsum has been the industry's unknown printer took a galley of type and scrambled it to make a type specimen book. It has survived not only five centuries, but also the leap">
            <a:extLst>
              <a:ext uri="{FF2B5EF4-FFF2-40B4-BE49-F238E27FC236}">
                <a16:creationId xmlns:a16="http://schemas.microsoft.com/office/drawing/2014/main" id="{495490C9-2D3B-499C-8A20-AAA728CC94BA}"/>
              </a:ext>
            </a:extLst>
          </p:cNvPr>
          <p:cNvSpPr txBox="1"/>
          <p:nvPr/>
        </p:nvSpPr>
        <p:spPr>
          <a:xfrm>
            <a:off x="8597146" y="2231687"/>
            <a:ext cx="3281427" cy="154576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numCol="1" anchor="t">
            <a:noAutofit/>
          </a:bodyPr>
          <a:lstStyle>
            <a:lvl1pPr algn="r"/>
          </a:lstStyle>
          <a:p>
            <a:pPr lvl="0" algn="l" defTabSz="412750" hangingPunct="0">
              <a:defRPr/>
            </a:pPr>
            <a:r>
              <a:rPr lang="ru-RU" sz="1400" kern="0" dirty="0">
                <a:latin typeface="Calibri" panose="020F0502020204030204" pitchFamily="34" charset="0"/>
                <a:sym typeface="Montserrat Light"/>
              </a:rPr>
              <a:t>для </a:t>
            </a:r>
            <a:r>
              <a:rPr lang="ru-RU" sz="1400" b="1" kern="0" dirty="0">
                <a:latin typeface="Calibri" panose="020F0502020204030204" pitchFamily="34" charset="0"/>
                <a:sym typeface="Montserrat Light"/>
              </a:rPr>
              <a:t>врачей</a:t>
            </a:r>
            <a:r>
              <a:rPr lang="ru-RU" sz="1400" kern="0" dirty="0">
                <a:latin typeface="Calibri" panose="020F0502020204030204" pitchFamily="34" charset="0"/>
                <a:sym typeface="Montserrat Light"/>
              </a:rPr>
              <a:t> фельдшерских и фельдшерско-акушерских пунктов, прибывших (переехавших) на работу </a:t>
            </a:r>
            <a:r>
              <a:rPr lang="ru-RU" sz="1400" b="1" i="1" kern="0" dirty="0">
                <a:latin typeface="Calibri" panose="020F0502020204030204" pitchFamily="34" charset="0"/>
                <a:sym typeface="Montserrat Light"/>
              </a:rPr>
              <a:t>в города</a:t>
            </a:r>
            <a:r>
              <a:rPr lang="ru-RU" sz="1400" kern="0" dirty="0">
                <a:latin typeface="Calibri" panose="020F0502020204030204" pitchFamily="34" charset="0"/>
                <a:sym typeface="Montserrat Light"/>
              </a:rPr>
              <a:t> </a:t>
            </a:r>
            <a:r>
              <a:rPr lang="ru-RU" sz="1400" b="1" i="1" kern="0" dirty="0">
                <a:latin typeface="Calibri" panose="020F0502020204030204" pitchFamily="34" charset="0"/>
                <a:sym typeface="Montserrat Light"/>
              </a:rPr>
              <a:t>с населением до 50 тыс. человек </a:t>
            </a:r>
            <a:r>
              <a:rPr lang="ru-RU" sz="1400" kern="0" dirty="0">
                <a:latin typeface="Calibri" panose="020F0502020204030204" pitchFamily="34" charset="0"/>
                <a:sym typeface="Montserrat Light"/>
              </a:rPr>
              <a:t>(Печора, Инта, </a:t>
            </a:r>
            <a:r>
              <a:rPr lang="ru-RU" sz="1400" kern="0" dirty="0" err="1">
                <a:latin typeface="Calibri" panose="020F0502020204030204" pitchFamily="34" charset="0"/>
                <a:sym typeface="Montserrat Light"/>
              </a:rPr>
              <a:t>Емва</a:t>
            </a:r>
            <a:r>
              <a:rPr lang="ru-RU" sz="1400" kern="0" dirty="0">
                <a:latin typeface="Calibri" panose="020F0502020204030204" pitchFamily="34" charset="0"/>
                <a:sym typeface="Montserrat Light"/>
              </a:rPr>
              <a:t>, Сосногорск, Вуктыл)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sym typeface="Montserrat Light"/>
            </a:endParaRPr>
          </a:p>
        </p:txBody>
      </p:sp>
      <p:sp>
        <p:nvSpPr>
          <p:cNvPr id="33" name="Subtitle information">
            <a:extLst>
              <a:ext uri="{FF2B5EF4-FFF2-40B4-BE49-F238E27FC236}">
                <a16:creationId xmlns:a16="http://schemas.microsoft.com/office/drawing/2014/main" id="{3C2D17AE-E8E6-453A-BBC6-4378A1AEDAD8}"/>
              </a:ext>
            </a:extLst>
          </p:cNvPr>
          <p:cNvSpPr txBox="1"/>
          <p:nvPr/>
        </p:nvSpPr>
        <p:spPr>
          <a:xfrm>
            <a:off x="8318741" y="2068978"/>
            <a:ext cx="1813995" cy="261007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ctr">
            <a:spAutoFit/>
          </a:bodyPr>
          <a:lstStyle>
            <a:lvl1pPr algn="r">
              <a:lnSpc>
                <a:spcPct val="80000"/>
              </a:lnSpc>
              <a:defRPr sz="3600" baseline="33333">
                <a:solidFill>
                  <a:srgbClr val="17222C"/>
                </a:solidFill>
                <a:latin typeface="+mn-lt"/>
                <a:ea typeface="+mn-ea"/>
                <a:cs typeface="+mn-cs"/>
                <a:sym typeface="Montserrat-Bold"/>
              </a:defRPr>
            </a:lvl1pPr>
          </a:lstStyle>
          <a:p>
            <a:pPr marL="0" marR="0" lvl="0" indent="0" algn="r" defTabSz="412750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kern="0" dirty="0">
                <a:solidFill>
                  <a:srgbClr val="003A30"/>
                </a:solidFill>
                <a:latin typeface="Calibri" panose="020F0502020204030204" pitchFamily="34" charset="0"/>
              </a:rPr>
              <a:t>1 000 000 рублей</a:t>
            </a:r>
            <a:endParaRPr kumimoji="0" sz="2400" b="1" i="0" u="none" strike="noStrike" kern="0" cap="none" spc="0" normalizeH="0" baseline="33333" noProof="0" dirty="0">
              <a:ln>
                <a:noFill/>
              </a:ln>
              <a:solidFill>
                <a:srgbClr val="003A30"/>
              </a:solidFill>
              <a:effectLst/>
              <a:uLnTx/>
              <a:uFillTx/>
              <a:latin typeface="Calibri" panose="020F0502020204030204" pitchFamily="34" charset="0"/>
              <a:sym typeface="Montserrat-Bold"/>
            </a:endParaRPr>
          </a:p>
        </p:txBody>
      </p:sp>
      <p:sp>
        <p:nvSpPr>
          <p:cNvPr id="34" name="Subtitle information">
            <a:extLst>
              <a:ext uri="{FF2B5EF4-FFF2-40B4-BE49-F238E27FC236}">
                <a16:creationId xmlns:a16="http://schemas.microsoft.com/office/drawing/2014/main" id="{F5509A6C-B64E-4A09-879B-4BDE8EB7D629}"/>
              </a:ext>
            </a:extLst>
          </p:cNvPr>
          <p:cNvSpPr txBox="1"/>
          <p:nvPr/>
        </p:nvSpPr>
        <p:spPr>
          <a:xfrm>
            <a:off x="8597146" y="4205311"/>
            <a:ext cx="2814322" cy="261008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numCol="1" anchor="ctr">
            <a:spAutoFit/>
          </a:bodyPr>
          <a:lstStyle>
            <a:lvl1pPr algn="r">
              <a:lnSpc>
                <a:spcPct val="80000"/>
              </a:lnSpc>
              <a:defRPr sz="3600" baseline="33333">
                <a:solidFill>
                  <a:srgbClr val="17222C"/>
                </a:solidFill>
                <a:latin typeface="+mn-lt"/>
                <a:ea typeface="+mn-ea"/>
                <a:cs typeface="+mn-cs"/>
                <a:sym typeface="Montserrat-Bold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kern="0" dirty="0">
                <a:solidFill>
                  <a:srgbClr val="004D40"/>
                </a:solidFill>
                <a:latin typeface="Calibri" panose="020F0502020204030204" pitchFamily="34" charset="0"/>
              </a:rPr>
              <a:t>500 000 рублей</a:t>
            </a:r>
            <a:endParaRPr kumimoji="0" sz="2400" b="1" i="0" u="none" strike="noStrike" kern="0" cap="none" spc="0" normalizeH="0" baseline="33333" noProof="0" dirty="0">
              <a:ln>
                <a:noFill/>
              </a:ln>
              <a:solidFill>
                <a:srgbClr val="004D40"/>
              </a:solidFill>
              <a:effectLst/>
              <a:uLnTx/>
              <a:uFillTx/>
              <a:latin typeface="Calibri" panose="020F0502020204030204" pitchFamily="34" charset="0"/>
              <a:sym typeface="Montserrat-Bold"/>
            </a:endParaRPr>
          </a:p>
        </p:txBody>
      </p:sp>
      <p:sp>
        <p:nvSpPr>
          <p:cNvPr id="35" name="Lorem Ipsum has been the industry's unknown printer took a galley of type and scrambled it to make a type specimen book. It has survived not only five centuries, but also the leap">
            <a:extLst>
              <a:ext uri="{FF2B5EF4-FFF2-40B4-BE49-F238E27FC236}">
                <a16:creationId xmlns:a16="http://schemas.microsoft.com/office/drawing/2014/main" id="{A1CF05DF-7051-4B4F-84B3-D8165B1C4184}"/>
              </a:ext>
            </a:extLst>
          </p:cNvPr>
          <p:cNvSpPr txBox="1"/>
          <p:nvPr/>
        </p:nvSpPr>
        <p:spPr>
          <a:xfrm>
            <a:off x="8582023" y="4354514"/>
            <a:ext cx="3296543" cy="154576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numCol="1" anchor="t">
            <a:noAutofit/>
          </a:bodyPr>
          <a:lstStyle>
            <a:lvl1pPr algn="r"/>
          </a:lstStyle>
          <a:p>
            <a:pPr algn="l" defTabSz="412750" hangingPunct="0">
              <a:defRPr/>
            </a:pPr>
            <a:r>
              <a:rPr lang="ru-RU" sz="1400" kern="0" dirty="0">
                <a:latin typeface="Calibri" panose="020F0502020204030204" pitchFamily="34" charset="0"/>
                <a:sym typeface="Montserrat Light"/>
              </a:rPr>
              <a:t>для </a:t>
            </a:r>
            <a:r>
              <a:rPr lang="ru-RU" sz="1400" b="1" kern="0" dirty="0">
                <a:latin typeface="Calibri" panose="020F0502020204030204" pitchFamily="34" charset="0"/>
                <a:sym typeface="Montserrat Light"/>
              </a:rPr>
              <a:t>фельдшеров</a:t>
            </a:r>
            <a:r>
              <a:rPr lang="ru-RU" sz="1400" kern="0" dirty="0">
                <a:latin typeface="Calibri" panose="020F0502020204030204" pitchFamily="34" charset="0"/>
                <a:sym typeface="Montserrat Light"/>
              </a:rPr>
              <a:t>, а также акушерок, медицинских сестер фельдшерских и фельдшерско-акушерских пунктов, прибывших (переехавших) на работу </a:t>
            </a:r>
            <a:br>
              <a:rPr lang="ru-RU" sz="1400" kern="0" dirty="0">
                <a:latin typeface="Calibri" panose="020F0502020204030204" pitchFamily="34" charset="0"/>
                <a:sym typeface="Montserrat Light"/>
              </a:rPr>
            </a:br>
            <a:r>
              <a:rPr lang="ru-RU" sz="1400" b="1" i="1" kern="0" dirty="0">
                <a:latin typeface="Calibri" panose="020F0502020204030204" pitchFamily="34" charset="0"/>
                <a:sym typeface="Montserrat Light"/>
              </a:rPr>
              <a:t>в города с населением до 50 тыс. человек </a:t>
            </a:r>
            <a:br>
              <a:rPr lang="ru-RU" sz="1400" b="1" i="1" kern="0" dirty="0">
                <a:latin typeface="Calibri" panose="020F0502020204030204" pitchFamily="34" charset="0"/>
                <a:sym typeface="Montserrat Light"/>
              </a:rPr>
            </a:br>
            <a:r>
              <a:rPr lang="ru-RU" sz="1400" kern="0" dirty="0">
                <a:latin typeface="Calibri" panose="020F0502020204030204" pitchFamily="34" charset="0"/>
                <a:sym typeface="Montserrat Light"/>
              </a:rPr>
              <a:t>(Печора, Инта, </a:t>
            </a:r>
            <a:r>
              <a:rPr lang="ru-RU" sz="1400" kern="0" dirty="0" err="1">
                <a:latin typeface="Calibri" panose="020F0502020204030204" pitchFamily="34" charset="0"/>
                <a:sym typeface="Montserrat Light"/>
              </a:rPr>
              <a:t>Емва</a:t>
            </a:r>
            <a:r>
              <a:rPr lang="ru-RU" sz="1400" kern="0" dirty="0">
                <a:latin typeface="Calibri" panose="020F0502020204030204" pitchFamily="34" charset="0"/>
                <a:sym typeface="Montserrat Light"/>
              </a:rPr>
              <a:t>, Сосногорск, Вуктыл)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F0CE8E0F-C659-4EBA-B4AA-1A12510FD7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6949" y="1992067"/>
            <a:ext cx="1707004" cy="1785386"/>
          </a:xfrm>
          <a:prstGeom prst="rect">
            <a:avLst/>
          </a:prstGeom>
          <a:ln w="15875">
            <a:solidFill>
              <a:srgbClr val="92D050"/>
            </a:solidFill>
          </a:ln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3696A711-5FB5-49B4-B17C-4BA2CBD53FE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8508" y="4029643"/>
            <a:ext cx="1722196" cy="1835006"/>
          </a:xfrm>
          <a:prstGeom prst="rect">
            <a:avLst/>
          </a:prstGeom>
          <a:ln w="15875">
            <a:solidFill>
              <a:srgbClr val="FFC000"/>
            </a:solidFill>
          </a:ln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31A5EC6A-77D3-4605-80E0-D1067B8453B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6950" y="4030694"/>
            <a:ext cx="1715942" cy="1845672"/>
          </a:xfrm>
          <a:prstGeom prst="rect">
            <a:avLst/>
          </a:prstGeom>
          <a:ln w="15875">
            <a:solidFill>
              <a:srgbClr val="C00000"/>
            </a:solidFill>
          </a:ln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846FC794-10BD-416D-85BE-E88E70005A3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9056" y="2072112"/>
            <a:ext cx="1605756" cy="15457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C54BB5C-4259-4791-BECF-890B332DEE3E}"/>
              </a:ext>
            </a:extLst>
          </p:cNvPr>
          <p:cNvSpPr txBox="1"/>
          <p:nvPr/>
        </p:nvSpPr>
        <p:spPr>
          <a:xfrm>
            <a:off x="4486949" y="6118425"/>
            <a:ext cx="729025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* Выплата предоставляется медицинским работникам (врачам, фельдшерам) в возрасте до 50 лет, являющимся гражданами Российской Федерации, не имеющим неисполненных финансовых обязательств по договору о целевом обучении (за исключением медицинских организаций с укомплектованностью штата менее 60 процентов)</a:t>
            </a:r>
          </a:p>
        </p:txBody>
      </p:sp>
      <p:pic>
        <p:nvPicPr>
          <p:cNvPr id="36" name="Объект 5">
            <a:extLst>
              <a:ext uri="{FF2B5EF4-FFF2-40B4-BE49-F238E27FC236}">
                <a16:creationId xmlns:a16="http://schemas.microsoft.com/office/drawing/2014/main" id="{87781263-5197-467E-9001-C884149BE45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0630" t="10365" r="10826" b="10501"/>
          <a:stretch/>
        </p:blipFill>
        <p:spPr>
          <a:xfrm>
            <a:off x="11625790" y="6283154"/>
            <a:ext cx="566210" cy="570467"/>
          </a:xfrm>
          <a:prstGeom prst="rect">
            <a:avLst/>
          </a:prstGeom>
          <a:solidFill>
            <a:srgbClr val="ECF5F4"/>
          </a:solidFill>
          <a:ln>
            <a:noFill/>
          </a:ln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A5936DB8-E872-4FB0-942E-665AF519C9BB}"/>
              </a:ext>
            </a:extLst>
          </p:cNvPr>
          <p:cNvSpPr/>
          <p:nvPr/>
        </p:nvSpPr>
        <p:spPr>
          <a:xfrm>
            <a:off x="612078" y="6449784"/>
            <a:ext cx="17761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400" dirty="0">
                <a:solidFill>
                  <a:srgbClr val="003A30"/>
                </a:solidFill>
                <a:hlinkClick r:id="rId9"/>
              </a:rPr>
              <a:t>https://law.rkomi.ru/</a:t>
            </a:r>
            <a:r>
              <a:rPr lang="ru-RU" sz="1400" dirty="0">
                <a:solidFill>
                  <a:srgbClr val="003A30"/>
                </a:solidFill>
              </a:rPr>
              <a:t>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4434706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2" id="{94F932B8-0547-46AF-8208-A5ABB72578C5}" vid="{0A461D69-7A88-430A-AECF-B3C294B2CB16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21</TotalTime>
  <Words>1073</Words>
  <Application>Microsoft Office PowerPoint</Application>
  <PresentationFormat>Широкоэкранный</PresentationFormat>
  <Paragraphs>198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Calibri</vt:lpstr>
      <vt:lpstr>Helvetica Light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слайда</dc:title>
  <dc:creator>Пользователь</dc:creator>
  <cp:lastModifiedBy>Оксана Геннадьевна</cp:lastModifiedBy>
  <cp:revision>162</cp:revision>
  <dcterms:created xsi:type="dcterms:W3CDTF">2024-11-13T13:16:57Z</dcterms:created>
  <dcterms:modified xsi:type="dcterms:W3CDTF">2026-03-25T15:03:34Z</dcterms:modified>
</cp:coreProperties>
</file>